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0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93" r:id="rId2"/>
    <p:sldMasterId id="2147483737" r:id="rId3"/>
  </p:sldMasterIdLst>
  <p:notesMasterIdLst>
    <p:notesMasterId r:id="rId17"/>
  </p:notesMasterIdLst>
  <p:handoutMasterIdLst>
    <p:handoutMasterId r:id="rId18"/>
  </p:handoutMasterIdLst>
  <p:sldIdLst>
    <p:sldId id="282" r:id="rId4"/>
    <p:sldId id="275" r:id="rId5"/>
    <p:sldId id="289" r:id="rId6"/>
    <p:sldId id="293" r:id="rId7"/>
    <p:sldId id="295" r:id="rId8"/>
    <p:sldId id="298" r:id="rId9"/>
    <p:sldId id="322" r:id="rId10"/>
    <p:sldId id="305" r:id="rId11"/>
    <p:sldId id="312" r:id="rId12"/>
    <p:sldId id="323" r:id="rId13"/>
    <p:sldId id="324" r:id="rId14"/>
    <p:sldId id="325" r:id="rId15"/>
    <p:sldId id="326" r:id="rId16"/>
  </p:sldIdLst>
  <p:sldSz cx="9144000" cy="5143500" type="screen16x9"/>
  <p:notesSz cx="6985000" cy="9283700"/>
  <p:custDataLst>
    <p:tags r:id="rId1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orient="horz" pos="599">
          <p15:clr>
            <a:srgbClr val="A4A3A4"/>
          </p15:clr>
        </p15:guide>
        <p15:guide id="3" pos="181">
          <p15:clr>
            <a:srgbClr val="A4A3A4"/>
          </p15:clr>
        </p15:guide>
        <p15:guide id="4" pos="557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." initials="." lastIdx="20" clrIdx="0"/>
  <p:cmAuthor id="1" name="Orange L. Blossom" initials="OLB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6213"/>
    <a:srgbClr val="0070BA"/>
    <a:srgbClr val="FF9797"/>
    <a:srgbClr val="92D050"/>
    <a:srgbClr val="FFFFFF"/>
    <a:srgbClr val="3C3C3C"/>
    <a:srgbClr val="45691D"/>
    <a:srgbClr val="3A5818"/>
    <a:srgbClr val="C6C6C6"/>
    <a:srgbClr val="168B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0" autoAdjust="0"/>
    <p:restoredTop sz="96763" autoAdjust="0"/>
  </p:normalViewPr>
  <p:slideViewPr>
    <p:cSldViewPr>
      <p:cViewPr varScale="1">
        <p:scale>
          <a:sx n="73" d="100"/>
          <a:sy n="73" d="100"/>
        </p:scale>
        <p:origin x="852" y="54"/>
      </p:cViewPr>
      <p:guideLst>
        <p:guide orient="horz" pos="3240"/>
        <p:guide orient="horz" pos="599"/>
        <p:guide pos="181"/>
        <p:guide pos="5579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56230031948882"/>
          <c:y val="5.0682261208576995E-2"/>
          <c:w val="0.4281150159744409"/>
          <c:h val="0.8986354775828460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99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43B-439A-BCD2-AF527FB9CFDF}"/>
              </c:ext>
            </c:extLst>
          </c:dPt>
          <c:dPt>
            <c:idx val="1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43B-439A-BCD2-AF527FB9CFD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43B-439A-BCD2-AF527FB9CFD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43B-439A-BCD2-AF527FB9CFDF}"/>
              </c:ext>
            </c:extLst>
          </c:dPt>
          <c:dPt>
            <c:idx val="4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43B-439A-BCD2-AF527FB9CFDF}"/>
              </c:ext>
            </c:extLst>
          </c:dPt>
          <c:dLbls>
            <c:dLbl>
              <c:idx val="1"/>
              <c:layout>
                <c:manualLayout>
                  <c:x val="0.2063897763578274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C0C0C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43B-439A-BCD2-AF527FB9CFDF}"/>
                </c:ext>
              </c:extLst>
            </c:dLbl>
            <c:dLbl>
              <c:idx val="2"/>
              <c:layout>
                <c:manualLayout>
                  <c:x val="0.1827476038338658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C0C0C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43B-439A-BCD2-AF527FB9CFDF}"/>
                </c:ext>
              </c:extLst>
            </c:dLbl>
            <c:dLbl>
              <c:idx val="3"/>
              <c:layout>
                <c:manualLayout>
                  <c:x val="8.4984025559105433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C0C0C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43B-439A-BCD2-AF527FB9CFDF}"/>
                </c:ext>
              </c:extLst>
            </c:dLbl>
            <c:dLbl>
              <c:idx val="4"/>
              <c:layout>
                <c:manualLayout>
                  <c:x val="5.8146964856230034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C0C0C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43B-439A-BCD2-AF527FB9CFDF}"/>
                </c:ext>
              </c:extLst>
            </c:dLbl>
            <c:dLbl>
              <c:idx val="5"/>
              <c:layout>
                <c:manualLayout>
                  <c:x val="5.7507987220447282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rgbClr val="C0C0C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43B-439A-BCD2-AF527FB9CF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9974.382579152501</c:v>
                </c:pt>
                <c:pt idx="1">
                  <c:v>22369</c:v>
                </c:pt>
                <c:pt idx="2">
                  <c:v>17871</c:v>
                </c:pt>
                <c:pt idx="3">
                  <c:v>2020</c:v>
                </c:pt>
                <c:pt idx="4">
                  <c:v>597</c:v>
                </c:pt>
                <c:pt idx="5">
                  <c:v>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43B-439A-BCD2-AF527FB9CF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85454159"/>
        <c:axId val="1"/>
      </c:barChart>
      <c:catAx>
        <c:axId val="19854541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BFBFB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974.3825791525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854541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844686648501368E-2"/>
          <c:y val="5.0682261208576995E-2"/>
          <c:w val="0.85831062670299729"/>
          <c:h val="0.8986354775828460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99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78E-4271-9087-2F534A89B2E7}"/>
              </c:ext>
            </c:extLst>
          </c:dPt>
          <c:dPt>
            <c:idx val="1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78E-4271-9087-2F534A89B2E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78E-4271-9087-2F534A89B2E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78E-4271-9087-2F534A89B2E7}"/>
              </c:ext>
            </c:extLst>
          </c:dPt>
          <c:dPt>
            <c:idx val="4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78E-4271-9087-2F534A89B2E7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36</c:v>
                </c:pt>
                <c:pt idx="1">
                  <c:v>46.416401912170784</c:v>
                </c:pt>
                <c:pt idx="2">
                  <c:v>44.416401912170784</c:v>
                </c:pt>
                <c:pt idx="3">
                  <c:v>-5</c:v>
                </c:pt>
                <c:pt idx="4">
                  <c:v>1.8</c:v>
                </c:pt>
                <c:pt idx="5">
                  <c:v>-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78E-4271-9087-2F534A89B2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2463320"/>
        <c:axId val="1"/>
      </c:barChart>
      <c:catAx>
        <c:axId val="17524633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rgbClr val="BFBFBF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46.416401912170784"/>
          <c:min val="-5"/>
        </c:scaling>
        <c:delete val="1"/>
        <c:axPos val="t"/>
        <c:numFmt formatCode="General" sourceLinked="1"/>
        <c:majorTickMark val="out"/>
        <c:minorTickMark val="none"/>
        <c:tickLblPos val="nextTo"/>
        <c:crossAx val="1752463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093484419263455E-2"/>
          <c:y val="0.31182795698924731"/>
          <c:w val="0.92124645892351265"/>
          <c:h val="0.548387096774193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990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2BE-4863-A283-D677E641508E}"/>
              </c:ext>
            </c:extLst>
          </c:dPt>
          <c:dLbls>
            <c:dLbl>
              <c:idx val="1"/>
              <c:layout>
                <c:manualLayout>
                  <c:x val="0"/>
                  <c:y val="-0.432795698924731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>
                      <a:solidFill>
                        <a:srgbClr val="C0C0C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2BE-4863-A283-D677E64150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33857</c:v>
                </c:pt>
                <c:pt idx="1">
                  <c:v>133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BE-4863-A283-D677E64150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84855503"/>
        <c:axId val="1"/>
      </c:barChart>
      <c:catAx>
        <c:axId val="19848555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BFBFB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385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848555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667502431140303"/>
          <c:y val="0.13436709593162618"/>
          <c:w val="0.79915901359825914"/>
          <c:h val="0.7128048800648030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L$70</c:f>
              <c:strCache>
                <c:ptCount val="1"/>
                <c:pt idx="0">
                  <c:v>Ручные замеры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M$70</c:f>
              <c:numCache>
                <c:formatCode>_(* #,##0.00_);_(* \(#,##0.00\);_(* "-"??_);_(@_)</c:formatCode>
                <c:ptCount val="1"/>
                <c:pt idx="0">
                  <c:v>4391.6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E8-428B-969B-0E653BAFFA83}"/>
            </c:ext>
          </c:extLst>
        </c:ser>
        <c:ser>
          <c:idx val="1"/>
          <c:order val="1"/>
          <c:tx>
            <c:strRef>
              <c:f>Лист1!$L$71</c:f>
              <c:strCache>
                <c:ptCount val="1"/>
                <c:pt idx="0">
                  <c:v>Автоматизированные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9E8-428B-969B-0E653BAFFA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M$71</c:f>
              <c:numCache>
                <c:formatCode>_(* #,##0.00_);_(* \(#,##0.00\);_(* "-"??_);_(@_)</c:formatCode>
                <c:ptCount val="1"/>
                <c:pt idx="0">
                  <c:v>4386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E8-428B-969B-0E653BAFFA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85556831"/>
        <c:axId val="1085555167"/>
      </c:barChart>
      <c:catAx>
        <c:axId val="1085556831"/>
        <c:scaling>
          <c:orientation val="minMax"/>
        </c:scaling>
        <c:delete val="0"/>
        <c:axPos val="l"/>
        <c:numFmt formatCode="General" sourceLinked="1"/>
        <c:majorTickMark val="in"/>
        <c:minorTickMark val="none"/>
        <c:tickLblPos val="none"/>
        <c:spPr>
          <a:noFill/>
          <a:ln w="9525" cap="flat" cmpd="sng" algn="ctr">
            <a:solidFill>
              <a:srgbClr val="004077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85555167"/>
        <c:crosses val="autoZero"/>
        <c:auto val="1"/>
        <c:lblAlgn val="ctr"/>
        <c:lblOffset val="100"/>
        <c:noMultiLvlLbl val="0"/>
      </c:catAx>
      <c:valAx>
        <c:axId val="1085555167"/>
        <c:scaling>
          <c:orientation val="minMax"/>
        </c:scaling>
        <c:delete val="0"/>
        <c:axPos val="b"/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solidFill>
              <a:srgbClr val="004077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85556831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372115155841065E-2"/>
          <c:y val="6.9425901201602136E-2"/>
          <c:w val="0.97525576968831784"/>
          <c:h val="0.8611481975967957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41A-490C-B8FB-8F92411586B0}"/>
              </c:ext>
            </c:extLst>
          </c:dPt>
          <c:dPt>
            <c:idx val="5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41A-490C-B8FB-8F92411586B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41A-490C-B8FB-8F92411586B0}"/>
              </c:ext>
            </c:extLst>
          </c:dPt>
          <c:dPt>
            <c:idx val="8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41A-490C-B8FB-8F92411586B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41A-490C-B8FB-8F92411586B0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466.85</c:v>
                </c:pt>
                <c:pt idx="1">
                  <c:v>430.35</c:v>
                </c:pt>
                <c:pt idx="2">
                  <c:v>410.75</c:v>
                </c:pt>
                <c:pt idx="3">
                  <c:v>395.85</c:v>
                </c:pt>
                <c:pt idx="4">
                  <c:v>336.62</c:v>
                </c:pt>
                <c:pt idx="5">
                  <c:v>336.62</c:v>
                </c:pt>
                <c:pt idx="6">
                  <c:v>336.61</c:v>
                </c:pt>
                <c:pt idx="7">
                  <c:v>336.61</c:v>
                </c:pt>
                <c:pt idx="8">
                  <c:v>1461.4099999999999</c:v>
                </c:pt>
                <c:pt idx="9">
                  <c:v>1461.40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41A-490C-B8FB-8F92411586B0}"/>
            </c:ext>
          </c:extLst>
        </c:ser>
        <c:ser>
          <c:idx val="1"/>
          <c:order val="1"/>
          <c:spPr>
            <a:solidFill>
              <a:srgbClr val="009900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F41A-490C-B8FB-8F92411586B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F41A-490C-B8FB-8F92411586B0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1">
                  <c:v>36.5</c:v>
                </c:pt>
                <c:pt idx="2">
                  <c:v>19.600000000000023</c:v>
                </c:pt>
                <c:pt idx="3">
                  <c:v>14.899999999999977</c:v>
                </c:pt>
                <c:pt idx="4">
                  <c:v>59.230000000000018</c:v>
                </c:pt>
                <c:pt idx="7">
                  <c:v>1124.7999999999997</c:v>
                </c:pt>
                <c:pt idx="9">
                  <c:v>-0.690000000000054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41A-490C-B8FB-8F92411586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100"/>
        <c:axId val="576107520"/>
        <c:axId val="575876480"/>
      </c:barChart>
      <c:catAx>
        <c:axId val="576107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rgbClr val="EF6213"/>
            </a:solidFill>
            <a:prstDash val="solid"/>
          </a:ln>
        </c:spPr>
        <c:crossAx val="575876480"/>
        <c:crossesAt val="0"/>
        <c:auto val="0"/>
        <c:lblAlgn val="ctr"/>
        <c:lblOffset val="100"/>
        <c:noMultiLvlLbl val="0"/>
      </c:catAx>
      <c:valAx>
        <c:axId val="575876480"/>
        <c:scaling>
          <c:orientation val="minMax"/>
          <c:max val="1461.4099999999999"/>
          <c:min val="-0.69000000000005457"/>
        </c:scaling>
        <c:delete val="1"/>
        <c:axPos val="l"/>
        <c:numFmt formatCode="General" sourceLinked="1"/>
        <c:majorTickMark val="out"/>
        <c:minorTickMark val="none"/>
        <c:tickLblPos val="nextTo"/>
        <c:crossAx val="576107520"/>
        <c:crosses val="min"/>
        <c:crossBetween val="between"/>
      </c:valAx>
      <c:spPr>
        <a:noFill/>
        <a:ln w="9525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6010660106601E-2"/>
          <c:y val="6.9425901201602136E-2"/>
          <c:w val="0.97867978679786793"/>
          <c:h val="0.8611481975967957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F621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A48-414E-BB54-06DF467B4CD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A48-414E-BB54-06DF467B4CD9}"/>
              </c:ext>
            </c:extLst>
          </c:dPt>
          <c:dPt>
            <c:idx val="10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A48-414E-BB54-06DF467B4CD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A48-414E-BB54-06DF467B4CD9}"/>
              </c:ext>
            </c:extLst>
          </c:dPt>
          <c:dPt>
            <c:idx val="12"/>
            <c:invertIfNegative val="0"/>
            <c:bubble3D val="0"/>
            <c:spPr>
              <a:solidFill>
                <a:srgbClr val="EF621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A48-414E-BB54-06DF467B4CD9}"/>
              </c:ext>
            </c:extLst>
          </c:dPt>
          <c:val>
            <c:numRef>
              <c:f>Sheet1!$A$1:$M$1</c:f>
              <c:numCache>
                <c:formatCode>General</c:formatCode>
                <c:ptCount val="13"/>
                <c:pt idx="0">
                  <c:v>18359</c:v>
                </c:pt>
                <c:pt idx="1">
                  <c:v>17889.229885101337</c:v>
                </c:pt>
                <c:pt idx="2">
                  <c:v>17889.229885101337</c:v>
                </c:pt>
                <c:pt idx="3">
                  <c:v>31639.526885101339</c:v>
                </c:pt>
                <c:pt idx="4">
                  <c:v>52265.633885101342</c:v>
                </c:pt>
                <c:pt idx="5">
                  <c:v>52485.338885101344</c:v>
                </c:pt>
                <c:pt idx="6">
                  <c:v>60193.439885101354</c:v>
                </c:pt>
                <c:pt idx="7">
                  <c:v>36300.355885101351</c:v>
                </c:pt>
                <c:pt idx="8">
                  <c:v>36093.627885101349</c:v>
                </c:pt>
                <c:pt idx="9">
                  <c:v>13988.216885101348</c:v>
                </c:pt>
                <c:pt idx="10">
                  <c:v>13988.216885101348</c:v>
                </c:pt>
                <c:pt idx="11">
                  <c:v>14179.572395324722</c:v>
                </c:pt>
                <c:pt idx="12">
                  <c:v>14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A48-414E-BB54-06DF467B4CD9}"/>
            </c:ext>
          </c:extLst>
        </c:ser>
        <c:ser>
          <c:idx val="1"/>
          <c:order val="1"/>
          <c:spPr>
            <a:solidFill>
              <a:srgbClr val="00990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9A48-414E-BB54-06DF467B4CD9}"/>
              </c:ext>
            </c:extLst>
          </c:dPt>
          <c:dPt>
            <c:idx val="3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9A48-414E-BB54-06DF467B4CD9}"/>
              </c:ext>
            </c:extLst>
          </c:dPt>
          <c:dPt>
            <c:idx val="4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9A48-414E-BB54-06DF467B4CD9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9A48-414E-BB54-06DF467B4CD9}"/>
              </c:ext>
            </c:extLst>
          </c:dPt>
          <c:val>
            <c:numRef>
              <c:f>Sheet1!$A$2:$M$2</c:f>
              <c:numCache>
                <c:formatCode>General</c:formatCode>
                <c:ptCount val="13"/>
                <c:pt idx="2">
                  <c:v>13750.297000000002</c:v>
                </c:pt>
                <c:pt idx="3">
                  <c:v>20626.107000000004</c:v>
                </c:pt>
                <c:pt idx="4">
                  <c:v>219.70500000000175</c:v>
                </c:pt>
                <c:pt idx="5">
                  <c:v>22205.196000000011</c:v>
                </c:pt>
                <c:pt idx="6">
                  <c:v>14497.095000000001</c:v>
                </c:pt>
                <c:pt idx="7">
                  <c:v>23893.084000000003</c:v>
                </c:pt>
                <c:pt idx="8">
                  <c:v>206.72800000000279</c:v>
                </c:pt>
                <c:pt idx="9">
                  <c:v>22105.4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A48-414E-BB54-06DF467B4C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100"/>
        <c:axId val="233653248"/>
        <c:axId val="582735488"/>
      </c:barChart>
      <c:catAx>
        <c:axId val="233653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rgbClr val="EF6213"/>
            </a:solidFill>
            <a:prstDash val="solid"/>
          </a:ln>
        </c:spPr>
        <c:crossAx val="582735488"/>
        <c:crosses val="min"/>
        <c:auto val="0"/>
        <c:lblAlgn val="ctr"/>
        <c:lblOffset val="100"/>
        <c:noMultiLvlLbl val="0"/>
      </c:catAx>
      <c:valAx>
        <c:axId val="582735488"/>
        <c:scaling>
          <c:orientation val="minMax"/>
          <c:max val="74690.53488510135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33653248"/>
        <c:crosses val="min"/>
        <c:crossBetween val="between"/>
      </c:valAx>
      <c:spPr>
        <a:noFill/>
        <a:ln w="9525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4845BBFF-920F-4479-B5DD-990C6F42E76C}" type="datetimeFigureOut">
              <a:rPr lang="ru-RU" smtClean="0"/>
              <a:t>15.10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932D3013-ADC5-4A43-BE70-009A6E25CD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305593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272C7E89-95C9-4575-8F09-FEA0FFFF1759}" type="datetimeFigureOut">
              <a:rPr lang="ru-RU" smtClean="0"/>
              <a:pPr/>
              <a:t>15.10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4B95D9A6-E285-4EA3-A0B5-2A164BE34A1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0309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9579" fontAlgn="base">
              <a:spcBef>
                <a:spcPct val="0"/>
              </a:spcBef>
              <a:spcAft>
                <a:spcPct val="0"/>
              </a:spcAft>
              <a:defRPr/>
            </a:pPr>
            <a:fld id="{C7E7FE45-BEAC-483F-9D2F-A6A659FDF285}" type="slidenum">
              <a:rPr lang="ru-RU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929579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9619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95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E7FE45-BEAC-483F-9D2F-A6A659FDF28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295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3324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95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E7FE45-BEAC-483F-9D2F-A6A659FDF28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295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9723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95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E7FE45-BEAC-483F-9D2F-A6A659FDF28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295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003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9579" fontAlgn="base">
              <a:spcBef>
                <a:spcPct val="0"/>
              </a:spcBef>
              <a:spcAft>
                <a:spcPct val="0"/>
              </a:spcAft>
              <a:defRPr/>
            </a:pPr>
            <a:fld id="{C7E7FE45-BEAC-483F-9D2F-A6A659FDF285}" type="slidenum">
              <a:rPr lang="ru-RU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929579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44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9579" fontAlgn="base">
              <a:spcBef>
                <a:spcPct val="0"/>
              </a:spcBef>
              <a:spcAft>
                <a:spcPct val="0"/>
              </a:spcAft>
              <a:defRPr/>
            </a:pPr>
            <a:fld id="{C7E7FE45-BEAC-483F-9D2F-A6A659FDF285}" type="slidenum">
              <a:rPr lang="ru-RU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929579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ru-RU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5157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9579" fontAlgn="base">
              <a:spcBef>
                <a:spcPct val="0"/>
              </a:spcBef>
              <a:spcAft>
                <a:spcPct val="0"/>
              </a:spcAft>
              <a:defRPr/>
            </a:pPr>
            <a:fld id="{C7E7FE45-BEAC-483F-9D2F-A6A659FDF285}" type="slidenum">
              <a:rPr lang="ru-RU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929579"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984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9579" fontAlgn="base">
              <a:spcBef>
                <a:spcPct val="0"/>
              </a:spcBef>
              <a:spcAft>
                <a:spcPct val="0"/>
              </a:spcAft>
              <a:defRPr/>
            </a:pPr>
            <a:fld id="{C7E7FE45-BEAC-483F-9D2F-A6A659FDF285}" type="slidenum">
              <a:rPr lang="ru-RU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929579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7274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95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E7FE45-BEAC-483F-9D2F-A6A659FDF28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295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509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9579" fontAlgn="base">
              <a:spcBef>
                <a:spcPct val="0"/>
              </a:spcBef>
              <a:spcAft>
                <a:spcPct val="0"/>
              </a:spcAft>
              <a:defRPr/>
            </a:pPr>
            <a:fld id="{C7E7FE45-BEAC-483F-9D2F-A6A659FDF285}" type="slidenum">
              <a:rPr lang="ru-RU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929579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ru-RU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7005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9579" fontAlgn="base">
              <a:spcBef>
                <a:spcPct val="0"/>
              </a:spcBef>
              <a:spcAft>
                <a:spcPct val="0"/>
              </a:spcAft>
              <a:defRPr/>
            </a:pPr>
            <a:fld id="{C7E7FE45-BEAC-483F-9D2F-A6A659FDF285}" type="slidenum">
              <a:rPr lang="ru-RU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929579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ru-RU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2599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55900" y="517525"/>
            <a:ext cx="4600575" cy="2587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60185">
              <a:defRPr/>
            </a:pPr>
            <a:r>
              <a:rPr lang="ru-RU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1-ого этапа проекта в процессе инвестиционной деятельности</a:t>
            </a:r>
            <a:endParaRPr lang="id-ID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95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E7FE45-BEAC-483F-9D2F-A6A659FDF28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295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9928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" y="762"/>
            <a:ext cx="9137598" cy="5141976"/>
          </a:xfrm>
          <a:prstGeom prst="rect">
            <a:avLst/>
          </a:prstGeom>
        </p:spPr>
      </p:pic>
      <p:grpSp>
        <p:nvGrpSpPr>
          <p:cNvPr id="20" name="TitleLogoRus"/>
          <p:cNvGrpSpPr>
            <a:grpSpLocks noChangeAspect="1"/>
          </p:cNvGrpSpPr>
          <p:nvPr/>
        </p:nvGrpSpPr>
        <p:grpSpPr bwMode="auto">
          <a:xfrm>
            <a:off x="7895910" y="4454119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9" name="Текст 28"/>
          <p:cNvSpPr>
            <a:spLocks noGrp="1"/>
          </p:cNvSpPr>
          <p:nvPr>
            <p:ph type="body" sz="quarter" idx="12" hasCustomPrompt="1"/>
          </p:nvPr>
        </p:nvSpPr>
        <p:spPr>
          <a:xfrm>
            <a:off x="4788002" y="2570400"/>
            <a:ext cx="4068000" cy="1800000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название презентации</a:t>
            </a:r>
          </a:p>
        </p:txBody>
      </p:sp>
      <p:sp>
        <p:nvSpPr>
          <p:cNvPr id="37" name="TitleLogoEng" hidden="1"/>
          <p:cNvSpPr>
            <a:spLocks noEditPoints="1"/>
          </p:cNvSpPr>
          <p:nvPr/>
        </p:nvSpPr>
        <p:spPr bwMode="auto">
          <a:xfrm>
            <a:off x="7879608" y="4443958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41" y="4154400"/>
            <a:ext cx="4283999" cy="14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1400" b="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39" name="Текст 30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1" y="47808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дату</a:t>
            </a:r>
            <a:endParaRPr lang="ru-RU" dirty="0"/>
          </a:p>
        </p:txBody>
      </p:sp>
      <p:sp>
        <p:nvSpPr>
          <p:cNvPr id="40" name="Текст 30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1" y="43632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41" name="Текст 30"/>
          <p:cNvSpPr>
            <a:spLocks noGrp="1"/>
          </p:cNvSpPr>
          <p:nvPr>
            <p:ph type="body" sz="quarter" idx="18" hasCustomPrompt="1"/>
          </p:nvPr>
        </p:nvSpPr>
        <p:spPr>
          <a:xfrm>
            <a:off x="287341" y="45720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45" name="TradeSecret" hidden="1"/>
          <p:cNvSpPr txBox="1"/>
          <p:nvPr/>
        </p:nvSpPr>
        <p:spPr>
          <a:xfrm>
            <a:off x="6899887" y="87474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12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46" name="Confidential" hidden="1"/>
          <p:cNvSpPr txBox="1"/>
          <p:nvPr/>
        </p:nvSpPr>
        <p:spPr>
          <a:xfrm>
            <a:off x="6967245" y="87474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нфиденциально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42" name="CompanyName" hidden="1"/>
          <p:cNvSpPr txBox="1"/>
          <p:nvPr/>
        </p:nvSpPr>
        <p:spPr>
          <a:xfrm>
            <a:off x="6490352" y="303498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900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9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2109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5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4643438" y="950914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4643438" y="2949577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287342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109086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62877" y="950913"/>
            <a:ext cx="8593786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2949577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39614" y="2949577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480557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4"/>
          </p:nvPr>
        </p:nvSpPr>
        <p:spPr>
          <a:xfrm>
            <a:off x="4639614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5"/>
          </p:nvPr>
        </p:nvSpPr>
        <p:spPr>
          <a:xfrm>
            <a:off x="283513" y="2949229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6"/>
          </p:nvPr>
        </p:nvSpPr>
        <p:spPr>
          <a:xfrm>
            <a:off x="4639614" y="2949229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1859820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2969905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9" y="3310342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2969905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957421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9" y="1299166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957421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1358814"/>
            <a:ext cx="4213224" cy="136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1358814"/>
            <a:ext cx="4213226" cy="136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3370013"/>
            <a:ext cx="4213224" cy="136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3370013"/>
            <a:ext cx="4213226" cy="136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4643439" y="3310342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643439" y="1299166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  <p:sp>
        <p:nvSpPr>
          <p:cNvPr id="1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849994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4398465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4398465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2378527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2378527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940722"/>
            <a:ext cx="4213224" cy="136909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940722"/>
            <a:ext cx="4213226" cy="136909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2959353"/>
            <a:ext cx="4213224" cy="136992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2959353"/>
            <a:ext cx="4213226" cy="136992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337312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9" y="950915"/>
            <a:ext cx="8569325" cy="3781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4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947629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43438" y="951571"/>
            <a:ext cx="4213224" cy="3780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991522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82165" y="951571"/>
            <a:ext cx="4218397" cy="3780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4639614" y="950914"/>
            <a:ext cx="4217049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086049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2949575"/>
            <a:ext cx="8569324" cy="1782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85731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933988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951165"/>
            <a:ext cx="2717802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2951165"/>
            <a:ext cx="270033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29449" y="2951165"/>
            <a:ext cx="2727214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2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85731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07723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643438" y="950915"/>
            <a:ext cx="4204218" cy="3781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3513" y="2949579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5455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5" y="950914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283515" y="2949577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4634434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7261141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0914"/>
            <a:ext cx="4204218" cy="1782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1165"/>
            <a:ext cx="420421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3"/>
          </p:nvPr>
        </p:nvSpPr>
        <p:spPr>
          <a:xfrm>
            <a:off x="283513" y="2949579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7785076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1570"/>
            <a:ext cx="4204218" cy="1782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1165"/>
            <a:ext cx="420421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5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9818236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0914"/>
            <a:ext cx="421251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0338"/>
            <a:ext cx="421251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7" y="951570"/>
            <a:ext cx="4213941" cy="17821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9" y="2950338"/>
            <a:ext cx="421322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2109937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87313"/>
            <a:ext cx="8560318" cy="612776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950915"/>
            <a:ext cx="5635625" cy="37814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6137275" y="950914"/>
            <a:ext cx="2714626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95668420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8" y="1419622"/>
            <a:ext cx="5292725" cy="331271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95963" y="3795714"/>
            <a:ext cx="3060700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ru-RU" sz="2200" dirty="0"/>
            </a:lvl3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943701"/>
            <a:ext cx="5292725" cy="4683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5795963" y="950914"/>
            <a:ext cx="30559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819999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1" y="950915"/>
            <a:ext cx="8569325" cy="37814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4927" y="2975347"/>
            <a:ext cx="5580062" cy="1584325"/>
          </a:xfrm>
          <a:solidFill>
            <a:srgbClr val="FFFFFF">
              <a:alpha val="80000"/>
            </a:srgbClr>
          </a:solidFill>
        </p:spPr>
        <p:txBody>
          <a:bodyPr vert="horz" lIns="144000" tIns="108000" rIns="72000" bIns="7200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4066604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0913"/>
            <a:ext cx="4176712" cy="266541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79953" y="950913"/>
            <a:ext cx="4176713" cy="266541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795714"/>
            <a:ext cx="4176712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50" y="3795714"/>
            <a:ext cx="4176712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872257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950913"/>
            <a:ext cx="2717800" cy="266523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3225254" y="950913"/>
            <a:ext cx="2700000" cy="266523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137276" y="937779"/>
            <a:ext cx="2719389" cy="267854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340" y="3795714"/>
            <a:ext cx="2717800" cy="9366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текст</a:t>
            </a:r>
          </a:p>
          <a:p>
            <a:pPr lvl="0"/>
            <a:endParaRPr lang="ru-RU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222001" y="3795714"/>
            <a:ext cx="2700000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137276" y="3795714"/>
            <a:ext cx="2719389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4456501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локов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50912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baseline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283624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3891" y="3616338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83400" y="950912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683400" y="2283624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683400" y="3616338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15" name="Прямая соединительная линия 5"/>
          <p:cNvCxnSpPr/>
          <p:nvPr/>
        </p:nvCxnSpPr>
        <p:spPr>
          <a:xfrm>
            <a:off x="287339" y="217526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1"/>
          <p:cNvCxnSpPr/>
          <p:nvPr/>
        </p:nvCxnSpPr>
        <p:spPr>
          <a:xfrm>
            <a:off x="4716463" y="217526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5"/>
          <p:cNvCxnSpPr/>
          <p:nvPr/>
        </p:nvCxnSpPr>
        <p:spPr>
          <a:xfrm>
            <a:off x="287339" y="3507981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1"/>
          <p:cNvCxnSpPr/>
          <p:nvPr/>
        </p:nvCxnSpPr>
        <p:spPr>
          <a:xfrm>
            <a:off x="4716463" y="3507981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450858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41" y="950913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1" y="1938205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287341" y="2925497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287341" y="3912788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5" name="Прямая соединительная линия 4"/>
          <p:cNvCxnSpPr/>
          <p:nvPr/>
        </p:nvCxnSpPr>
        <p:spPr>
          <a:xfrm>
            <a:off x="287341" y="1851670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0"/>
          <p:cNvCxnSpPr/>
          <p:nvPr/>
        </p:nvCxnSpPr>
        <p:spPr>
          <a:xfrm>
            <a:off x="287341" y="2840108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2"/>
          <p:cNvCxnSpPr/>
          <p:nvPr/>
        </p:nvCxnSpPr>
        <p:spPr>
          <a:xfrm>
            <a:off x="287341" y="3828546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653495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4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3200891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6137275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7028630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3563939" y="1635646"/>
            <a:ext cx="5292725" cy="234104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563939" y="943700"/>
            <a:ext cx="5292725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563939" y="4191931"/>
            <a:ext cx="5292725" cy="5404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3563939" y="1578878"/>
            <a:ext cx="52927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7338" y="950914"/>
            <a:ext cx="309721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18561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3795714"/>
            <a:ext cx="8569325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281025" y="950914"/>
            <a:ext cx="52990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5795963" y="950914"/>
            <a:ext cx="3060700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522223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3795714"/>
            <a:ext cx="8569325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0"/>
          </p:nvPr>
        </p:nvSpPr>
        <p:spPr>
          <a:xfrm>
            <a:off x="281025" y="950914"/>
            <a:ext cx="85756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0529747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1635648"/>
            <a:ext cx="4176000" cy="194416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94370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1578878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1635648"/>
            <a:ext cx="4176000" cy="194416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941784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4680026" y="1578878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0" y="3795713"/>
            <a:ext cx="4176000" cy="9347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678441" y="3795713"/>
            <a:ext cx="4176000" cy="9347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0745313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8" y="950914"/>
            <a:ext cx="3060700" cy="178276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2949577"/>
            <a:ext cx="3060700" cy="1775793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4"/>
          </p:nvPr>
        </p:nvSpPr>
        <p:spPr>
          <a:xfrm>
            <a:off x="3563938" y="950914"/>
            <a:ext cx="52927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5"/>
          </p:nvPr>
        </p:nvSpPr>
        <p:spPr>
          <a:xfrm>
            <a:off x="3563938" y="2942609"/>
            <a:ext cx="52927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1920507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, те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950914"/>
            <a:ext cx="3060700" cy="178276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2949577"/>
            <a:ext cx="3060700" cy="18002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3563938" y="950914"/>
            <a:ext cx="5292725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4031823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рисунков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1" y="950913"/>
            <a:ext cx="856932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283626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287338" y="3616338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2283626"/>
            <a:ext cx="2700338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22625" y="3616338"/>
            <a:ext cx="2700338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138663" y="2283626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38663" y="3616338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935268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87474"/>
            <a:ext cx="8560318" cy="612776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1635807"/>
            <a:ext cx="4176000" cy="194400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94386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1579039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1635807"/>
            <a:ext cx="4176000" cy="194400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94386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4680026" y="1579039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9" y="3795713"/>
            <a:ext cx="8568689" cy="93678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 smtClean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3492408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1635646"/>
            <a:ext cx="5635626" cy="309860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943700"/>
            <a:ext cx="5635626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8" name="Прямая соединительная линия 14"/>
          <p:cNvCxnSpPr/>
          <p:nvPr/>
        </p:nvCxnSpPr>
        <p:spPr>
          <a:xfrm>
            <a:off x="287337" y="1578878"/>
            <a:ext cx="5634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6137278" y="1635646"/>
            <a:ext cx="2718751" cy="309860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137275" y="943700"/>
            <a:ext cx="2718751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6137276" y="1578878"/>
            <a:ext cx="271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450942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Объект 8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61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0" name="Объект 8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1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15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540">
              <a:solidFill>
                <a:srgbClr val="3C3C3C"/>
              </a:solidFill>
              <a:cs typeface="Arial" pitchFamily="34" charset="0"/>
            </a:endParaRPr>
          </a:p>
        </p:txBody>
      </p:sp>
      <p:sp>
        <p:nvSpPr>
          <p:cNvPr id="26" name="TradeSecret" hidden="1"/>
          <p:cNvSpPr txBox="1"/>
          <p:nvPr/>
        </p:nvSpPr>
        <p:spPr>
          <a:xfrm>
            <a:off x="7094690" y="131980"/>
            <a:ext cx="1186222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150"/>
              </a:spcAft>
            </a:pPr>
            <a:r>
              <a:rPr lang="ru-RU" sz="900" b="1" dirty="0">
                <a:solidFill>
                  <a:srgbClr val="706F6F"/>
                </a:solidFill>
                <a:cs typeface="Arial" pitchFamily="34" charset="0"/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7149187" y="131980"/>
            <a:ext cx="1077218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150"/>
              </a:spcAft>
            </a:pPr>
            <a:r>
              <a:rPr lang="ru-RU" sz="900" b="1" dirty="0">
                <a:solidFill>
                  <a:srgbClr val="706F6F"/>
                </a:solidFill>
                <a:cs typeface="Arial" pitchFamily="34" charset="0"/>
              </a:rPr>
              <a:t>Конфиденциально</a:t>
            </a:r>
            <a:endParaRPr lang="ru-RU" sz="825" b="1" dirty="0">
              <a:solidFill>
                <a:srgbClr val="706F6F"/>
              </a:solidFill>
              <a:cs typeface="Arial" pitchFamily="34" charset="0"/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5" y="303509"/>
            <a:ext cx="2394885" cy="372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675">
                <a:solidFill>
                  <a:srgbClr val="706F6F"/>
                </a:solidFill>
                <a:cs typeface="Arial" pitchFamily="34" charset="0"/>
              </a:rPr>
              <a:t>Публичное акционерное </a:t>
            </a:r>
            <a:r>
              <a:rPr lang="ru-RU" sz="675" dirty="0">
                <a:solidFill>
                  <a:srgbClr val="706F6F"/>
                </a:solidFill>
                <a:cs typeface="Arial" pitchFamily="34" charset="0"/>
              </a:rPr>
              <a:t>общество</a:t>
            </a:r>
            <a:br>
              <a:rPr lang="ru-RU" sz="675" dirty="0">
                <a:solidFill>
                  <a:srgbClr val="706F6F"/>
                </a:solidFill>
                <a:cs typeface="Arial" pitchFamily="34" charset="0"/>
              </a:rPr>
            </a:br>
            <a:r>
              <a:rPr lang="ru-RU" sz="675" dirty="0">
                <a:solidFill>
                  <a:srgbClr val="706F6F"/>
                </a:solidFill>
                <a:cs typeface="Arial" pitchFamily="34" charset="0"/>
              </a:rPr>
              <a:t>«Газпром нефть», ул. Галерная, д. 5, лит. А,</a:t>
            </a:r>
            <a:br>
              <a:rPr lang="ru-RU" sz="675" dirty="0">
                <a:solidFill>
                  <a:srgbClr val="706F6F"/>
                </a:solidFill>
                <a:cs typeface="Arial" pitchFamily="34" charset="0"/>
              </a:rPr>
            </a:br>
            <a:r>
              <a:rPr lang="ru-RU" sz="675" dirty="0">
                <a:solidFill>
                  <a:srgbClr val="706F6F"/>
                </a:solidFill>
                <a:cs typeface="Arial" pitchFamily="34" charset="0"/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2010752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4639614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62877" y="2951163"/>
            <a:ext cx="8593786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418507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62877" y="950913"/>
            <a:ext cx="8593786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2949577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39614" y="2949577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14354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4"/>
          </p:nvPr>
        </p:nvSpPr>
        <p:spPr>
          <a:xfrm>
            <a:off x="4639614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5"/>
          </p:nvPr>
        </p:nvSpPr>
        <p:spPr>
          <a:xfrm>
            <a:off x="283513" y="2949229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6"/>
          </p:nvPr>
        </p:nvSpPr>
        <p:spPr>
          <a:xfrm>
            <a:off x="4639614" y="2949229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699815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2969905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9" y="3310342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2969905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957421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9" y="1299166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957421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1358814"/>
            <a:ext cx="4213224" cy="136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1358814"/>
            <a:ext cx="4213226" cy="136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3370013"/>
            <a:ext cx="4213224" cy="136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3370013"/>
            <a:ext cx="4213226" cy="136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4643439" y="3310342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643439" y="1299166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  <p:sp>
        <p:nvSpPr>
          <p:cNvPr id="1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066916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4398465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4398465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2378527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2378527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940722"/>
            <a:ext cx="4213224" cy="136909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940722"/>
            <a:ext cx="4213226" cy="136909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2959353"/>
            <a:ext cx="4213224" cy="136992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2959353"/>
            <a:ext cx="4213226" cy="136992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827637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9" y="950915"/>
            <a:ext cx="8569325" cy="3781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4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2063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43438" y="951571"/>
            <a:ext cx="4213224" cy="3780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782711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1851670"/>
            <a:ext cx="8562974" cy="7054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название раздела</a:t>
            </a:r>
            <a:br>
              <a:rPr lang="ru-RU" dirty="0" smtClean="0"/>
            </a:br>
            <a:r>
              <a:rPr lang="ru-RU" dirty="0" smtClean="0"/>
              <a:t>(максимум две строки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2932113"/>
            <a:ext cx="8569324" cy="1800225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</a:p>
        </p:txBody>
      </p:sp>
      <p:cxnSp>
        <p:nvCxnSpPr>
          <p:cNvPr id="7" name="Прямая соединительная линия 7"/>
          <p:cNvCxnSpPr/>
          <p:nvPr/>
        </p:nvCxnSpPr>
        <p:spPr>
          <a:xfrm>
            <a:off x="287339" y="2751138"/>
            <a:ext cx="854757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619093" y="4903200"/>
            <a:ext cx="0" cy="1215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6"/>
          <p:cNvSpPr txBox="1">
            <a:spLocks/>
          </p:cNvSpPr>
          <p:nvPr/>
        </p:nvSpPr>
        <p:spPr>
          <a:xfrm>
            <a:off x="8691683" y="4823774"/>
            <a:ext cx="286452" cy="2746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" name="LogoRus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/>
              <a:t>Газпром нефть</a:t>
            </a:r>
            <a:endParaRPr lang="ru-RU" sz="1200" dirty="0"/>
          </a:p>
        </p:txBody>
      </p:sp>
      <p:sp>
        <p:nvSpPr>
          <p:cNvPr id="16" name="LogoEng" hidden="1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smtClean="0"/>
              <a:t>Gazprom Neft</a:t>
            </a:r>
            <a:endParaRPr lang="ru-RU" sz="1200" dirty="0"/>
          </a:p>
        </p:txBody>
      </p:sp>
      <p:sp>
        <p:nvSpPr>
          <p:cNvPr id="9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000" dirty="0" smtClean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882100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82165" y="951571"/>
            <a:ext cx="4218397" cy="3780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4639614" y="950914"/>
            <a:ext cx="4217049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718844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2949575"/>
            <a:ext cx="8569324" cy="1782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85731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432378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951165"/>
            <a:ext cx="2717802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2951165"/>
            <a:ext cx="270033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29449" y="2951165"/>
            <a:ext cx="2727214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2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85731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423578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643438" y="950915"/>
            <a:ext cx="4204218" cy="3781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3513" y="2949579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75020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0914"/>
            <a:ext cx="4204218" cy="1782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1165"/>
            <a:ext cx="420421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3"/>
          </p:nvPr>
        </p:nvSpPr>
        <p:spPr>
          <a:xfrm>
            <a:off x="283513" y="2949579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308239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1570"/>
            <a:ext cx="4204218" cy="1782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1165"/>
            <a:ext cx="420421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5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692209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0914"/>
            <a:ext cx="421251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0338"/>
            <a:ext cx="421251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7" y="951570"/>
            <a:ext cx="4213941" cy="17821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9" y="2950338"/>
            <a:ext cx="421322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788874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87313"/>
            <a:ext cx="8560318" cy="612776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950915"/>
            <a:ext cx="5635625" cy="37814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6137275" y="950914"/>
            <a:ext cx="2714626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42777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8" y="1419622"/>
            <a:ext cx="5292725" cy="331271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95963" y="3795714"/>
            <a:ext cx="3060700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ru-RU" sz="2200" dirty="0"/>
            </a:lvl3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943701"/>
            <a:ext cx="5292725" cy="4683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5795963" y="950914"/>
            <a:ext cx="30559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496745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1" y="950915"/>
            <a:ext cx="8569325" cy="37814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4927" y="2975347"/>
            <a:ext cx="5580062" cy="1584325"/>
          </a:xfrm>
          <a:solidFill>
            <a:srgbClr val="FFFFFF">
              <a:alpha val="80000"/>
            </a:srgbClr>
          </a:solidFill>
        </p:spPr>
        <p:txBody>
          <a:bodyPr vert="horz" lIns="144000" tIns="108000" rIns="72000" bIns="7200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116744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9514" y="483518"/>
            <a:ext cx="8820980" cy="864096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39602"/>
            <a:ext cx="8562975" cy="900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2211712"/>
            <a:ext cx="8569325" cy="252062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5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000" dirty="0" smtClean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941055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0913"/>
            <a:ext cx="4176712" cy="266541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79953" y="950913"/>
            <a:ext cx="4176713" cy="266541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795714"/>
            <a:ext cx="4176712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50" y="3795714"/>
            <a:ext cx="4176712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57089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950913"/>
            <a:ext cx="2717800" cy="266523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3225254" y="950913"/>
            <a:ext cx="2700000" cy="266523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137276" y="937779"/>
            <a:ext cx="2719389" cy="267854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340" y="3795714"/>
            <a:ext cx="2717800" cy="9366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текст</a:t>
            </a:r>
          </a:p>
          <a:p>
            <a:pPr lvl="0"/>
            <a:endParaRPr lang="ru-RU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222001" y="3795714"/>
            <a:ext cx="2700000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137276" y="3795714"/>
            <a:ext cx="2719389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260505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локов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50912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baseline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283624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3891" y="3616338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83400" y="950912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683400" y="2283624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683400" y="3616338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15" name="Прямая соединительная линия 5"/>
          <p:cNvCxnSpPr/>
          <p:nvPr/>
        </p:nvCxnSpPr>
        <p:spPr>
          <a:xfrm>
            <a:off x="287339" y="217526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1"/>
          <p:cNvCxnSpPr/>
          <p:nvPr/>
        </p:nvCxnSpPr>
        <p:spPr>
          <a:xfrm>
            <a:off x="4716463" y="217526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5"/>
          <p:cNvCxnSpPr/>
          <p:nvPr/>
        </p:nvCxnSpPr>
        <p:spPr>
          <a:xfrm>
            <a:off x="287339" y="3507981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1"/>
          <p:cNvCxnSpPr/>
          <p:nvPr/>
        </p:nvCxnSpPr>
        <p:spPr>
          <a:xfrm>
            <a:off x="4716463" y="3507981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77441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41" y="950913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1" y="1938205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287341" y="2925497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287341" y="3912788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5" name="Прямая соединительная линия 4"/>
          <p:cNvCxnSpPr/>
          <p:nvPr/>
        </p:nvCxnSpPr>
        <p:spPr>
          <a:xfrm>
            <a:off x="287341" y="1851670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0"/>
          <p:cNvCxnSpPr/>
          <p:nvPr/>
        </p:nvCxnSpPr>
        <p:spPr>
          <a:xfrm>
            <a:off x="287341" y="2840108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2"/>
          <p:cNvCxnSpPr/>
          <p:nvPr/>
        </p:nvCxnSpPr>
        <p:spPr>
          <a:xfrm>
            <a:off x="287341" y="3828546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406450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3563939" y="1635646"/>
            <a:ext cx="5292725" cy="234104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563939" y="943700"/>
            <a:ext cx="5292725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563939" y="4191931"/>
            <a:ext cx="5292725" cy="5404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3563939" y="1578878"/>
            <a:ext cx="52927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7338" y="950914"/>
            <a:ext cx="309721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33130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3795714"/>
            <a:ext cx="8569325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281025" y="950914"/>
            <a:ext cx="52990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5795963" y="950914"/>
            <a:ext cx="3060700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808347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3795714"/>
            <a:ext cx="8569325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0"/>
          </p:nvPr>
        </p:nvSpPr>
        <p:spPr>
          <a:xfrm>
            <a:off x="281025" y="950914"/>
            <a:ext cx="85756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83045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1635648"/>
            <a:ext cx="4176000" cy="194416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94370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1578878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1635648"/>
            <a:ext cx="4176000" cy="194416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941784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4680026" y="1578878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0" y="3795713"/>
            <a:ext cx="4176000" cy="9347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678441" y="3795713"/>
            <a:ext cx="4176000" cy="9347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521881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8" y="950914"/>
            <a:ext cx="3060700" cy="178276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2949577"/>
            <a:ext cx="3060700" cy="1775793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4"/>
          </p:nvPr>
        </p:nvSpPr>
        <p:spPr>
          <a:xfrm>
            <a:off x="3563938" y="950914"/>
            <a:ext cx="52927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5"/>
          </p:nvPr>
        </p:nvSpPr>
        <p:spPr>
          <a:xfrm>
            <a:off x="3563938" y="2942609"/>
            <a:ext cx="52927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893985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, те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950914"/>
            <a:ext cx="3060700" cy="178276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2949577"/>
            <a:ext cx="3060700" cy="18002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3563938" y="950914"/>
            <a:ext cx="5292725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47661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694658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рисунков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1" y="950913"/>
            <a:ext cx="856932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283626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287338" y="3616338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2283626"/>
            <a:ext cx="2700338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22625" y="3616338"/>
            <a:ext cx="2700338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138663" y="2283626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38663" y="3616338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333333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87474"/>
            <a:ext cx="8560318" cy="612776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1635807"/>
            <a:ext cx="4176000" cy="194400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94386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1579039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1635807"/>
            <a:ext cx="4176000" cy="194400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94386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4680026" y="1579039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9" y="3795713"/>
            <a:ext cx="8568689" cy="93678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 smtClean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827421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1635646"/>
            <a:ext cx="5635626" cy="309860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943700"/>
            <a:ext cx="5635626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8" name="Прямая соединительная линия 14"/>
          <p:cNvCxnSpPr/>
          <p:nvPr/>
        </p:nvCxnSpPr>
        <p:spPr>
          <a:xfrm>
            <a:off x="287337" y="1578878"/>
            <a:ext cx="5634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6137278" y="1635646"/>
            <a:ext cx="2718751" cy="309860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137275" y="943700"/>
            <a:ext cx="2718751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6137276" y="1578878"/>
            <a:ext cx="271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325808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Объект 8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61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0" name="Объект 8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1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15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540">
              <a:solidFill>
                <a:srgbClr val="3C3C3C"/>
              </a:solidFill>
              <a:cs typeface="Arial" pitchFamily="34" charset="0"/>
            </a:endParaRPr>
          </a:p>
        </p:txBody>
      </p:sp>
      <p:sp>
        <p:nvSpPr>
          <p:cNvPr id="26" name="TradeSecret" hidden="1"/>
          <p:cNvSpPr txBox="1"/>
          <p:nvPr/>
        </p:nvSpPr>
        <p:spPr>
          <a:xfrm>
            <a:off x="7094690" y="131980"/>
            <a:ext cx="1186222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150"/>
              </a:spcAft>
            </a:pPr>
            <a:r>
              <a:rPr lang="ru-RU" sz="900" b="1" dirty="0">
                <a:solidFill>
                  <a:srgbClr val="706F6F"/>
                </a:solidFill>
                <a:cs typeface="Arial" pitchFamily="34" charset="0"/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7149187" y="131980"/>
            <a:ext cx="1077218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150"/>
              </a:spcAft>
            </a:pPr>
            <a:r>
              <a:rPr lang="ru-RU" sz="900" b="1" dirty="0">
                <a:solidFill>
                  <a:srgbClr val="706F6F"/>
                </a:solidFill>
                <a:cs typeface="Arial" pitchFamily="34" charset="0"/>
              </a:rPr>
              <a:t>Конфиденциально</a:t>
            </a:r>
            <a:endParaRPr lang="ru-RU" sz="825" b="1" dirty="0">
              <a:solidFill>
                <a:srgbClr val="706F6F"/>
              </a:solidFill>
              <a:cs typeface="Arial" pitchFamily="34" charset="0"/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5" y="303509"/>
            <a:ext cx="2394885" cy="372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675">
                <a:solidFill>
                  <a:srgbClr val="706F6F"/>
                </a:solidFill>
                <a:cs typeface="Arial" pitchFamily="34" charset="0"/>
              </a:rPr>
              <a:t>Публичное акционерное </a:t>
            </a:r>
            <a:r>
              <a:rPr lang="ru-RU" sz="675" dirty="0">
                <a:solidFill>
                  <a:srgbClr val="706F6F"/>
                </a:solidFill>
                <a:cs typeface="Arial" pitchFamily="34" charset="0"/>
              </a:rPr>
              <a:t>общество</a:t>
            </a:r>
            <a:br>
              <a:rPr lang="ru-RU" sz="675" dirty="0">
                <a:solidFill>
                  <a:srgbClr val="706F6F"/>
                </a:solidFill>
                <a:cs typeface="Arial" pitchFamily="34" charset="0"/>
              </a:rPr>
            </a:br>
            <a:r>
              <a:rPr lang="ru-RU" sz="675" dirty="0">
                <a:solidFill>
                  <a:srgbClr val="706F6F"/>
                </a:solidFill>
                <a:cs typeface="Arial" pitchFamily="34" charset="0"/>
              </a:rPr>
              <a:t>«Газпром нефть», ул. Галерная, д. 5, лит. А,</a:t>
            </a:r>
            <a:br>
              <a:rPr lang="ru-RU" sz="675" dirty="0">
                <a:solidFill>
                  <a:srgbClr val="706F6F"/>
                </a:solidFill>
                <a:cs typeface="Arial" pitchFamily="34" charset="0"/>
              </a:rPr>
            </a:br>
            <a:r>
              <a:rPr lang="ru-RU" sz="675" dirty="0">
                <a:solidFill>
                  <a:srgbClr val="706F6F"/>
                </a:solidFill>
                <a:cs typeface="Arial" pitchFamily="34" charset="0"/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22430180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" y="762"/>
            <a:ext cx="9137598" cy="5141976"/>
          </a:xfrm>
          <a:prstGeom prst="rect">
            <a:avLst/>
          </a:prstGeom>
        </p:spPr>
      </p:pic>
      <p:grpSp>
        <p:nvGrpSpPr>
          <p:cNvPr id="20" name="TitleLogoRus"/>
          <p:cNvGrpSpPr>
            <a:grpSpLocks noChangeAspect="1"/>
          </p:cNvGrpSpPr>
          <p:nvPr/>
        </p:nvGrpSpPr>
        <p:grpSpPr bwMode="auto">
          <a:xfrm>
            <a:off x="7895910" y="4454119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9" name="Текст 28"/>
          <p:cNvSpPr>
            <a:spLocks noGrp="1"/>
          </p:cNvSpPr>
          <p:nvPr>
            <p:ph type="body" sz="quarter" idx="12" hasCustomPrompt="1"/>
          </p:nvPr>
        </p:nvSpPr>
        <p:spPr>
          <a:xfrm>
            <a:off x="4788002" y="2570400"/>
            <a:ext cx="4068000" cy="1800000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название презентации</a:t>
            </a:r>
          </a:p>
        </p:txBody>
      </p:sp>
      <p:sp>
        <p:nvSpPr>
          <p:cNvPr id="37" name="TitleLogoEng" hidden="1"/>
          <p:cNvSpPr>
            <a:spLocks noEditPoints="1"/>
          </p:cNvSpPr>
          <p:nvPr/>
        </p:nvSpPr>
        <p:spPr bwMode="auto">
          <a:xfrm>
            <a:off x="7879608" y="4443958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41" y="4154400"/>
            <a:ext cx="4283999" cy="14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1400" b="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39" name="Текст 30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1" y="47808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дату</a:t>
            </a:r>
            <a:endParaRPr lang="ru-RU" dirty="0"/>
          </a:p>
        </p:txBody>
      </p:sp>
      <p:sp>
        <p:nvSpPr>
          <p:cNvPr id="40" name="Текст 30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1" y="43632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41" name="Текст 30"/>
          <p:cNvSpPr>
            <a:spLocks noGrp="1"/>
          </p:cNvSpPr>
          <p:nvPr>
            <p:ph type="body" sz="quarter" idx="18" hasCustomPrompt="1"/>
          </p:nvPr>
        </p:nvSpPr>
        <p:spPr>
          <a:xfrm>
            <a:off x="287341" y="45720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45" name="TradeSecret" hidden="1"/>
          <p:cNvSpPr txBox="1"/>
          <p:nvPr/>
        </p:nvSpPr>
        <p:spPr>
          <a:xfrm>
            <a:off x="6899887" y="87474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12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46" name="Confidential" hidden="1"/>
          <p:cNvSpPr txBox="1"/>
          <p:nvPr/>
        </p:nvSpPr>
        <p:spPr>
          <a:xfrm>
            <a:off x="6967245" y="87474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нфиденциально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42" name="CompanyName" hidden="1"/>
          <p:cNvSpPr txBox="1"/>
          <p:nvPr/>
        </p:nvSpPr>
        <p:spPr>
          <a:xfrm>
            <a:off x="6490352" y="303498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900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9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6583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1851670"/>
            <a:ext cx="8562974" cy="7054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название раздела</a:t>
            </a:r>
            <a:br>
              <a:rPr lang="ru-RU" dirty="0" smtClean="0"/>
            </a:br>
            <a:r>
              <a:rPr lang="ru-RU" dirty="0" smtClean="0"/>
              <a:t>(максимум две строки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2932113"/>
            <a:ext cx="8569324" cy="1800225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</a:p>
        </p:txBody>
      </p:sp>
      <p:cxnSp>
        <p:nvCxnSpPr>
          <p:cNvPr id="7" name="Прямая соединительная линия 7"/>
          <p:cNvCxnSpPr/>
          <p:nvPr/>
        </p:nvCxnSpPr>
        <p:spPr>
          <a:xfrm>
            <a:off x="287339" y="2751138"/>
            <a:ext cx="854757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619093" y="4903200"/>
            <a:ext cx="0" cy="1215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6"/>
          <p:cNvSpPr txBox="1">
            <a:spLocks/>
          </p:cNvSpPr>
          <p:nvPr/>
        </p:nvSpPr>
        <p:spPr>
          <a:xfrm>
            <a:off x="8691683" y="4823774"/>
            <a:ext cx="286452" cy="2746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" name="LogoRus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/>
              <a:t>Газпром нефть</a:t>
            </a:r>
            <a:endParaRPr lang="ru-RU" sz="1200" dirty="0"/>
          </a:p>
        </p:txBody>
      </p:sp>
      <p:sp>
        <p:nvSpPr>
          <p:cNvPr id="16" name="LogoEng" hidden="1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smtClean="0"/>
              <a:t>Gazprom Neft</a:t>
            </a:r>
            <a:endParaRPr lang="ru-RU" sz="1200" dirty="0"/>
          </a:p>
        </p:txBody>
      </p:sp>
      <p:sp>
        <p:nvSpPr>
          <p:cNvPr id="9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000" dirty="0" smtClean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673446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9514" y="483518"/>
            <a:ext cx="8820980" cy="864096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39602"/>
            <a:ext cx="8562975" cy="900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2211712"/>
            <a:ext cx="8569325" cy="252062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5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000" dirty="0" smtClean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96517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531500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4" name="ContentsTitle5" hidden="1"/>
          <p:cNvSpPr txBox="1"/>
          <p:nvPr/>
        </p:nvSpPr>
        <p:spPr>
          <a:xfrm>
            <a:off x="641278" y="1946787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75" name="line5" hidden="1"/>
          <p:cNvCxnSpPr/>
          <p:nvPr/>
        </p:nvCxnSpPr>
        <p:spPr>
          <a:xfrm>
            <a:off x="297658" y="213025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5" hidden="1"/>
          <p:cNvSpPr txBox="1"/>
          <p:nvPr/>
        </p:nvSpPr>
        <p:spPr>
          <a:xfrm>
            <a:off x="287524" y="182358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5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77" name="ContentsTitle3">
            <a:hlinkClick r:id="" action="ppaction://noaction"/>
          </p:cNvPr>
          <p:cNvSpPr txBox="1"/>
          <p:nvPr/>
        </p:nvSpPr>
        <p:spPr>
          <a:xfrm>
            <a:off x="641278" y="142834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/>
          </a:p>
        </p:txBody>
      </p:sp>
      <p:cxnSp>
        <p:nvCxnSpPr>
          <p:cNvPr id="78" name="line3"/>
          <p:cNvCxnSpPr/>
          <p:nvPr/>
        </p:nvCxnSpPr>
        <p:spPr>
          <a:xfrm>
            <a:off x="297658" y="160987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ontentsNumber3">
            <a:hlinkClick r:id="" action="ppaction://noaction"/>
          </p:cNvPr>
          <p:cNvSpPr txBox="1"/>
          <p:nvPr/>
        </p:nvSpPr>
        <p:spPr>
          <a:xfrm>
            <a:off x="287524" y="130514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3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80" name="ContentsTitle4" hidden="1"/>
          <p:cNvSpPr txBox="1"/>
          <p:nvPr/>
        </p:nvSpPr>
        <p:spPr>
          <a:xfrm>
            <a:off x="641278" y="1687564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81" name="line4" hidden="1"/>
          <p:cNvCxnSpPr/>
          <p:nvPr/>
        </p:nvCxnSpPr>
        <p:spPr>
          <a:xfrm>
            <a:off x="297658" y="187006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ontentsNumber4" hidden="1"/>
          <p:cNvSpPr txBox="1"/>
          <p:nvPr/>
        </p:nvSpPr>
        <p:spPr>
          <a:xfrm>
            <a:off x="287524" y="156436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4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83" name="ContentsTitle1">
            <a:hlinkClick r:id="rId2" action="ppaction://hlinksldjump"/>
          </p:cNvPr>
          <p:cNvSpPr txBox="1"/>
          <p:nvPr/>
        </p:nvSpPr>
        <p:spPr>
          <a:xfrm>
            <a:off x="641278" y="90989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 smtClean="0"/>
          </a:p>
        </p:txBody>
      </p:sp>
      <p:cxnSp>
        <p:nvCxnSpPr>
          <p:cNvPr id="84" name="line1"/>
          <p:cNvCxnSpPr/>
          <p:nvPr/>
        </p:nvCxnSpPr>
        <p:spPr>
          <a:xfrm>
            <a:off x="297658" y="108949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sNumber1">
            <a:hlinkClick r:id="rId2" action="ppaction://hlinksldjump"/>
          </p:cNvPr>
          <p:cNvSpPr txBox="1"/>
          <p:nvPr/>
        </p:nvSpPr>
        <p:spPr>
          <a:xfrm>
            <a:off x="287524" y="78669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6" name="ContentsTitle6" hidden="1"/>
          <p:cNvSpPr txBox="1"/>
          <p:nvPr/>
        </p:nvSpPr>
        <p:spPr>
          <a:xfrm>
            <a:off x="641278" y="2206010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87" name="line6" hidden="1"/>
          <p:cNvCxnSpPr/>
          <p:nvPr/>
        </p:nvCxnSpPr>
        <p:spPr>
          <a:xfrm>
            <a:off x="297658" y="239043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6" hidden="1"/>
          <p:cNvSpPr txBox="1"/>
          <p:nvPr/>
        </p:nvSpPr>
        <p:spPr>
          <a:xfrm>
            <a:off x="287524" y="208281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6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89" name="ContentsTitle2">
            <a:hlinkClick r:id="" action="ppaction://noaction"/>
          </p:cNvPr>
          <p:cNvSpPr txBox="1"/>
          <p:nvPr/>
        </p:nvSpPr>
        <p:spPr>
          <a:xfrm>
            <a:off x="641278" y="1169118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/>
          </a:p>
        </p:txBody>
      </p:sp>
      <p:cxnSp>
        <p:nvCxnSpPr>
          <p:cNvPr id="90" name="line2"/>
          <p:cNvCxnSpPr/>
          <p:nvPr/>
        </p:nvCxnSpPr>
        <p:spPr>
          <a:xfrm>
            <a:off x="297658" y="134968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ontentsNumber2">
            <a:hlinkClick r:id="" action="ppaction://noaction"/>
          </p:cNvPr>
          <p:cNvSpPr txBox="1"/>
          <p:nvPr/>
        </p:nvSpPr>
        <p:spPr>
          <a:xfrm>
            <a:off x="287524" y="104591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2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92" name="ContentsTitle7" hidden="1"/>
          <p:cNvSpPr txBox="1"/>
          <p:nvPr/>
        </p:nvSpPr>
        <p:spPr>
          <a:xfrm>
            <a:off x="641278" y="2465233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93" name="ContentsNumber7" hidden="1"/>
          <p:cNvSpPr txBox="1"/>
          <p:nvPr/>
        </p:nvSpPr>
        <p:spPr>
          <a:xfrm>
            <a:off x="287524" y="234203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7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cxnSp>
        <p:nvCxnSpPr>
          <p:cNvPr id="94" name="line7" hidden="1"/>
          <p:cNvCxnSpPr/>
          <p:nvPr/>
        </p:nvCxnSpPr>
        <p:spPr>
          <a:xfrm>
            <a:off x="297658" y="265062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sTitle8" hidden="1"/>
          <p:cNvSpPr txBox="1"/>
          <p:nvPr/>
        </p:nvSpPr>
        <p:spPr>
          <a:xfrm>
            <a:off x="641278" y="2724456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96" name="line8" hidden="1"/>
          <p:cNvCxnSpPr/>
          <p:nvPr/>
        </p:nvCxnSpPr>
        <p:spPr>
          <a:xfrm>
            <a:off x="297658" y="291081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ontentsNumber8" hidden="1"/>
          <p:cNvSpPr txBox="1"/>
          <p:nvPr/>
        </p:nvSpPr>
        <p:spPr>
          <a:xfrm>
            <a:off x="287524" y="260125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98" name="ContentsTitle13" hidden="1"/>
          <p:cNvSpPr txBox="1"/>
          <p:nvPr/>
        </p:nvSpPr>
        <p:spPr>
          <a:xfrm>
            <a:off x="649290" y="402057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99" name="line13" hidden="1"/>
          <p:cNvCxnSpPr/>
          <p:nvPr/>
        </p:nvCxnSpPr>
        <p:spPr>
          <a:xfrm>
            <a:off x="297658" y="421175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ontentsNumber13" hidden="1"/>
          <p:cNvSpPr txBox="1"/>
          <p:nvPr/>
        </p:nvSpPr>
        <p:spPr>
          <a:xfrm>
            <a:off x="287523" y="3897372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101" name="ContentsTitle11" hidden="1"/>
          <p:cNvSpPr txBox="1"/>
          <p:nvPr/>
        </p:nvSpPr>
        <p:spPr>
          <a:xfrm>
            <a:off x="649290" y="350212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02" name="line11" hidden="1"/>
          <p:cNvCxnSpPr/>
          <p:nvPr/>
        </p:nvCxnSpPr>
        <p:spPr>
          <a:xfrm>
            <a:off x="297658" y="369137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ContentsNumber11" hidden="1"/>
          <p:cNvSpPr txBox="1"/>
          <p:nvPr/>
        </p:nvSpPr>
        <p:spPr>
          <a:xfrm>
            <a:off x="287526" y="3378926"/>
            <a:ext cx="158505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104" name="ContentsTitle15" hidden="1"/>
          <p:cNvSpPr txBox="1"/>
          <p:nvPr/>
        </p:nvSpPr>
        <p:spPr>
          <a:xfrm>
            <a:off x="649290" y="4539020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05" name="line15" hidden="1"/>
          <p:cNvCxnSpPr/>
          <p:nvPr/>
        </p:nvCxnSpPr>
        <p:spPr>
          <a:xfrm>
            <a:off x="297658" y="473213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ContentsNumber15" hidden="1"/>
          <p:cNvSpPr txBox="1"/>
          <p:nvPr/>
        </p:nvSpPr>
        <p:spPr>
          <a:xfrm>
            <a:off x="287523" y="4415821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107" name="ContentsTitle12" hidden="1"/>
          <p:cNvSpPr txBox="1"/>
          <p:nvPr/>
        </p:nvSpPr>
        <p:spPr>
          <a:xfrm>
            <a:off x="649290" y="3761348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08" name="line12" hidden="1"/>
          <p:cNvCxnSpPr/>
          <p:nvPr/>
        </p:nvCxnSpPr>
        <p:spPr>
          <a:xfrm>
            <a:off x="297658" y="395156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sNumber12" hidden="1"/>
          <p:cNvSpPr txBox="1"/>
          <p:nvPr/>
        </p:nvSpPr>
        <p:spPr>
          <a:xfrm>
            <a:off x="287523" y="3638149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110" name="ContentsTitle9" hidden="1"/>
          <p:cNvSpPr txBox="1"/>
          <p:nvPr/>
        </p:nvSpPr>
        <p:spPr>
          <a:xfrm>
            <a:off x="649290" y="2983679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/>
              <a:t>Название раздела</a:t>
            </a:r>
          </a:p>
        </p:txBody>
      </p:sp>
      <p:cxnSp>
        <p:nvCxnSpPr>
          <p:cNvPr id="111" name="line9" hidden="1"/>
          <p:cNvCxnSpPr/>
          <p:nvPr/>
        </p:nvCxnSpPr>
        <p:spPr>
          <a:xfrm>
            <a:off x="297658" y="317100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ontentsNumber9" hidden="1"/>
          <p:cNvSpPr txBox="1"/>
          <p:nvPr/>
        </p:nvSpPr>
        <p:spPr>
          <a:xfrm>
            <a:off x="287524" y="286048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113" name="ContentsTitle14" hidden="1"/>
          <p:cNvSpPr txBox="1"/>
          <p:nvPr/>
        </p:nvSpPr>
        <p:spPr>
          <a:xfrm>
            <a:off x="649290" y="4279794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14" name="line14" hidden="1"/>
          <p:cNvCxnSpPr/>
          <p:nvPr/>
        </p:nvCxnSpPr>
        <p:spPr>
          <a:xfrm>
            <a:off x="297658" y="447194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ContentsNumber14" hidden="1"/>
          <p:cNvSpPr txBox="1"/>
          <p:nvPr/>
        </p:nvSpPr>
        <p:spPr>
          <a:xfrm>
            <a:off x="287523" y="4156595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116" name="ContentsTitle10" hidden="1"/>
          <p:cNvSpPr txBox="1"/>
          <p:nvPr/>
        </p:nvSpPr>
        <p:spPr>
          <a:xfrm>
            <a:off x="649290" y="3242902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</a:t>
            </a:r>
            <a:r>
              <a:rPr lang="ru-RU" sz="1200" dirty="0" smtClean="0"/>
              <a:t>раздела</a:t>
            </a:r>
            <a:endParaRPr lang="ru-RU" sz="1200" dirty="0"/>
          </a:p>
        </p:txBody>
      </p:sp>
      <p:cxnSp>
        <p:nvCxnSpPr>
          <p:cNvPr id="117" name="line10" hidden="1"/>
          <p:cNvCxnSpPr/>
          <p:nvPr/>
        </p:nvCxnSpPr>
        <p:spPr>
          <a:xfrm>
            <a:off x="297658" y="343119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ContentsNumber10" hidden="1"/>
          <p:cNvSpPr txBox="1"/>
          <p:nvPr/>
        </p:nvSpPr>
        <p:spPr>
          <a:xfrm>
            <a:off x="287523" y="3119703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51" name="Number1"/>
          <p:cNvSpPr txBox="1"/>
          <p:nvPr/>
        </p:nvSpPr>
        <p:spPr>
          <a:xfrm>
            <a:off x="8460434" y="78669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chemeClr val="bg2"/>
                </a:solidFill>
              </a:rPr>
              <a:t>3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52" name="Number2"/>
          <p:cNvSpPr txBox="1"/>
          <p:nvPr/>
        </p:nvSpPr>
        <p:spPr>
          <a:xfrm>
            <a:off x="8460434" y="104792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chemeClr val="bg2"/>
                </a:solidFill>
              </a:rPr>
              <a:t>6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53" name="Number3"/>
          <p:cNvSpPr txBox="1"/>
          <p:nvPr/>
        </p:nvSpPr>
        <p:spPr>
          <a:xfrm>
            <a:off x="8460434" y="130916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chemeClr val="bg2"/>
                </a:solidFill>
              </a:rPr>
              <a:t>9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54" name="Number4" hidden="1"/>
          <p:cNvSpPr txBox="1"/>
          <p:nvPr/>
        </p:nvSpPr>
        <p:spPr>
          <a:xfrm>
            <a:off x="8460434" y="157039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5" name="Number5" hidden="1"/>
          <p:cNvSpPr txBox="1"/>
          <p:nvPr/>
        </p:nvSpPr>
        <p:spPr>
          <a:xfrm>
            <a:off x="8460434" y="183162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6" name="Number6" hidden="1"/>
          <p:cNvSpPr txBox="1"/>
          <p:nvPr/>
        </p:nvSpPr>
        <p:spPr>
          <a:xfrm>
            <a:off x="8460434" y="209286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7" name="Number7" hidden="1"/>
          <p:cNvSpPr txBox="1"/>
          <p:nvPr/>
        </p:nvSpPr>
        <p:spPr>
          <a:xfrm>
            <a:off x="8460434" y="235409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8" name="Number8" hidden="1"/>
          <p:cNvSpPr txBox="1"/>
          <p:nvPr/>
        </p:nvSpPr>
        <p:spPr>
          <a:xfrm>
            <a:off x="8460434" y="261532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9" name="Number9" hidden="1"/>
          <p:cNvSpPr txBox="1"/>
          <p:nvPr/>
        </p:nvSpPr>
        <p:spPr>
          <a:xfrm>
            <a:off x="8460434" y="287656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0" name="Number10" hidden="1"/>
          <p:cNvSpPr txBox="1"/>
          <p:nvPr/>
        </p:nvSpPr>
        <p:spPr>
          <a:xfrm>
            <a:off x="8460434" y="3137793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1" name="Number11" hidden="1"/>
          <p:cNvSpPr txBox="1"/>
          <p:nvPr/>
        </p:nvSpPr>
        <p:spPr>
          <a:xfrm>
            <a:off x="8460434" y="339902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2" name="Number12" hidden="1"/>
          <p:cNvSpPr txBox="1"/>
          <p:nvPr/>
        </p:nvSpPr>
        <p:spPr>
          <a:xfrm>
            <a:off x="8460434" y="366025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3" name="Number13" hidden="1"/>
          <p:cNvSpPr txBox="1"/>
          <p:nvPr/>
        </p:nvSpPr>
        <p:spPr>
          <a:xfrm>
            <a:off x="8460434" y="392149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4" name="Number14" hidden="1"/>
          <p:cNvSpPr txBox="1"/>
          <p:nvPr/>
        </p:nvSpPr>
        <p:spPr>
          <a:xfrm>
            <a:off x="8460434" y="418272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5" name="Number15" hidden="1"/>
          <p:cNvSpPr txBox="1"/>
          <p:nvPr/>
        </p:nvSpPr>
        <p:spPr>
          <a:xfrm>
            <a:off x="8460434" y="444396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676018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39389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4" name="ContentsTitle5" hidden="1"/>
          <p:cNvSpPr txBox="1"/>
          <p:nvPr/>
        </p:nvSpPr>
        <p:spPr>
          <a:xfrm>
            <a:off x="641278" y="1946787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75" name="line5" hidden="1"/>
          <p:cNvCxnSpPr/>
          <p:nvPr/>
        </p:nvCxnSpPr>
        <p:spPr>
          <a:xfrm>
            <a:off x="297658" y="213025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5" hidden="1"/>
          <p:cNvSpPr txBox="1"/>
          <p:nvPr/>
        </p:nvSpPr>
        <p:spPr>
          <a:xfrm>
            <a:off x="287524" y="182358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5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77" name="ContentsTitle3">
            <a:hlinkClick r:id="" action="ppaction://noaction"/>
          </p:cNvPr>
          <p:cNvSpPr txBox="1"/>
          <p:nvPr/>
        </p:nvSpPr>
        <p:spPr>
          <a:xfrm>
            <a:off x="641278" y="142834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/>
          </a:p>
        </p:txBody>
      </p:sp>
      <p:cxnSp>
        <p:nvCxnSpPr>
          <p:cNvPr id="78" name="line3"/>
          <p:cNvCxnSpPr/>
          <p:nvPr/>
        </p:nvCxnSpPr>
        <p:spPr>
          <a:xfrm>
            <a:off x="297658" y="160987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ontentsNumber3">
            <a:hlinkClick r:id="" action="ppaction://noaction"/>
          </p:cNvPr>
          <p:cNvSpPr txBox="1"/>
          <p:nvPr/>
        </p:nvSpPr>
        <p:spPr>
          <a:xfrm>
            <a:off x="287524" y="130514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3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80" name="ContentsTitle4" hidden="1"/>
          <p:cNvSpPr txBox="1"/>
          <p:nvPr/>
        </p:nvSpPr>
        <p:spPr>
          <a:xfrm>
            <a:off x="641278" y="1687564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81" name="line4" hidden="1"/>
          <p:cNvCxnSpPr/>
          <p:nvPr/>
        </p:nvCxnSpPr>
        <p:spPr>
          <a:xfrm>
            <a:off x="297658" y="187006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ontentsNumber4" hidden="1"/>
          <p:cNvSpPr txBox="1"/>
          <p:nvPr/>
        </p:nvSpPr>
        <p:spPr>
          <a:xfrm>
            <a:off x="287524" y="156436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4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83" name="ContentsTitle1">
            <a:hlinkClick r:id="rId2" action="ppaction://hlinksldjump"/>
          </p:cNvPr>
          <p:cNvSpPr txBox="1"/>
          <p:nvPr/>
        </p:nvSpPr>
        <p:spPr>
          <a:xfrm>
            <a:off x="641278" y="90989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 smtClean="0"/>
          </a:p>
        </p:txBody>
      </p:sp>
      <p:cxnSp>
        <p:nvCxnSpPr>
          <p:cNvPr id="84" name="line1"/>
          <p:cNvCxnSpPr/>
          <p:nvPr/>
        </p:nvCxnSpPr>
        <p:spPr>
          <a:xfrm>
            <a:off x="297658" y="108949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sNumber1">
            <a:hlinkClick r:id="rId2" action="ppaction://hlinksldjump"/>
          </p:cNvPr>
          <p:cNvSpPr txBox="1"/>
          <p:nvPr/>
        </p:nvSpPr>
        <p:spPr>
          <a:xfrm>
            <a:off x="287524" y="78669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6" name="ContentsTitle6" hidden="1"/>
          <p:cNvSpPr txBox="1"/>
          <p:nvPr/>
        </p:nvSpPr>
        <p:spPr>
          <a:xfrm>
            <a:off x="641278" y="2206010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87" name="line6" hidden="1"/>
          <p:cNvCxnSpPr/>
          <p:nvPr/>
        </p:nvCxnSpPr>
        <p:spPr>
          <a:xfrm>
            <a:off x="297658" y="239043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6" hidden="1"/>
          <p:cNvSpPr txBox="1"/>
          <p:nvPr/>
        </p:nvSpPr>
        <p:spPr>
          <a:xfrm>
            <a:off x="287524" y="208281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6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89" name="ContentsTitle2">
            <a:hlinkClick r:id="" action="ppaction://noaction"/>
          </p:cNvPr>
          <p:cNvSpPr txBox="1"/>
          <p:nvPr/>
        </p:nvSpPr>
        <p:spPr>
          <a:xfrm>
            <a:off x="641278" y="1169118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/>
          </a:p>
        </p:txBody>
      </p:sp>
      <p:cxnSp>
        <p:nvCxnSpPr>
          <p:cNvPr id="90" name="line2"/>
          <p:cNvCxnSpPr/>
          <p:nvPr/>
        </p:nvCxnSpPr>
        <p:spPr>
          <a:xfrm>
            <a:off x="297658" y="134968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ontentsNumber2">
            <a:hlinkClick r:id="" action="ppaction://noaction"/>
          </p:cNvPr>
          <p:cNvSpPr txBox="1"/>
          <p:nvPr/>
        </p:nvSpPr>
        <p:spPr>
          <a:xfrm>
            <a:off x="287524" y="104591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2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92" name="ContentsTitle7" hidden="1"/>
          <p:cNvSpPr txBox="1"/>
          <p:nvPr/>
        </p:nvSpPr>
        <p:spPr>
          <a:xfrm>
            <a:off x="641278" y="2465233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93" name="ContentsNumber7" hidden="1"/>
          <p:cNvSpPr txBox="1"/>
          <p:nvPr/>
        </p:nvSpPr>
        <p:spPr>
          <a:xfrm>
            <a:off x="287524" y="234203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7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cxnSp>
        <p:nvCxnSpPr>
          <p:cNvPr id="94" name="line7" hidden="1"/>
          <p:cNvCxnSpPr/>
          <p:nvPr/>
        </p:nvCxnSpPr>
        <p:spPr>
          <a:xfrm>
            <a:off x="297658" y="265062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sTitle8" hidden="1"/>
          <p:cNvSpPr txBox="1"/>
          <p:nvPr/>
        </p:nvSpPr>
        <p:spPr>
          <a:xfrm>
            <a:off x="641278" y="2724456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96" name="line8" hidden="1"/>
          <p:cNvCxnSpPr/>
          <p:nvPr/>
        </p:nvCxnSpPr>
        <p:spPr>
          <a:xfrm>
            <a:off x="297658" y="291081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ontentsNumber8" hidden="1"/>
          <p:cNvSpPr txBox="1"/>
          <p:nvPr/>
        </p:nvSpPr>
        <p:spPr>
          <a:xfrm>
            <a:off x="287524" y="260125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98" name="ContentsTitle13" hidden="1"/>
          <p:cNvSpPr txBox="1"/>
          <p:nvPr/>
        </p:nvSpPr>
        <p:spPr>
          <a:xfrm>
            <a:off x="649290" y="402057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99" name="line13" hidden="1"/>
          <p:cNvCxnSpPr/>
          <p:nvPr/>
        </p:nvCxnSpPr>
        <p:spPr>
          <a:xfrm>
            <a:off x="297658" y="421175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ontentsNumber13" hidden="1"/>
          <p:cNvSpPr txBox="1"/>
          <p:nvPr/>
        </p:nvSpPr>
        <p:spPr>
          <a:xfrm>
            <a:off x="287523" y="3897372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101" name="ContentsTitle11" hidden="1"/>
          <p:cNvSpPr txBox="1"/>
          <p:nvPr/>
        </p:nvSpPr>
        <p:spPr>
          <a:xfrm>
            <a:off x="649290" y="350212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02" name="line11" hidden="1"/>
          <p:cNvCxnSpPr/>
          <p:nvPr/>
        </p:nvCxnSpPr>
        <p:spPr>
          <a:xfrm>
            <a:off x="297658" y="369137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ContentsNumber11" hidden="1"/>
          <p:cNvSpPr txBox="1"/>
          <p:nvPr/>
        </p:nvSpPr>
        <p:spPr>
          <a:xfrm>
            <a:off x="287526" y="3378926"/>
            <a:ext cx="158505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104" name="ContentsTitle15" hidden="1"/>
          <p:cNvSpPr txBox="1"/>
          <p:nvPr/>
        </p:nvSpPr>
        <p:spPr>
          <a:xfrm>
            <a:off x="649290" y="4539020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05" name="line15" hidden="1"/>
          <p:cNvCxnSpPr/>
          <p:nvPr/>
        </p:nvCxnSpPr>
        <p:spPr>
          <a:xfrm>
            <a:off x="297658" y="473213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ContentsNumber15" hidden="1"/>
          <p:cNvSpPr txBox="1"/>
          <p:nvPr/>
        </p:nvSpPr>
        <p:spPr>
          <a:xfrm>
            <a:off x="287523" y="4415821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107" name="ContentsTitle12" hidden="1"/>
          <p:cNvSpPr txBox="1"/>
          <p:nvPr/>
        </p:nvSpPr>
        <p:spPr>
          <a:xfrm>
            <a:off x="649290" y="3761348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08" name="line12" hidden="1"/>
          <p:cNvCxnSpPr/>
          <p:nvPr/>
        </p:nvCxnSpPr>
        <p:spPr>
          <a:xfrm>
            <a:off x="297658" y="395156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sNumber12" hidden="1"/>
          <p:cNvSpPr txBox="1"/>
          <p:nvPr/>
        </p:nvSpPr>
        <p:spPr>
          <a:xfrm>
            <a:off x="287523" y="3638149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110" name="ContentsTitle9" hidden="1"/>
          <p:cNvSpPr txBox="1"/>
          <p:nvPr/>
        </p:nvSpPr>
        <p:spPr>
          <a:xfrm>
            <a:off x="649290" y="2983679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/>
              <a:t>Название раздела</a:t>
            </a:r>
          </a:p>
        </p:txBody>
      </p:sp>
      <p:cxnSp>
        <p:nvCxnSpPr>
          <p:cNvPr id="111" name="line9" hidden="1"/>
          <p:cNvCxnSpPr/>
          <p:nvPr/>
        </p:nvCxnSpPr>
        <p:spPr>
          <a:xfrm>
            <a:off x="297658" y="317100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ontentsNumber9" hidden="1"/>
          <p:cNvSpPr txBox="1"/>
          <p:nvPr/>
        </p:nvSpPr>
        <p:spPr>
          <a:xfrm>
            <a:off x="287524" y="286048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113" name="ContentsTitle14" hidden="1"/>
          <p:cNvSpPr txBox="1"/>
          <p:nvPr/>
        </p:nvSpPr>
        <p:spPr>
          <a:xfrm>
            <a:off x="649290" y="4279794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14" name="line14" hidden="1"/>
          <p:cNvCxnSpPr/>
          <p:nvPr/>
        </p:nvCxnSpPr>
        <p:spPr>
          <a:xfrm>
            <a:off x="297658" y="447194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ContentsNumber14" hidden="1"/>
          <p:cNvSpPr txBox="1"/>
          <p:nvPr/>
        </p:nvSpPr>
        <p:spPr>
          <a:xfrm>
            <a:off x="287523" y="4156595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116" name="ContentsTitle10" hidden="1"/>
          <p:cNvSpPr txBox="1"/>
          <p:nvPr/>
        </p:nvSpPr>
        <p:spPr>
          <a:xfrm>
            <a:off x="649290" y="3242902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</a:t>
            </a:r>
            <a:r>
              <a:rPr lang="ru-RU" sz="1200" dirty="0" smtClean="0"/>
              <a:t>раздела</a:t>
            </a:r>
            <a:endParaRPr lang="ru-RU" sz="1200" dirty="0"/>
          </a:p>
        </p:txBody>
      </p:sp>
      <p:cxnSp>
        <p:nvCxnSpPr>
          <p:cNvPr id="117" name="line10" hidden="1"/>
          <p:cNvCxnSpPr/>
          <p:nvPr/>
        </p:nvCxnSpPr>
        <p:spPr>
          <a:xfrm>
            <a:off x="297658" y="343119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ContentsNumber10" hidden="1"/>
          <p:cNvSpPr txBox="1"/>
          <p:nvPr/>
        </p:nvSpPr>
        <p:spPr>
          <a:xfrm>
            <a:off x="287523" y="3119703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51" name="Number1"/>
          <p:cNvSpPr txBox="1"/>
          <p:nvPr/>
        </p:nvSpPr>
        <p:spPr>
          <a:xfrm>
            <a:off x="8460434" y="78669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chemeClr val="bg2"/>
                </a:solidFill>
              </a:rPr>
              <a:t>3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52" name="Number2"/>
          <p:cNvSpPr txBox="1"/>
          <p:nvPr/>
        </p:nvSpPr>
        <p:spPr>
          <a:xfrm>
            <a:off x="8460434" y="104792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chemeClr val="bg2"/>
                </a:solidFill>
              </a:rPr>
              <a:t>6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53" name="Number3"/>
          <p:cNvSpPr txBox="1"/>
          <p:nvPr/>
        </p:nvSpPr>
        <p:spPr>
          <a:xfrm>
            <a:off x="8460434" y="130916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chemeClr val="bg2"/>
                </a:solidFill>
              </a:rPr>
              <a:t>9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54" name="Number4" hidden="1"/>
          <p:cNvSpPr txBox="1"/>
          <p:nvPr/>
        </p:nvSpPr>
        <p:spPr>
          <a:xfrm>
            <a:off x="8460434" y="157039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5" name="Number5" hidden="1"/>
          <p:cNvSpPr txBox="1"/>
          <p:nvPr/>
        </p:nvSpPr>
        <p:spPr>
          <a:xfrm>
            <a:off x="8460434" y="183162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6" name="Number6" hidden="1"/>
          <p:cNvSpPr txBox="1"/>
          <p:nvPr/>
        </p:nvSpPr>
        <p:spPr>
          <a:xfrm>
            <a:off x="8460434" y="209286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7" name="Number7" hidden="1"/>
          <p:cNvSpPr txBox="1"/>
          <p:nvPr/>
        </p:nvSpPr>
        <p:spPr>
          <a:xfrm>
            <a:off x="8460434" y="235409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8" name="Number8" hidden="1"/>
          <p:cNvSpPr txBox="1"/>
          <p:nvPr/>
        </p:nvSpPr>
        <p:spPr>
          <a:xfrm>
            <a:off x="8460434" y="261532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9" name="Number9" hidden="1"/>
          <p:cNvSpPr txBox="1"/>
          <p:nvPr/>
        </p:nvSpPr>
        <p:spPr>
          <a:xfrm>
            <a:off x="8460434" y="287656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0" name="Number10" hidden="1"/>
          <p:cNvSpPr txBox="1"/>
          <p:nvPr/>
        </p:nvSpPr>
        <p:spPr>
          <a:xfrm>
            <a:off x="8460434" y="3137793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1" name="Number11" hidden="1"/>
          <p:cNvSpPr txBox="1"/>
          <p:nvPr/>
        </p:nvSpPr>
        <p:spPr>
          <a:xfrm>
            <a:off x="8460434" y="339902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2" name="Number12" hidden="1"/>
          <p:cNvSpPr txBox="1"/>
          <p:nvPr/>
        </p:nvSpPr>
        <p:spPr>
          <a:xfrm>
            <a:off x="8460434" y="366025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3" name="Number13" hidden="1"/>
          <p:cNvSpPr txBox="1"/>
          <p:nvPr/>
        </p:nvSpPr>
        <p:spPr>
          <a:xfrm>
            <a:off x="8460434" y="392149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4" name="Number14" hidden="1"/>
          <p:cNvSpPr txBox="1"/>
          <p:nvPr/>
        </p:nvSpPr>
        <p:spPr>
          <a:xfrm>
            <a:off x="8460434" y="418272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5" name="Number15" hidden="1"/>
          <p:cNvSpPr txBox="1"/>
          <p:nvPr/>
        </p:nvSpPr>
        <p:spPr>
          <a:xfrm>
            <a:off x="8460434" y="444396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32016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0"/>
          </p:nvPr>
        </p:nvSpPr>
        <p:spPr>
          <a:xfrm>
            <a:off x="287342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4637090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51012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7341" y="950914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1"/>
          </p:nvPr>
        </p:nvSpPr>
        <p:spPr>
          <a:xfrm>
            <a:off x="287341" y="2949577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083164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3615866"/>
            <a:ext cx="8569325" cy="111647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sz="18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287341" y="950914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462721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5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4643438" y="950914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4643438" y="2949577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287342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209885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5" y="950914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283515" y="2949577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4634434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961215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4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3200891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6137275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029365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4639614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62877" y="2951163"/>
            <a:ext cx="8593786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642041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62877" y="950913"/>
            <a:ext cx="8593786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2949577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39614" y="2949577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208552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4"/>
          </p:nvPr>
        </p:nvSpPr>
        <p:spPr>
          <a:xfrm>
            <a:off x="4639614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5"/>
          </p:nvPr>
        </p:nvSpPr>
        <p:spPr>
          <a:xfrm>
            <a:off x="283513" y="2949229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6"/>
          </p:nvPr>
        </p:nvSpPr>
        <p:spPr>
          <a:xfrm>
            <a:off x="4639614" y="2949229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817767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2969905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9" y="3310342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2969905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957421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9" y="1299166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957421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1358814"/>
            <a:ext cx="4213224" cy="136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1358814"/>
            <a:ext cx="4213226" cy="136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3370013"/>
            <a:ext cx="4213224" cy="136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3370013"/>
            <a:ext cx="4213226" cy="136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4643439" y="3310342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643439" y="1299166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  <p:sp>
        <p:nvSpPr>
          <p:cNvPr id="1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6126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181857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4398465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4398465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2378527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2378527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940722"/>
            <a:ext cx="4213224" cy="136909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940722"/>
            <a:ext cx="4213226" cy="136909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2959353"/>
            <a:ext cx="4213224" cy="136992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2959353"/>
            <a:ext cx="4213226" cy="136992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276448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9" y="950915"/>
            <a:ext cx="8569325" cy="3781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4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693402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43438" y="951571"/>
            <a:ext cx="4213224" cy="3780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504437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82165" y="951571"/>
            <a:ext cx="4218397" cy="3780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4639614" y="950914"/>
            <a:ext cx="4217049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617127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2949575"/>
            <a:ext cx="8569324" cy="1782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85731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414499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951165"/>
            <a:ext cx="2717802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2951165"/>
            <a:ext cx="270033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29449" y="2951165"/>
            <a:ext cx="2727214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2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85731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375979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643438" y="950915"/>
            <a:ext cx="4204218" cy="3781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3513" y="2949579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023880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0914"/>
            <a:ext cx="4204218" cy="1782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1165"/>
            <a:ext cx="420421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3"/>
          </p:nvPr>
        </p:nvSpPr>
        <p:spPr>
          <a:xfrm>
            <a:off x="283513" y="2949579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423231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1570"/>
            <a:ext cx="4204218" cy="1782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1165"/>
            <a:ext cx="420421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5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387095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0914"/>
            <a:ext cx="421251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0338"/>
            <a:ext cx="421251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7" y="951570"/>
            <a:ext cx="4213941" cy="17821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9" y="2950338"/>
            <a:ext cx="421322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68182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0"/>
          </p:nvPr>
        </p:nvSpPr>
        <p:spPr>
          <a:xfrm>
            <a:off x="287342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4637090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353493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87313"/>
            <a:ext cx="8560318" cy="612776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950915"/>
            <a:ext cx="5635625" cy="37814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6137275" y="950914"/>
            <a:ext cx="2714626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620145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8" y="1419622"/>
            <a:ext cx="5292725" cy="331271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95963" y="3795714"/>
            <a:ext cx="3060700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ru-RU" sz="2200" dirty="0"/>
            </a:lvl3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943701"/>
            <a:ext cx="5292725" cy="4683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5795963" y="950914"/>
            <a:ext cx="30559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069935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1" y="950915"/>
            <a:ext cx="8569325" cy="37814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4927" y="2975347"/>
            <a:ext cx="5580062" cy="1584325"/>
          </a:xfrm>
          <a:solidFill>
            <a:srgbClr val="FFFFFF">
              <a:alpha val="80000"/>
            </a:srgbClr>
          </a:solidFill>
        </p:spPr>
        <p:txBody>
          <a:bodyPr vert="horz" lIns="144000" tIns="108000" rIns="72000" bIns="7200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8748805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0913"/>
            <a:ext cx="4176712" cy="266541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79953" y="950913"/>
            <a:ext cx="4176713" cy="266541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795714"/>
            <a:ext cx="4176712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50" y="3795714"/>
            <a:ext cx="4176712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736938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950913"/>
            <a:ext cx="2717800" cy="266523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3225254" y="950913"/>
            <a:ext cx="2700000" cy="266523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137276" y="937779"/>
            <a:ext cx="2719389" cy="267854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340" y="3795714"/>
            <a:ext cx="2717800" cy="9366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текст</a:t>
            </a:r>
          </a:p>
          <a:p>
            <a:pPr lvl="0"/>
            <a:endParaRPr lang="ru-RU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222001" y="3795714"/>
            <a:ext cx="2700000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137276" y="3795714"/>
            <a:ext cx="2719389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6429675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локов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50912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baseline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283624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3891" y="3616338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83400" y="950912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683400" y="2283624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683400" y="3616338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15" name="Прямая соединительная линия 5"/>
          <p:cNvCxnSpPr/>
          <p:nvPr/>
        </p:nvCxnSpPr>
        <p:spPr>
          <a:xfrm>
            <a:off x="287339" y="217526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1"/>
          <p:cNvCxnSpPr/>
          <p:nvPr/>
        </p:nvCxnSpPr>
        <p:spPr>
          <a:xfrm>
            <a:off x="4716463" y="217526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5"/>
          <p:cNvCxnSpPr/>
          <p:nvPr/>
        </p:nvCxnSpPr>
        <p:spPr>
          <a:xfrm>
            <a:off x="287339" y="3507981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1"/>
          <p:cNvCxnSpPr/>
          <p:nvPr/>
        </p:nvCxnSpPr>
        <p:spPr>
          <a:xfrm>
            <a:off x="4716463" y="3507981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914760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41" y="950913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1" y="1938205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287341" y="2925497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287341" y="3912788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5" name="Прямая соединительная линия 4"/>
          <p:cNvCxnSpPr/>
          <p:nvPr/>
        </p:nvCxnSpPr>
        <p:spPr>
          <a:xfrm>
            <a:off x="287341" y="1851670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0"/>
          <p:cNvCxnSpPr/>
          <p:nvPr/>
        </p:nvCxnSpPr>
        <p:spPr>
          <a:xfrm>
            <a:off x="287341" y="2840108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2"/>
          <p:cNvCxnSpPr/>
          <p:nvPr/>
        </p:nvCxnSpPr>
        <p:spPr>
          <a:xfrm>
            <a:off x="287341" y="3828546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4747351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3563939" y="1635646"/>
            <a:ext cx="5292725" cy="234104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563939" y="943700"/>
            <a:ext cx="5292725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563939" y="4191931"/>
            <a:ext cx="5292725" cy="5404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3563939" y="1578878"/>
            <a:ext cx="52927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7338" y="950914"/>
            <a:ext cx="309721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0830912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3795714"/>
            <a:ext cx="8569325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281025" y="950914"/>
            <a:ext cx="52990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5795963" y="950914"/>
            <a:ext cx="3060700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965338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3795714"/>
            <a:ext cx="8569325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0"/>
          </p:nvPr>
        </p:nvSpPr>
        <p:spPr>
          <a:xfrm>
            <a:off x="281025" y="950914"/>
            <a:ext cx="85756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44053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7341" y="950914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1"/>
          </p:nvPr>
        </p:nvSpPr>
        <p:spPr>
          <a:xfrm>
            <a:off x="287341" y="2949577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5057840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1635648"/>
            <a:ext cx="4176000" cy="194416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94370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1578878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1635648"/>
            <a:ext cx="4176000" cy="194416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941784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4680026" y="1578878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0" y="3795713"/>
            <a:ext cx="4176000" cy="9347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678441" y="3795713"/>
            <a:ext cx="4176000" cy="9347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4307159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8" y="950914"/>
            <a:ext cx="3060700" cy="178276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2949577"/>
            <a:ext cx="3060700" cy="1775793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4"/>
          </p:nvPr>
        </p:nvSpPr>
        <p:spPr>
          <a:xfrm>
            <a:off x="3563938" y="950914"/>
            <a:ext cx="52927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5"/>
          </p:nvPr>
        </p:nvSpPr>
        <p:spPr>
          <a:xfrm>
            <a:off x="3563938" y="2942609"/>
            <a:ext cx="52927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669343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, те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950914"/>
            <a:ext cx="3060700" cy="178276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2949577"/>
            <a:ext cx="3060700" cy="18002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3563938" y="950914"/>
            <a:ext cx="5292725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22831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рисунков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1" y="950913"/>
            <a:ext cx="856932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283626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287338" y="3616338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2283626"/>
            <a:ext cx="2700338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22625" y="3616338"/>
            <a:ext cx="2700338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138663" y="2283626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38663" y="3616338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859739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87474"/>
            <a:ext cx="8560318" cy="612776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1635807"/>
            <a:ext cx="4176000" cy="194400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94386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1579039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1635807"/>
            <a:ext cx="4176000" cy="194400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94386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4680026" y="1579039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9" y="3795713"/>
            <a:ext cx="8568689" cy="93678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 smtClean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464115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1635646"/>
            <a:ext cx="5635626" cy="309860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943700"/>
            <a:ext cx="5635626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8" name="Прямая соединительная линия 14"/>
          <p:cNvCxnSpPr/>
          <p:nvPr/>
        </p:nvCxnSpPr>
        <p:spPr>
          <a:xfrm>
            <a:off x="287337" y="1578878"/>
            <a:ext cx="5634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6137278" y="1635646"/>
            <a:ext cx="2718751" cy="309860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137275" y="943700"/>
            <a:ext cx="2718751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6137276" y="1578878"/>
            <a:ext cx="271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543149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Объект 8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61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0" name="Объект 8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1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15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540">
              <a:solidFill>
                <a:srgbClr val="3C3C3C"/>
              </a:solidFill>
              <a:cs typeface="Arial" pitchFamily="34" charset="0"/>
            </a:endParaRPr>
          </a:p>
        </p:txBody>
      </p:sp>
      <p:sp>
        <p:nvSpPr>
          <p:cNvPr id="26" name="TradeSecret" hidden="1"/>
          <p:cNvSpPr txBox="1"/>
          <p:nvPr/>
        </p:nvSpPr>
        <p:spPr>
          <a:xfrm>
            <a:off x="7094690" y="131980"/>
            <a:ext cx="1186222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150"/>
              </a:spcAft>
            </a:pPr>
            <a:r>
              <a:rPr lang="ru-RU" sz="900" b="1" dirty="0">
                <a:solidFill>
                  <a:srgbClr val="706F6F"/>
                </a:solidFill>
                <a:cs typeface="Arial" pitchFamily="34" charset="0"/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7149187" y="131980"/>
            <a:ext cx="1077218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150"/>
              </a:spcAft>
            </a:pPr>
            <a:r>
              <a:rPr lang="ru-RU" sz="900" b="1" dirty="0">
                <a:solidFill>
                  <a:srgbClr val="706F6F"/>
                </a:solidFill>
                <a:cs typeface="Arial" pitchFamily="34" charset="0"/>
              </a:rPr>
              <a:t>Конфиденциально</a:t>
            </a:r>
            <a:endParaRPr lang="ru-RU" sz="825" b="1" dirty="0">
              <a:solidFill>
                <a:srgbClr val="706F6F"/>
              </a:solidFill>
              <a:cs typeface="Arial" pitchFamily="34" charset="0"/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5" y="303509"/>
            <a:ext cx="2394885" cy="372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675">
                <a:solidFill>
                  <a:srgbClr val="706F6F"/>
                </a:solidFill>
                <a:cs typeface="Arial" pitchFamily="34" charset="0"/>
              </a:rPr>
              <a:t>Публичное акционерное </a:t>
            </a:r>
            <a:r>
              <a:rPr lang="ru-RU" sz="675" dirty="0">
                <a:solidFill>
                  <a:srgbClr val="706F6F"/>
                </a:solidFill>
                <a:cs typeface="Arial" pitchFamily="34" charset="0"/>
              </a:rPr>
              <a:t>общество</a:t>
            </a:r>
            <a:br>
              <a:rPr lang="ru-RU" sz="675" dirty="0">
                <a:solidFill>
                  <a:srgbClr val="706F6F"/>
                </a:solidFill>
                <a:cs typeface="Arial" pitchFamily="34" charset="0"/>
              </a:rPr>
            </a:br>
            <a:r>
              <a:rPr lang="ru-RU" sz="675" dirty="0">
                <a:solidFill>
                  <a:srgbClr val="706F6F"/>
                </a:solidFill>
                <a:cs typeface="Arial" pitchFamily="34" charset="0"/>
              </a:rPr>
              <a:t>«Газпром нефть», ул. Галерная, д. 5, лит. А,</a:t>
            </a:r>
            <a:br>
              <a:rPr lang="ru-RU" sz="675" dirty="0">
                <a:solidFill>
                  <a:srgbClr val="706F6F"/>
                </a:solidFill>
                <a:cs typeface="Arial" pitchFamily="34" charset="0"/>
              </a:rPr>
            </a:br>
            <a:r>
              <a:rPr lang="ru-RU" sz="675" dirty="0">
                <a:solidFill>
                  <a:srgbClr val="706F6F"/>
                </a:solidFill>
                <a:cs typeface="Arial" pitchFamily="34" charset="0"/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101089369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" y="762"/>
            <a:ext cx="9137598" cy="5141976"/>
          </a:xfrm>
          <a:prstGeom prst="rect">
            <a:avLst/>
          </a:prstGeom>
        </p:spPr>
      </p:pic>
      <p:grpSp>
        <p:nvGrpSpPr>
          <p:cNvPr id="20" name="TitleLogoRus"/>
          <p:cNvGrpSpPr>
            <a:grpSpLocks noChangeAspect="1"/>
          </p:cNvGrpSpPr>
          <p:nvPr/>
        </p:nvGrpSpPr>
        <p:grpSpPr bwMode="auto">
          <a:xfrm>
            <a:off x="7895910" y="4454119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0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1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4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5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6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9" name="Текст 28"/>
          <p:cNvSpPr>
            <a:spLocks noGrp="1"/>
          </p:cNvSpPr>
          <p:nvPr>
            <p:ph type="body" sz="quarter" idx="12" hasCustomPrompt="1"/>
          </p:nvPr>
        </p:nvSpPr>
        <p:spPr>
          <a:xfrm>
            <a:off x="4788002" y="2570400"/>
            <a:ext cx="4068000" cy="1800000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название презентации</a:t>
            </a:r>
          </a:p>
        </p:txBody>
      </p:sp>
      <p:sp>
        <p:nvSpPr>
          <p:cNvPr id="37" name="TitleLogoEng" hidden="1"/>
          <p:cNvSpPr>
            <a:spLocks noEditPoints="1"/>
          </p:cNvSpPr>
          <p:nvPr/>
        </p:nvSpPr>
        <p:spPr bwMode="auto">
          <a:xfrm>
            <a:off x="7879608" y="4443958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41" y="4154400"/>
            <a:ext cx="4283999" cy="14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1400" b="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39" name="Текст 30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1" y="47808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дату</a:t>
            </a:r>
            <a:endParaRPr lang="ru-RU" dirty="0"/>
          </a:p>
        </p:txBody>
      </p:sp>
      <p:sp>
        <p:nvSpPr>
          <p:cNvPr id="40" name="Текст 30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1" y="43632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41" name="Текст 30"/>
          <p:cNvSpPr>
            <a:spLocks noGrp="1"/>
          </p:cNvSpPr>
          <p:nvPr>
            <p:ph type="body" sz="quarter" idx="18" hasCustomPrompt="1"/>
          </p:nvPr>
        </p:nvSpPr>
        <p:spPr>
          <a:xfrm>
            <a:off x="287341" y="45720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45" name="TradeSecret" hidden="1"/>
          <p:cNvSpPr txBox="1"/>
          <p:nvPr/>
        </p:nvSpPr>
        <p:spPr>
          <a:xfrm>
            <a:off x="6899887" y="87474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46" name="Confidential" hidden="1"/>
          <p:cNvSpPr txBox="1"/>
          <p:nvPr/>
        </p:nvSpPr>
        <p:spPr>
          <a:xfrm>
            <a:off x="6967245" y="87474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нфиденциально</a:t>
            </a:r>
            <a:endParaRPr lang="ru-RU" sz="1100" b="1" dirty="0" smtClean="0">
              <a:solidFill>
                <a:srgbClr val="706F6F"/>
              </a:solidFill>
            </a:endParaRPr>
          </a:p>
        </p:txBody>
      </p:sp>
      <p:sp>
        <p:nvSpPr>
          <p:cNvPr id="42" name="CompanyName" hidden="1"/>
          <p:cNvSpPr txBox="1"/>
          <p:nvPr/>
        </p:nvSpPr>
        <p:spPr>
          <a:xfrm>
            <a:off x="6490352" y="303498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900" smtClean="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 smtClean="0">
                <a:solidFill>
                  <a:srgbClr val="706F6F"/>
                </a:solidFill>
              </a:rPr>
              <a:t>общество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393560042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1851670"/>
            <a:ext cx="8562974" cy="7054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название раздела</a:t>
            </a:r>
            <a:br>
              <a:rPr lang="ru-RU" dirty="0" smtClean="0"/>
            </a:br>
            <a:r>
              <a:rPr lang="ru-RU" dirty="0" smtClean="0"/>
              <a:t>(максимум две строки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2932113"/>
            <a:ext cx="8569324" cy="1800225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</a:p>
        </p:txBody>
      </p:sp>
      <p:cxnSp>
        <p:nvCxnSpPr>
          <p:cNvPr id="7" name="Прямая соединительная линия 7"/>
          <p:cNvCxnSpPr/>
          <p:nvPr/>
        </p:nvCxnSpPr>
        <p:spPr>
          <a:xfrm>
            <a:off x="287339" y="2751138"/>
            <a:ext cx="854757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619093" y="4903200"/>
            <a:ext cx="0" cy="1215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6"/>
          <p:cNvSpPr txBox="1">
            <a:spLocks/>
          </p:cNvSpPr>
          <p:nvPr/>
        </p:nvSpPr>
        <p:spPr>
          <a:xfrm>
            <a:off x="8691683" y="4823774"/>
            <a:ext cx="286452" cy="2746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rgbClr val="3C3C3C"/>
                </a:solidFill>
              </a:rPr>
              <a:pPr algn="l"/>
              <a:t>‹#›</a:t>
            </a:fld>
            <a:endParaRPr lang="ru-RU" sz="1000" dirty="0">
              <a:solidFill>
                <a:srgbClr val="3C3C3C"/>
              </a:solidFill>
            </a:endParaRPr>
          </a:p>
        </p:txBody>
      </p:sp>
      <p:sp>
        <p:nvSpPr>
          <p:cNvPr id="11" name="LogoRus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>
                <a:solidFill>
                  <a:srgbClr val="706F6F"/>
                </a:solidFill>
              </a:rPr>
              <a:t>Газпром нефть</a:t>
            </a:r>
            <a:endParaRPr lang="ru-RU" sz="1200" dirty="0">
              <a:solidFill>
                <a:srgbClr val="706F6F"/>
              </a:solidFill>
            </a:endParaRPr>
          </a:p>
        </p:txBody>
      </p:sp>
      <p:sp>
        <p:nvSpPr>
          <p:cNvPr id="16" name="LogoEng" hidden="1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smtClean="0">
                <a:solidFill>
                  <a:srgbClr val="706F6F"/>
                </a:solidFill>
              </a:rPr>
              <a:t>Gazprom Neft</a:t>
            </a:r>
            <a:endParaRPr lang="ru-RU" sz="12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endParaRPr lang="ru-RU" sz="1000" dirty="0" smtClean="0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4822713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9514" y="483518"/>
            <a:ext cx="8820980" cy="864096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rgbClr val="3C3C3C"/>
              </a:solidFill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39602"/>
            <a:ext cx="8562975" cy="900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2211712"/>
            <a:ext cx="8569325" cy="252062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5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endParaRPr lang="ru-RU" sz="1000" dirty="0" smtClean="0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899915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3615866"/>
            <a:ext cx="8569325" cy="111647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sz="18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287341" y="950914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157652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805448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4" name="ContentsTitle5" hidden="1"/>
          <p:cNvSpPr txBox="1"/>
          <p:nvPr/>
        </p:nvSpPr>
        <p:spPr>
          <a:xfrm>
            <a:off x="641278" y="1946787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5" hidden="1"/>
          <p:cNvCxnSpPr/>
          <p:nvPr/>
        </p:nvCxnSpPr>
        <p:spPr>
          <a:xfrm>
            <a:off x="297658" y="213025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5" hidden="1"/>
          <p:cNvSpPr txBox="1"/>
          <p:nvPr/>
        </p:nvSpPr>
        <p:spPr>
          <a:xfrm>
            <a:off x="287524" y="182358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5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77" name="ContentsTitle3">
            <a:hlinkClick r:id="" action="ppaction://noaction"/>
          </p:cNvPr>
          <p:cNvSpPr txBox="1"/>
          <p:nvPr/>
        </p:nvSpPr>
        <p:spPr>
          <a:xfrm>
            <a:off x="641278" y="142834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78" name="line3"/>
          <p:cNvCxnSpPr/>
          <p:nvPr/>
        </p:nvCxnSpPr>
        <p:spPr>
          <a:xfrm>
            <a:off x="297658" y="160987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ontentsNumber3">
            <a:hlinkClick r:id="" action="ppaction://noaction"/>
          </p:cNvPr>
          <p:cNvSpPr txBox="1"/>
          <p:nvPr/>
        </p:nvSpPr>
        <p:spPr>
          <a:xfrm>
            <a:off x="287524" y="130514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3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80" name="ContentsTitle4" hidden="1"/>
          <p:cNvSpPr txBox="1"/>
          <p:nvPr/>
        </p:nvSpPr>
        <p:spPr>
          <a:xfrm>
            <a:off x="641278" y="1687564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1" name="line4" hidden="1"/>
          <p:cNvCxnSpPr/>
          <p:nvPr/>
        </p:nvCxnSpPr>
        <p:spPr>
          <a:xfrm>
            <a:off x="297658" y="187006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ontentsNumber4" hidden="1"/>
          <p:cNvSpPr txBox="1"/>
          <p:nvPr/>
        </p:nvSpPr>
        <p:spPr>
          <a:xfrm>
            <a:off x="287524" y="156436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4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83" name="ContentsTitle1">
            <a:hlinkClick r:id="rId2" action="ppaction://hlinksldjump"/>
          </p:cNvPr>
          <p:cNvSpPr txBox="1"/>
          <p:nvPr/>
        </p:nvSpPr>
        <p:spPr>
          <a:xfrm>
            <a:off x="641278" y="90989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cxnSp>
        <p:nvCxnSpPr>
          <p:cNvPr id="84" name="line1"/>
          <p:cNvCxnSpPr/>
          <p:nvPr/>
        </p:nvCxnSpPr>
        <p:spPr>
          <a:xfrm>
            <a:off x="297658" y="108949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sNumber1">
            <a:hlinkClick r:id="rId2" action="ppaction://hlinksldjump"/>
          </p:cNvPr>
          <p:cNvSpPr txBox="1"/>
          <p:nvPr/>
        </p:nvSpPr>
        <p:spPr>
          <a:xfrm>
            <a:off x="287524" y="78669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6" name="ContentsTitle6" hidden="1"/>
          <p:cNvSpPr txBox="1"/>
          <p:nvPr/>
        </p:nvSpPr>
        <p:spPr>
          <a:xfrm>
            <a:off x="641278" y="2206010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6" hidden="1"/>
          <p:cNvCxnSpPr/>
          <p:nvPr/>
        </p:nvCxnSpPr>
        <p:spPr>
          <a:xfrm>
            <a:off x="297658" y="239043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6" hidden="1"/>
          <p:cNvSpPr txBox="1"/>
          <p:nvPr/>
        </p:nvSpPr>
        <p:spPr>
          <a:xfrm>
            <a:off x="287524" y="208281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6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89" name="ContentsTitle2">
            <a:hlinkClick r:id="" action="ppaction://noaction"/>
          </p:cNvPr>
          <p:cNvSpPr txBox="1"/>
          <p:nvPr/>
        </p:nvSpPr>
        <p:spPr>
          <a:xfrm>
            <a:off x="641278" y="1169118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90" name="line2"/>
          <p:cNvCxnSpPr/>
          <p:nvPr/>
        </p:nvCxnSpPr>
        <p:spPr>
          <a:xfrm>
            <a:off x="297658" y="134968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ontentsNumber2">
            <a:hlinkClick r:id="" action="ppaction://noaction"/>
          </p:cNvPr>
          <p:cNvSpPr txBox="1"/>
          <p:nvPr/>
        </p:nvSpPr>
        <p:spPr>
          <a:xfrm>
            <a:off x="287524" y="104591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2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92" name="ContentsTitle7" hidden="1"/>
          <p:cNvSpPr txBox="1"/>
          <p:nvPr/>
        </p:nvSpPr>
        <p:spPr>
          <a:xfrm>
            <a:off x="641278" y="2465233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93" name="ContentsNumber7" hidden="1"/>
          <p:cNvSpPr txBox="1"/>
          <p:nvPr/>
        </p:nvSpPr>
        <p:spPr>
          <a:xfrm>
            <a:off x="287524" y="234203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7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cxnSp>
        <p:nvCxnSpPr>
          <p:cNvPr id="94" name="line7" hidden="1"/>
          <p:cNvCxnSpPr/>
          <p:nvPr/>
        </p:nvCxnSpPr>
        <p:spPr>
          <a:xfrm>
            <a:off x="297658" y="265062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sTitle8" hidden="1"/>
          <p:cNvSpPr txBox="1"/>
          <p:nvPr/>
        </p:nvSpPr>
        <p:spPr>
          <a:xfrm>
            <a:off x="641278" y="2724456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96" name="line8" hidden="1"/>
          <p:cNvCxnSpPr/>
          <p:nvPr/>
        </p:nvCxnSpPr>
        <p:spPr>
          <a:xfrm>
            <a:off x="297658" y="291081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ontentsNumber8" hidden="1"/>
          <p:cNvSpPr txBox="1"/>
          <p:nvPr/>
        </p:nvSpPr>
        <p:spPr>
          <a:xfrm>
            <a:off x="287524" y="260125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98" name="ContentsTitle13" hidden="1"/>
          <p:cNvSpPr txBox="1"/>
          <p:nvPr/>
        </p:nvSpPr>
        <p:spPr>
          <a:xfrm>
            <a:off x="649290" y="402057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99" name="line13" hidden="1"/>
          <p:cNvCxnSpPr/>
          <p:nvPr/>
        </p:nvCxnSpPr>
        <p:spPr>
          <a:xfrm>
            <a:off x="297658" y="421175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ontentsNumber13" hidden="1"/>
          <p:cNvSpPr txBox="1"/>
          <p:nvPr/>
        </p:nvSpPr>
        <p:spPr>
          <a:xfrm>
            <a:off x="287523" y="3897372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101" name="ContentsTitle11" hidden="1"/>
          <p:cNvSpPr txBox="1"/>
          <p:nvPr/>
        </p:nvSpPr>
        <p:spPr>
          <a:xfrm>
            <a:off x="649290" y="350212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2" name="line11" hidden="1"/>
          <p:cNvCxnSpPr/>
          <p:nvPr/>
        </p:nvCxnSpPr>
        <p:spPr>
          <a:xfrm>
            <a:off x="297658" y="369137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ContentsNumber11" hidden="1"/>
          <p:cNvSpPr txBox="1"/>
          <p:nvPr/>
        </p:nvSpPr>
        <p:spPr>
          <a:xfrm>
            <a:off x="287526" y="3378926"/>
            <a:ext cx="158505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104" name="ContentsTitle15" hidden="1"/>
          <p:cNvSpPr txBox="1"/>
          <p:nvPr/>
        </p:nvSpPr>
        <p:spPr>
          <a:xfrm>
            <a:off x="649290" y="4539020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5" name="line15" hidden="1"/>
          <p:cNvCxnSpPr/>
          <p:nvPr/>
        </p:nvCxnSpPr>
        <p:spPr>
          <a:xfrm>
            <a:off x="297658" y="473213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ContentsNumber15" hidden="1"/>
          <p:cNvSpPr txBox="1"/>
          <p:nvPr/>
        </p:nvSpPr>
        <p:spPr>
          <a:xfrm>
            <a:off x="287523" y="4415821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107" name="ContentsTitle12" hidden="1"/>
          <p:cNvSpPr txBox="1"/>
          <p:nvPr/>
        </p:nvSpPr>
        <p:spPr>
          <a:xfrm>
            <a:off x="649290" y="3761348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8" name="line12" hidden="1"/>
          <p:cNvCxnSpPr/>
          <p:nvPr/>
        </p:nvCxnSpPr>
        <p:spPr>
          <a:xfrm>
            <a:off x="297658" y="395156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sNumber12" hidden="1"/>
          <p:cNvSpPr txBox="1"/>
          <p:nvPr/>
        </p:nvSpPr>
        <p:spPr>
          <a:xfrm>
            <a:off x="287523" y="3638149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110" name="ContentsTitle9" hidden="1"/>
          <p:cNvSpPr txBox="1"/>
          <p:nvPr/>
        </p:nvSpPr>
        <p:spPr>
          <a:xfrm>
            <a:off x="649290" y="2983679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11" name="line9" hidden="1"/>
          <p:cNvCxnSpPr/>
          <p:nvPr/>
        </p:nvCxnSpPr>
        <p:spPr>
          <a:xfrm>
            <a:off x="297658" y="317100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ontentsNumber9" hidden="1"/>
          <p:cNvSpPr txBox="1"/>
          <p:nvPr/>
        </p:nvSpPr>
        <p:spPr>
          <a:xfrm>
            <a:off x="287524" y="286048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113" name="ContentsTitle14" hidden="1"/>
          <p:cNvSpPr txBox="1"/>
          <p:nvPr/>
        </p:nvSpPr>
        <p:spPr>
          <a:xfrm>
            <a:off x="649290" y="4279794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14" name="line14" hidden="1"/>
          <p:cNvCxnSpPr/>
          <p:nvPr/>
        </p:nvCxnSpPr>
        <p:spPr>
          <a:xfrm>
            <a:off x="297658" y="447194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ContentsNumber14" hidden="1"/>
          <p:cNvSpPr txBox="1"/>
          <p:nvPr/>
        </p:nvSpPr>
        <p:spPr>
          <a:xfrm>
            <a:off x="287523" y="4156595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116" name="ContentsTitle10" hidden="1"/>
          <p:cNvSpPr txBox="1"/>
          <p:nvPr/>
        </p:nvSpPr>
        <p:spPr>
          <a:xfrm>
            <a:off x="649290" y="3242902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</a:t>
            </a:r>
            <a:r>
              <a:rPr lang="ru-RU" sz="1200" dirty="0" smtClean="0">
                <a:solidFill>
                  <a:srgbClr val="3C3C3C"/>
                </a:solidFill>
              </a:rPr>
              <a:t>раздела</a:t>
            </a: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117" name="line10" hidden="1"/>
          <p:cNvCxnSpPr/>
          <p:nvPr/>
        </p:nvCxnSpPr>
        <p:spPr>
          <a:xfrm>
            <a:off x="297658" y="343119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ContentsNumber10" hidden="1"/>
          <p:cNvSpPr txBox="1"/>
          <p:nvPr/>
        </p:nvSpPr>
        <p:spPr>
          <a:xfrm>
            <a:off x="287523" y="3119703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51" name="Number1"/>
          <p:cNvSpPr txBox="1"/>
          <p:nvPr/>
        </p:nvSpPr>
        <p:spPr>
          <a:xfrm>
            <a:off x="8460434" y="78669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rgbClr val="706F6F"/>
                </a:solidFill>
              </a:rPr>
              <a:t>3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52" name="Number2"/>
          <p:cNvSpPr txBox="1"/>
          <p:nvPr/>
        </p:nvSpPr>
        <p:spPr>
          <a:xfrm>
            <a:off x="8460434" y="104792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rgbClr val="706F6F"/>
                </a:solidFill>
              </a:rPr>
              <a:t>6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53" name="Number3"/>
          <p:cNvSpPr txBox="1"/>
          <p:nvPr/>
        </p:nvSpPr>
        <p:spPr>
          <a:xfrm>
            <a:off x="8460434" y="130916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rgbClr val="706F6F"/>
                </a:solidFill>
              </a:rPr>
              <a:t>9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54" name="Number4" hidden="1"/>
          <p:cNvSpPr txBox="1"/>
          <p:nvPr/>
        </p:nvSpPr>
        <p:spPr>
          <a:xfrm>
            <a:off x="8460434" y="157039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5" name="Number5" hidden="1"/>
          <p:cNvSpPr txBox="1"/>
          <p:nvPr/>
        </p:nvSpPr>
        <p:spPr>
          <a:xfrm>
            <a:off x="8460434" y="183162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6" name="Number6" hidden="1"/>
          <p:cNvSpPr txBox="1"/>
          <p:nvPr/>
        </p:nvSpPr>
        <p:spPr>
          <a:xfrm>
            <a:off x="8460434" y="209286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7" name="Number7" hidden="1"/>
          <p:cNvSpPr txBox="1"/>
          <p:nvPr/>
        </p:nvSpPr>
        <p:spPr>
          <a:xfrm>
            <a:off x="8460434" y="235409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8" name="Number8" hidden="1"/>
          <p:cNvSpPr txBox="1"/>
          <p:nvPr/>
        </p:nvSpPr>
        <p:spPr>
          <a:xfrm>
            <a:off x="8460434" y="261532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9" name="Number9" hidden="1"/>
          <p:cNvSpPr txBox="1"/>
          <p:nvPr/>
        </p:nvSpPr>
        <p:spPr>
          <a:xfrm>
            <a:off x="8460434" y="287656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0" name="Number10" hidden="1"/>
          <p:cNvSpPr txBox="1"/>
          <p:nvPr/>
        </p:nvSpPr>
        <p:spPr>
          <a:xfrm>
            <a:off x="8460434" y="3137793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1" name="Number11" hidden="1"/>
          <p:cNvSpPr txBox="1"/>
          <p:nvPr/>
        </p:nvSpPr>
        <p:spPr>
          <a:xfrm>
            <a:off x="8460434" y="339902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2" name="Number12" hidden="1"/>
          <p:cNvSpPr txBox="1"/>
          <p:nvPr/>
        </p:nvSpPr>
        <p:spPr>
          <a:xfrm>
            <a:off x="8460434" y="366025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3" name="Number13" hidden="1"/>
          <p:cNvSpPr txBox="1"/>
          <p:nvPr/>
        </p:nvSpPr>
        <p:spPr>
          <a:xfrm>
            <a:off x="8460434" y="392149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4" name="Number14" hidden="1"/>
          <p:cNvSpPr txBox="1"/>
          <p:nvPr/>
        </p:nvSpPr>
        <p:spPr>
          <a:xfrm>
            <a:off x="8460434" y="418272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5" name="Number15" hidden="1"/>
          <p:cNvSpPr txBox="1"/>
          <p:nvPr/>
        </p:nvSpPr>
        <p:spPr>
          <a:xfrm>
            <a:off x="8460434" y="444396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0069898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2210745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0"/>
          </p:nvPr>
        </p:nvSpPr>
        <p:spPr>
          <a:xfrm>
            <a:off x="287342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4637090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89928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7341" y="950914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1"/>
          </p:nvPr>
        </p:nvSpPr>
        <p:spPr>
          <a:xfrm>
            <a:off x="287341" y="2949577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798869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3615866"/>
            <a:ext cx="8569325" cy="111647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sz="18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287341" y="950914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165214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5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4643438" y="950914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4643438" y="2949577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287342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656639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5" y="950914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283515" y="2949577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4634434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114457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4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3200891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6137275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050215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4639614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62877" y="2951163"/>
            <a:ext cx="8593786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43505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slideLayout" Target="../slideLayouts/slideLayout82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85.xml"/><Relationship Id="rId47" Type="http://schemas.openxmlformats.org/officeDocument/2006/relationships/tags" Target="../tags/tag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46" Type="http://schemas.openxmlformats.org/officeDocument/2006/relationships/tags" Target="../tags/tag5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41" Type="http://schemas.openxmlformats.org/officeDocument/2006/relationships/slideLayout" Target="../slideLayouts/slideLayout84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83.xml"/><Relationship Id="rId45" Type="http://schemas.openxmlformats.org/officeDocument/2006/relationships/vmlDrawing" Target="../drawings/vmlDrawing3.v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slideLayout" Target="../slideLayouts/slideLayout86.xml"/><Relationship Id="rId48" Type="http://schemas.openxmlformats.org/officeDocument/2006/relationships/oleObject" Target="../embeddings/oleObject3.bin"/><Relationship Id="rId8" Type="http://schemas.openxmlformats.org/officeDocument/2006/relationships/slideLayout" Target="../slideLayouts/slideLayout5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42" Type="http://schemas.openxmlformats.org/officeDocument/2006/relationships/slideLayout" Target="../slideLayouts/slideLayout128.xml"/><Relationship Id="rId47" Type="http://schemas.openxmlformats.org/officeDocument/2006/relationships/tags" Target="../tags/tag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46" Type="http://schemas.openxmlformats.org/officeDocument/2006/relationships/tags" Target="../tags/tag8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slideLayout" Target="../slideLayouts/slideLayout126.xml"/><Relationship Id="rId45" Type="http://schemas.openxmlformats.org/officeDocument/2006/relationships/vmlDrawing" Target="../drawings/vmlDrawing5.v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43" Type="http://schemas.openxmlformats.org/officeDocument/2006/relationships/slideLayout" Target="../slideLayouts/slideLayout129.xml"/><Relationship Id="rId48" Type="http://schemas.openxmlformats.org/officeDocument/2006/relationships/oleObject" Target="../embeddings/oleObject5.bin"/><Relationship Id="rId8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46305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2" name="think-cell Slide" r:id="rId48" imgW="592" imgH="591" progId="TCLayout.ActiveDocument.1">
                  <p:embed/>
                </p:oleObj>
              </mc:Choice>
              <mc:Fallback>
                <p:oleObj name="think-cell Slide" r:id="rId4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800"/>
              </a:spcBef>
            </a:pPr>
            <a:endParaRPr lang="ru-RU" sz="2600" b="0" i="0" baseline="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87313"/>
            <a:ext cx="8560318" cy="61277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40" y="771525"/>
            <a:ext cx="856297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19093" y="4903483"/>
            <a:ext cx="0" cy="1215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6"/>
          <p:cNvSpPr txBox="1">
            <a:spLocks/>
          </p:cNvSpPr>
          <p:nvPr/>
        </p:nvSpPr>
        <p:spPr>
          <a:xfrm>
            <a:off x="8691683" y="4826915"/>
            <a:ext cx="286452" cy="2746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5" name="LogoRus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/>
              <a:t>Газпром нефть</a:t>
            </a:r>
            <a:endParaRPr lang="ru-RU" sz="1200" dirty="0"/>
          </a:p>
        </p:txBody>
      </p:sp>
      <p:sp>
        <p:nvSpPr>
          <p:cNvPr id="21" name="Текст 2"/>
          <p:cNvSpPr>
            <a:spLocks noGrp="1"/>
          </p:cNvSpPr>
          <p:nvPr>
            <p:ph type="body" idx="1"/>
          </p:nvPr>
        </p:nvSpPr>
        <p:spPr>
          <a:xfrm>
            <a:off x="287341" y="950914"/>
            <a:ext cx="8569325" cy="3781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1" name="LogoEng" hidden="1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smtClean="0"/>
              <a:t>Gazprom Neft</a:t>
            </a:r>
            <a:endParaRPr lang="ru-RU" sz="1200" dirty="0"/>
          </a:p>
        </p:txBody>
      </p:sp>
      <p:sp>
        <p:nvSpPr>
          <p:cNvPr id="4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000" dirty="0" smtClean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87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686" r:id="rId37"/>
    <p:sldLayoutId id="2147483687" r:id="rId38"/>
    <p:sldLayoutId id="2147483688" r:id="rId39"/>
    <p:sldLayoutId id="2147483689" r:id="rId40"/>
    <p:sldLayoutId id="2147483690" r:id="rId41"/>
    <p:sldLayoutId id="2147483691" r:id="rId42"/>
    <p:sldLayoutId id="2147483692" r:id="rId4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tabLst/>
        <a:defRPr lang="ru-RU" sz="24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marR="0" indent="-269875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lang="ru-RU" sz="24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271463" algn="l" defTabSz="914400" rtl="0" eaLnBrk="1" latinLnBrk="0" hangingPunct="1">
        <a:spcBef>
          <a:spcPts val="300"/>
        </a:spcBef>
        <a:buClr>
          <a:schemeClr val="accent3"/>
        </a:buClr>
        <a:buFont typeface="Wingdings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0" name="think-cell Slide" r:id="rId48" imgW="592" imgH="591" progId="TCLayout.ActiveDocument.1">
                  <p:embed/>
                </p:oleObj>
              </mc:Choice>
              <mc:Fallback>
                <p:oleObj name="think-cell Slide" r:id="rId48" imgW="592" imgH="59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800"/>
              </a:spcBef>
            </a:pPr>
            <a:endParaRPr lang="ru-RU" sz="2600" b="0" i="0" baseline="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87313"/>
            <a:ext cx="8560318" cy="61277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40" y="771525"/>
            <a:ext cx="856297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19093" y="4903483"/>
            <a:ext cx="0" cy="1215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6"/>
          <p:cNvSpPr txBox="1">
            <a:spLocks/>
          </p:cNvSpPr>
          <p:nvPr/>
        </p:nvSpPr>
        <p:spPr>
          <a:xfrm>
            <a:off x="8691683" y="4826915"/>
            <a:ext cx="286452" cy="2746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5" name="LogoRus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/>
              <a:t>Газпром нефть</a:t>
            </a:r>
            <a:endParaRPr lang="ru-RU" sz="1200" dirty="0"/>
          </a:p>
        </p:txBody>
      </p:sp>
      <p:sp>
        <p:nvSpPr>
          <p:cNvPr id="21" name="Текст 2"/>
          <p:cNvSpPr>
            <a:spLocks noGrp="1"/>
          </p:cNvSpPr>
          <p:nvPr>
            <p:ph type="body" idx="1"/>
          </p:nvPr>
        </p:nvSpPr>
        <p:spPr>
          <a:xfrm>
            <a:off x="287341" y="950914"/>
            <a:ext cx="8569325" cy="3781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1" name="LogoEng" hidden="1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smtClean="0"/>
              <a:t>Gazprom Neft</a:t>
            </a:r>
            <a:endParaRPr lang="ru-RU" sz="1200" dirty="0"/>
          </a:p>
        </p:txBody>
      </p:sp>
      <p:sp>
        <p:nvSpPr>
          <p:cNvPr id="4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000" dirty="0" smtClean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886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22" r:id="rId29"/>
    <p:sldLayoutId id="2147483723" r:id="rId30"/>
    <p:sldLayoutId id="2147483724" r:id="rId31"/>
    <p:sldLayoutId id="2147483725" r:id="rId32"/>
    <p:sldLayoutId id="2147483726" r:id="rId33"/>
    <p:sldLayoutId id="2147483727" r:id="rId34"/>
    <p:sldLayoutId id="2147483728" r:id="rId35"/>
    <p:sldLayoutId id="2147483729" r:id="rId36"/>
    <p:sldLayoutId id="2147483730" r:id="rId37"/>
    <p:sldLayoutId id="2147483731" r:id="rId38"/>
    <p:sldLayoutId id="2147483732" r:id="rId39"/>
    <p:sldLayoutId id="2147483733" r:id="rId40"/>
    <p:sldLayoutId id="2147483734" r:id="rId41"/>
    <p:sldLayoutId id="2147483735" r:id="rId42"/>
    <p:sldLayoutId id="2147483736" r:id="rId4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tabLst/>
        <a:defRPr lang="ru-RU" sz="24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marR="0" indent="-269875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lang="ru-RU" sz="24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271463" algn="l" defTabSz="914400" rtl="0" eaLnBrk="1" latinLnBrk="0" hangingPunct="1">
        <a:spcBef>
          <a:spcPts val="300"/>
        </a:spcBef>
        <a:buClr>
          <a:schemeClr val="accent3"/>
        </a:buClr>
        <a:buFont typeface="Wingdings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1" name="think-cell Slide" r:id="rId48" imgW="592" imgH="591" progId="TCLayout.ActiveDocument.1">
                  <p:embed/>
                </p:oleObj>
              </mc:Choice>
              <mc:Fallback>
                <p:oleObj name="think-cell Slide" r:id="rId48" imgW="592" imgH="59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800"/>
              </a:spcBef>
            </a:pPr>
            <a:endParaRPr lang="ru-RU" sz="2600" dirty="0" smtClean="0">
              <a:solidFill>
                <a:srgbClr val="3C3C3C"/>
              </a:solidFill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87313"/>
            <a:ext cx="8560318" cy="61277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40" y="771525"/>
            <a:ext cx="856297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19093" y="4903483"/>
            <a:ext cx="0" cy="1215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6"/>
          <p:cNvSpPr txBox="1">
            <a:spLocks/>
          </p:cNvSpPr>
          <p:nvPr/>
        </p:nvSpPr>
        <p:spPr>
          <a:xfrm>
            <a:off x="8691683" y="4826915"/>
            <a:ext cx="286452" cy="2746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rgbClr val="3C3C3C"/>
                </a:solidFill>
              </a:rPr>
              <a:pPr algn="l"/>
              <a:t>‹#›</a:t>
            </a:fld>
            <a:endParaRPr lang="ru-RU" sz="1000" dirty="0">
              <a:solidFill>
                <a:srgbClr val="3C3C3C"/>
              </a:solidFill>
            </a:endParaRPr>
          </a:p>
        </p:txBody>
      </p:sp>
      <p:sp>
        <p:nvSpPr>
          <p:cNvPr id="15" name="LogoRus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>
                <a:solidFill>
                  <a:srgbClr val="706F6F"/>
                </a:solidFill>
              </a:rPr>
              <a:t>Газпром нефть</a:t>
            </a:r>
            <a:endParaRPr lang="ru-RU" sz="1200" dirty="0">
              <a:solidFill>
                <a:srgbClr val="706F6F"/>
              </a:solidFill>
            </a:endParaRPr>
          </a:p>
        </p:txBody>
      </p:sp>
      <p:sp>
        <p:nvSpPr>
          <p:cNvPr id="21" name="Текст 2"/>
          <p:cNvSpPr>
            <a:spLocks noGrp="1"/>
          </p:cNvSpPr>
          <p:nvPr>
            <p:ph type="body" idx="1"/>
          </p:nvPr>
        </p:nvSpPr>
        <p:spPr>
          <a:xfrm>
            <a:off x="287341" y="950914"/>
            <a:ext cx="8569325" cy="3781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1" name="LogoEng" hidden="1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smtClean="0">
                <a:solidFill>
                  <a:srgbClr val="706F6F"/>
                </a:solidFill>
              </a:rPr>
              <a:t>Gazprom Neft</a:t>
            </a:r>
            <a:endParaRPr lang="ru-RU" sz="12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endParaRPr lang="ru-RU" sz="1000" dirty="0" smtClean="0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618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768" r:id="rId31"/>
    <p:sldLayoutId id="2147483769" r:id="rId32"/>
    <p:sldLayoutId id="2147483770" r:id="rId33"/>
    <p:sldLayoutId id="2147483771" r:id="rId34"/>
    <p:sldLayoutId id="2147483772" r:id="rId35"/>
    <p:sldLayoutId id="2147483773" r:id="rId36"/>
    <p:sldLayoutId id="2147483774" r:id="rId37"/>
    <p:sldLayoutId id="2147483775" r:id="rId38"/>
    <p:sldLayoutId id="2147483776" r:id="rId39"/>
    <p:sldLayoutId id="2147483777" r:id="rId40"/>
    <p:sldLayoutId id="2147483778" r:id="rId41"/>
    <p:sldLayoutId id="2147483779" r:id="rId42"/>
    <p:sldLayoutId id="2147483780" r:id="rId4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tabLst/>
        <a:defRPr lang="ru-RU" sz="24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marR="0" indent="-269875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lang="ru-RU" sz="24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271463" algn="l" defTabSz="914400" rtl="0" eaLnBrk="1" latinLnBrk="0" hangingPunct="1">
        <a:spcBef>
          <a:spcPts val="300"/>
        </a:spcBef>
        <a:buClr>
          <a:schemeClr val="accent3"/>
        </a:buClr>
        <a:buFont typeface="Wingdings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3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3.xml"/><Relationship Id="rId7" Type="http://schemas.openxmlformats.org/officeDocument/2006/relationships/oleObject" Target="../embeddings/oleObject15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5.vml"/><Relationship Id="rId6" Type="http://schemas.openxmlformats.org/officeDocument/2006/relationships/chart" Target="../charts/chart4.xml"/><Relationship Id="rId11" Type="http://schemas.openxmlformats.org/officeDocument/2006/relationships/image" Target="../media/image30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86.xml"/><Relationship Id="rId9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55.xml"/><Relationship Id="rId7" Type="http://schemas.openxmlformats.org/officeDocument/2006/relationships/image" Target="../media/image6.emf"/><Relationship Id="rId2" Type="http://schemas.openxmlformats.org/officeDocument/2006/relationships/tags" Target="../tags/tag54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8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tags" Target="../tags/tag80.xml"/><Relationship Id="rId39" Type="http://schemas.openxmlformats.org/officeDocument/2006/relationships/oleObject" Target="../embeddings/oleObject17.bin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34" Type="http://schemas.openxmlformats.org/officeDocument/2006/relationships/tags" Target="../tags/tag88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33" Type="http://schemas.openxmlformats.org/officeDocument/2006/relationships/tags" Target="../tags/tag87.xml"/><Relationship Id="rId38" Type="http://schemas.openxmlformats.org/officeDocument/2006/relationships/notesSlide" Target="../notesSlides/notesSlide11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29" Type="http://schemas.openxmlformats.org/officeDocument/2006/relationships/tags" Target="../tags/tag83.xml"/><Relationship Id="rId41" Type="http://schemas.openxmlformats.org/officeDocument/2006/relationships/chart" Target="../charts/chart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32" Type="http://schemas.openxmlformats.org/officeDocument/2006/relationships/tags" Target="../tags/tag86.xml"/><Relationship Id="rId37" Type="http://schemas.openxmlformats.org/officeDocument/2006/relationships/slideLayout" Target="../slideLayouts/slideLayout86.xml"/><Relationship Id="rId40" Type="http://schemas.openxmlformats.org/officeDocument/2006/relationships/image" Target="../media/image6.emf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36" Type="http://schemas.openxmlformats.org/officeDocument/2006/relationships/tags" Target="../tags/tag90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31" Type="http://schemas.openxmlformats.org/officeDocument/2006/relationships/tags" Target="../tags/tag85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30" Type="http://schemas.openxmlformats.org/officeDocument/2006/relationships/tags" Target="../tags/tag84.xml"/><Relationship Id="rId35" Type="http://schemas.openxmlformats.org/officeDocument/2006/relationships/tags" Target="../tags/tag89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26" Type="http://schemas.openxmlformats.org/officeDocument/2006/relationships/tags" Target="../tags/tag115.xml"/><Relationship Id="rId39" Type="http://schemas.openxmlformats.org/officeDocument/2006/relationships/tags" Target="../tags/tag128.xml"/><Relationship Id="rId3" Type="http://schemas.openxmlformats.org/officeDocument/2006/relationships/tags" Target="../tags/tag92.xml"/><Relationship Id="rId21" Type="http://schemas.openxmlformats.org/officeDocument/2006/relationships/tags" Target="../tags/tag110.xml"/><Relationship Id="rId34" Type="http://schemas.openxmlformats.org/officeDocument/2006/relationships/tags" Target="../tags/tag123.xml"/><Relationship Id="rId42" Type="http://schemas.openxmlformats.org/officeDocument/2006/relationships/tags" Target="../tags/tag131.xml"/><Relationship Id="rId47" Type="http://schemas.openxmlformats.org/officeDocument/2006/relationships/oleObject" Target="../embeddings/oleObject18.bin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tags" Target="../tags/tag114.xml"/><Relationship Id="rId33" Type="http://schemas.openxmlformats.org/officeDocument/2006/relationships/tags" Target="../tags/tag122.xml"/><Relationship Id="rId38" Type="http://schemas.openxmlformats.org/officeDocument/2006/relationships/tags" Target="../tags/tag127.xml"/><Relationship Id="rId46" Type="http://schemas.openxmlformats.org/officeDocument/2006/relationships/chart" Target="../charts/chart6.xml"/><Relationship Id="rId2" Type="http://schemas.openxmlformats.org/officeDocument/2006/relationships/tags" Target="../tags/tag91.xml"/><Relationship Id="rId16" Type="http://schemas.openxmlformats.org/officeDocument/2006/relationships/tags" Target="../tags/tag105.xml"/><Relationship Id="rId20" Type="http://schemas.openxmlformats.org/officeDocument/2006/relationships/tags" Target="../tags/tag109.xml"/><Relationship Id="rId29" Type="http://schemas.openxmlformats.org/officeDocument/2006/relationships/tags" Target="../tags/tag118.xml"/><Relationship Id="rId41" Type="http://schemas.openxmlformats.org/officeDocument/2006/relationships/tags" Target="../tags/tag13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24" Type="http://schemas.openxmlformats.org/officeDocument/2006/relationships/tags" Target="../tags/tag113.xml"/><Relationship Id="rId32" Type="http://schemas.openxmlformats.org/officeDocument/2006/relationships/tags" Target="../tags/tag121.xml"/><Relationship Id="rId37" Type="http://schemas.openxmlformats.org/officeDocument/2006/relationships/tags" Target="../tags/tag126.xml"/><Relationship Id="rId40" Type="http://schemas.openxmlformats.org/officeDocument/2006/relationships/tags" Target="../tags/tag129.xml"/><Relationship Id="rId45" Type="http://schemas.openxmlformats.org/officeDocument/2006/relationships/notesSlide" Target="../notesSlides/notesSlide12.xml"/><Relationship Id="rId5" Type="http://schemas.openxmlformats.org/officeDocument/2006/relationships/tags" Target="../tags/tag94.xml"/><Relationship Id="rId15" Type="http://schemas.openxmlformats.org/officeDocument/2006/relationships/tags" Target="../tags/tag104.xml"/><Relationship Id="rId23" Type="http://schemas.openxmlformats.org/officeDocument/2006/relationships/tags" Target="../tags/tag112.xml"/><Relationship Id="rId28" Type="http://schemas.openxmlformats.org/officeDocument/2006/relationships/tags" Target="../tags/tag117.xml"/><Relationship Id="rId36" Type="http://schemas.openxmlformats.org/officeDocument/2006/relationships/tags" Target="../tags/tag125.xml"/><Relationship Id="rId49" Type="http://schemas.openxmlformats.org/officeDocument/2006/relationships/image" Target="../media/image31.png"/><Relationship Id="rId10" Type="http://schemas.openxmlformats.org/officeDocument/2006/relationships/tags" Target="../tags/tag99.xml"/><Relationship Id="rId19" Type="http://schemas.openxmlformats.org/officeDocument/2006/relationships/tags" Target="../tags/tag108.xml"/><Relationship Id="rId31" Type="http://schemas.openxmlformats.org/officeDocument/2006/relationships/tags" Target="../tags/tag120.xml"/><Relationship Id="rId44" Type="http://schemas.openxmlformats.org/officeDocument/2006/relationships/slideLayout" Target="../slideLayouts/slideLayout129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Relationship Id="rId22" Type="http://schemas.openxmlformats.org/officeDocument/2006/relationships/tags" Target="../tags/tag111.xml"/><Relationship Id="rId27" Type="http://schemas.openxmlformats.org/officeDocument/2006/relationships/tags" Target="../tags/tag116.xml"/><Relationship Id="rId30" Type="http://schemas.openxmlformats.org/officeDocument/2006/relationships/tags" Target="../tags/tag119.xml"/><Relationship Id="rId35" Type="http://schemas.openxmlformats.org/officeDocument/2006/relationships/tags" Target="../tags/tag124.xml"/><Relationship Id="rId43" Type="http://schemas.openxmlformats.org/officeDocument/2006/relationships/tags" Target="../tags/tag132.xml"/><Relationship Id="rId48" Type="http://schemas.openxmlformats.org/officeDocument/2006/relationships/image" Target="../media/image6.emf"/><Relationship Id="rId8" Type="http://schemas.openxmlformats.org/officeDocument/2006/relationships/tags" Target="../tags/tag9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microsoft.com/office/2007/relationships/hdphoto" Target="../media/hdphoto3.wdp"/><Relationship Id="rId5" Type="http://schemas.openxmlformats.org/officeDocument/2006/relationships/image" Target="../media/image7.png"/><Relationship Id="rId10" Type="http://schemas.microsoft.com/office/2007/relationships/hdphoto" Target="../media/hdphoto1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24.jpeg"/><Relationship Id="rId2" Type="http://schemas.openxmlformats.org/officeDocument/2006/relationships/tags" Target="../tags/tag17.xml"/><Relationship Id="rId16" Type="http://schemas.openxmlformats.org/officeDocument/2006/relationships/image" Target="../media/image23.jpeg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9" Type="http://schemas.openxmlformats.org/officeDocument/2006/relationships/image" Target="../media/image6.emf"/><Relationship Id="rId3" Type="http://schemas.openxmlformats.org/officeDocument/2006/relationships/tags" Target="../tags/tag19.xml"/><Relationship Id="rId21" Type="http://schemas.openxmlformats.org/officeDocument/2006/relationships/tags" Target="../tags/tag37.xml"/><Relationship Id="rId34" Type="http://schemas.openxmlformats.org/officeDocument/2006/relationships/tags" Target="../tags/tag50.xml"/><Relationship Id="rId42" Type="http://schemas.openxmlformats.org/officeDocument/2006/relationships/chart" Target="../charts/chart3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oleObject" Target="../embeddings/oleObject14.bin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tags" Target="../tags/tag45.xml"/><Relationship Id="rId41" Type="http://schemas.openxmlformats.org/officeDocument/2006/relationships/chart" Target="../charts/chart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notesSlide" Target="../notesSlides/notesSlide8.xml"/><Relationship Id="rId40" Type="http://schemas.openxmlformats.org/officeDocument/2006/relationships/chart" Target="../charts/chart1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slideLayout" Target="../slideLayouts/slideLayout43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tags" Target="../tags/tag47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tags" Target="../tags/tag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2"/>
          <p:cNvSpPr/>
          <p:nvPr/>
        </p:nvSpPr>
        <p:spPr>
          <a:xfrm>
            <a:off x="0" y="1707654"/>
            <a:ext cx="5400092" cy="3025636"/>
          </a:xfrm>
          <a:custGeom>
            <a:avLst/>
            <a:gdLst>
              <a:gd name="connsiteX0" fmla="*/ 0 w 7131580"/>
              <a:gd name="connsiteY0" fmla="*/ 0 h 4525343"/>
              <a:gd name="connsiteX1" fmla="*/ 7131580 w 7131580"/>
              <a:gd name="connsiteY1" fmla="*/ 0 h 4525343"/>
              <a:gd name="connsiteX2" fmla="*/ 7131580 w 7131580"/>
              <a:gd name="connsiteY2" fmla="*/ 4525343 h 4525343"/>
              <a:gd name="connsiteX3" fmla="*/ 0 w 7131580"/>
              <a:gd name="connsiteY3" fmla="*/ 4525343 h 4525343"/>
              <a:gd name="connsiteX4" fmla="*/ 0 w 7131580"/>
              <a:gd name="connsiteY4" fmla="*/ 0 h 4525343"/>
              <a:gd name="connsiteX0" fmla="*/ 0 w 7131580"/>
              <a:gd name="connsiteY0" fmla="*/ 0 h 4525343"/>
              <a:gd name="connsiteX1" fmla="*/ 7110148 w 7131580"/>
              <a:gd name="connsiteY1" fmla="*/ 2378869 h 4525343"/>
              <a:gd name="connsiteX2" fmla="*/ 7131580 w 7131580"/>
              <a:gd name="connsiteY2" fmla="*/ 4525343 h 4525343"/>
              <a:gd name="connsiteX3" fmla="*/ 0 w 7131580"/>
              <a:gd name="connsiteY3" fmla="*/ 4525343 h 4525343"/>
              <a:gd name="connsiteX4" fmla="*/ 0 w 7131580"/>
              <a:gd name="connsiteY4" fmla="*/ 0 h 4525343"/>
              <a:gd name="connsiteX0" fmla="*/ 0 w 7131580"/>
              <a:gd name="connsiteY0" fmla="*/ 0 h 4525343"/>
              <a:gd name="connsiteX1" fmla="*/ 7117292 w 7131580"/>
              <a:gd name="connsiteY1" fmla="*/ 2414588 h 4525343"/>
              <a:gd name="connsiteX2" fmla="*/ 7131580 w 7131580"/>
              <a:gd name="connsiteY2" fmla="*/ 4525343 h 4525343"/>
              <a:gd name="connsiteX3" fmla="*/ 0 w 7131580"/>
              <a:gd name="connsiteY3" fmla="*/ 4525343 h 4525343"/>
              <a:gd name="connsiteX4" fmla="*/ 0 w 7131580"/>
              <a:gd name="connsiteY4" fmla="*/ 0 h 4525343"/>
              <a:gd name="connsiteX0" fmla="*/ 0 w 7124436"/>
              <a:gd name="connsiteY0" fmla="*/ 0 h 4525343"/>
              <a:gd name="connsiteX1" fmla="*/ 7117292 w 7124436"/>
              <a:gd name="connsiteY1" fmla="*/ 2414588 h 4525343"/>
              <a:gd name="connsiteX2" fmla="*/ 7124436 w 7124436"/>
              <a:gd name="connsiteY2" fmla="*/ 4525343 h 4525343"/>
              <a:gd name="connsiteX3" fmla="*/ 0 w 7124436"/>
              <a:gd name="connsiteY3" fmla="*/ 4525343 h 4525343"/>
              <a:gd name="connsiteX4" fmla="*/ 0 w 7124436"/>
              <a:gd name="connsiteY4" fmla="*/ 0 h 4525343"/>
              <a:gd name="connsiteX0" fmla="*/ 0 w 7124436"/>
              <a:gd name="connsiteY0" fmla="*/ 0 h 4210138"/>
              <a:gd name="connsiteX1" fmla="*/ 7117292 w 7124436"/>
              <a:gd name="connsiteY1" fmla="*/ 2099383 h 4210138"/>
              <a:gd name="connsiteX2" fmla="*/ 7124436 w 7124436"/>
              <a:gd name="connsiteY2" fmla="*/ 4210138 h 4210138"/>
              <a:gd name="connsiteX3" fmla="*/ 0 w 7124436"/>
              <a:gd name="connsiteY3" fmla="*/ 4210138 h 4210138"/>
              <a:gd name="connsiteX4" fmla="*/ 0 w 7124436"/>
              <a:gd name="connsiteY4" fmla="*/ 0 h 4210138"/>
              <a:gd name="connsiteX0" fmla="*/ 0 w 7124436"/>
              <a:gd name="connsiteY0" fmla="*/ 0 h 4210138"/>
              <a:gd name="connsiteX1" fmla="*/ 7117292 w 7124436"/>
              <a:gd name="connsiteY1" fmla="*/ 2006676 h 4210138"/>
              <a:gd name="connsiteX2" fmla="*/ 7124436 w 7124436"/>
              <a:gd name="connsiteY2" fmla="*/ 4210138 h 4210138"/>
              <a:gd name="connsiteX3" fmla="*/ 0 w 7124436"/>
              <a:gd name="connsiteY3" fmla="*/ 4210138 h 4210138"/>
              <a:gd name="connsiteX4" fmla="*/ 0 w 7124436"/>
              <a:gd name="connsiteY4" fmla="*/ 0 h 4210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24436" h="4210138">
                <a:moveTo>
                  <a:pt x="0" y="0"/>
                </a:moveTo>
                <a:lnTo>
                  <a:pt x="7117292" y="2006676"/>
                </a:lnTo>
                <a:cubicBezTo>
                  <a:pt x="7122055" y="2710261"/>
                  <a:pt x="7119673" y="3506553"/>
                  <a:pt x="7124436" y="4210138"/>
                </a:cubicBezTo>
                <a:lnTo>
                  <a:pt x="0" y="4210138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107504" y="368981"/>
            <a:ext cx="583264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/>
            <a:r>
              <a:rPr lang="ru-RU" sz="1400" b="1" dirty="0" smtClean="0">
                <a:solidFill>
                  <a:schemeClr val="bg1">
                    <a:lumMod val="95000"/>
                  </a:scheme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Реализация автоматизированной модели технического оснащения и метрологического сопровождения движения нефтепродуктов </a:t>
            </a:r>
          </a:p>
          <a:p>
            <a:pPr defTabSz="914363"/>
            <a:r>
              <a:rPr lang="ru-RU" sz="1400" b="1" dirty="0" smtClean="0">
                <a:solidFill>
                  <a:schemeClr val="bg1">
                    <a:lumMod val="95000"/>
                  </a:scheme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на примере НБ «Гладкое» - гарантия сохранности моторных топлив, реализуемых в </a:t>
            </a:r>
            <a:r>
              <a:rPr lang="ru-RU" sz="1400" b="1" dirty="0" err="1" smtClean="0">
                <a:solidFill>
                  <a:schemeClr val="bg1">
                    <a:lumMod val="95000"/>
                  </a:scheme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топливопроводящей</a:t>
            </a:r>
            <a:r>
              <a:rPr lang="ru-RU" sz="1400" b="1" dirty="0" smtClean="0">
                <a:solidFill>
                  <a:schemeClr val="bg1">
                    <a:lumMod val="95000"/>
                  </a:scheme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 цепи ПАО «Газпром нефть»</a:t>
            </a:r>
            <a:endParaRPr lang="ru-RU" sz="1400" b="1" dirty="0">
              <a:solidFill>
                <a:schemeClr val="bg1">
                  <a:lumMod val="95000"/>
                </a:schemeClr>
              </a:solidFill>
              <a:latin typeface="DIN Pro" panose="020B0504020101010102" pitchFamily="34" charset="0"/>
              <a:cs typeface="DIN Pro" panose="020B0504020101010102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49A5FEA-6247-C14D-9BB2-1C3F1C7B7F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5570" y1="65169" x2="5570" y2="65169"/>
                        <a14:foregroundMark x1="24138" y1="49438" x2="24138" y2="49438"/>
                        <a14:foregroundMark x1="22016" y1="19101" x2="22016" y2="19101"/>
                        <a14:foregroundMark x1="32626" y1="19101" x2="32626" y2="19101"/>
                        <a14:foregroundMark x1="30239" y1="53933" x2="30239" y2="53933"/>
                        <a14:foregroundMark x1="36605" y1="76404" x2="36605" y2="76404"/>
                        <a14:foregroundMark x1="35544" y1="28090" x2="35544" y2="28090"/>
                        <a14:foregroundMark x1="45889" y1="74157" x2="45889" y2="74157"/>
                        <a14:foregroundMark x1="46419" y1="24719" x2="46419" y2="24719"/>
                        <a14:foregroundMark x1="58090" y1="46067" x2="58090" y2="46067"/>
                        <a14:foregroundMark x1="82228" y1="48315" x2="82228" y2="48315"/>
                        <a14:foregroundMark x1="36605" y1="34831" x2="36605" y2="34831"/>
                        <a14:foregroundMark x1="47480" y1="37079" x2="47480" y2="37079"/>
                        <a14:foregroundMark x1="40318" y1="20225" x2="40318" y2="20225"/>
                        <a14:foregroundMark x1="40053" y1="31461" x2="40053" y2="31461"/>
                        <a14:foregroundMark x1="92308" y1="56180" x2="92308" y2="56180"/>
                      </a14:backgroundRemoval>
                    </a14:imgEffect>
                    <a14:imgEffect>
                      <a14:brightnessContrast bright="4000" contrast="-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105676"/>
            <a:ext cx="1568715" cy="369354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4860032" y="1491630"/>
            <a:ext cx="366019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363"/>
            <a:r>
              <a:rPr lang="ru-RU" sz="1000" b="1" dirty="0" smtClean="0">
                <a:solidFill>
                  <a:srgbClr val="EF6213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Департамент капитального строительства объектов ТПС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485147" y="1779662"/>
            <a:ext cx="403507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363"/>
            <a:r>
              <a:rPr lang="ru-RU" sz="1000" b="1" dirty="0" smtClean="0">
                <a:solidFill>
                  <a:srgbClr val="EF6213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Начальник управления инжиниринга Туманский А.П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508410" y="2031690"/>
            <a:ext cx="10118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363"/>
            <a:r>
              <a:rPr lang="ru-RU" sz="1000" b="1" dirty="0" smtClean="0">
                <a:solidFill>
                  <a:srgbClr val="EF6213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Октябрь 2019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8568444" y="1614739"/>
            <a:ext cx="575556" cy="540061"/>
            <a:chOff x="8100393" y="1635646"/>
            <a:chExt cx="1043607" cy="540061"/>
          </a:xfrm>
        </p:grpSpPr>
        <p:cxnSp>
          <p:nvCxnSpPr>
            <p:cNvPr id="56" name="Прямая со стрелкой 55"/>
            <p:cNvCxnSpPr/>
            <p:nvPr/>
          </p:nvCxnSpPr>
          <p:spPr>
            <a:xfrm flipH="1">
              <a:off x="8100393" y="1635646"/>
              <a:ext cx="1043607" cy="1"/>
            </a:xfrm>
            <a:prstGeom prst="straightConnector1">
              <a:avLst/>
            </a:prstGeom>
            <a:noFill/>
            <a:ln w="12700" cap="flat" cmpd="sng" algn="ctr">
              <a:solidFill>
                <a:srgbClr val="EF6213"/>
              </a:solidFill>
              <a:prstDash val="solid"/>
              <a:miter lim="800000"/>
              <a:tailEnd type="oval"/>
            </a:ln>
            <a:effectLst/>
          </p:spPr>
        </p:cxnSp>
        <p:cxnSp>
          <p:nvCxnSpPr>
            <p:cNvPr id="16" name="Прямая со стрелкой 15"/>
            <p:cNvCxnSpPr/>
            <p:nvPr/>
          </p:nvCxnSpPr>
          <p:spPr>
            <a:xfrm flipH="1">
              <a:off x="8100393" y="1923678"/>
              <a:ext cx="1043607" cy="1"/>
            </a:xfrm>
            <a:prstGeom prst="straightConnector1">
              <a:avLst/>
            </a:prstGeom>
            <a:noFill/>
            <a:ln w="12700" cap="flat" cmpd="sng" algn="ctr">
              <a:solidFill>
                <a:srgbClr val="EF6213"/>
              </a:solidFill>
              <a:prstDash val="solid"/>
              <a:miter lim="800000"/>
              <a:tailEnd type="oval"/>
            </a:ln>
            <a:effectLst/>
          </p:spPr>
        </p:cxnSp>
        <p:cxnSp>
          <p:nvCxnSpPr>
            <p:cNvPr id="13" name="Прямая со стрелкой 12"/>
            <p:cNvCxnSpPr/>
            <p:nvPr/>
          </p:nvCxnSpPr>
          <p:spPr>
            <a:xfrm flipH="1">
              <a:off x="8100393" y="2175706"/>
              <a:ext cx="1043607" cy="1"/>
            </a:xfrm>
            <a:prstGeom prst="straightConnector1">
              <a:avLst/>
            </a:prstGeom>
            <a:noFill/>
            <a:ln w="12700" cap="flat" cmpd="sng" algn="ctr">
              <a:solidFill>
                <a:srgbClr val="EF6213"/>
              </a:solidFill>
              <a:prstDash val="solid"/>
              <a:miter lim="800000"/>
              <a:tailEnd type="oval"/>
            </a:ln>
            <a:effectLst/>
          </p:spPr>
        </p:cxnSp>
      </p:grp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891" b="94660" l="0" r="100000">
                        <a14:foregroundMark x1="14468" y1="84769" x2="14468" y2="84769"/>
                        <a14:foregroundMark x1="8189" y1="76760" x2="8189" y2="76760"/>
                        <a14:foregroundMark x1="2047" y1="75971" x2="2047" y2="75971"/>
                        <a14:foregroundMark x1="27480" y1="83617" x2="27480" y2="83617"/>
                        <a14:foregroundMark x1="19745" y1="81553" x2="19745" y2="81553"/>
                        <a14:foregroundMark x1="25205" y1="80947" x2="25205" y2="80947"/>
                        <a14:foregroundMark x1="22202" y1="83070" x2="22202" y2="83070"/>
                        <a14:foregroundMark x1="9054" y1="80218" x2="9054" y2="80218"/>
                        <a14:foregroundMark x1="32029" y1="86468" x2="32029" y2="86468"/>
                        <a14:foregroundMark x1="24340" y1="83070" x2="24340" y2="83070"/>
                        <a14:foregroundMark x1="27616" y1="82828" x2="27616" y2="82828"/>
                        <a14:foregroundMark x1="29026" y1="83434" x2="29026" y2="83434"/>
                        <a14:foregroundMark x1="30619" y1="85133" x2="30619" y2="85133"/>
                        <a14:foregroundMark x1="34486" y1="86468" x2="34486" y2="86468"/>
                        <a14:foregroundMark x1="37170" y1="87803" x2="37170" y2="87803"/>
                        <a14:foregroundMark x1="6324" y1="83981" x2="6324" y2="83981"/>
                        <a14:foregroundMark x1="13194" y1="88167" x2="13194" y2="88167"/>
                        <a14:foregroundMark x1="17743" y1="91019" x2="17743" y2="91019"/>
                        <a14:foregroundMark x1="39627" y1="88956" x2="39627" y2="88956"/>
                        <a14:foregroundMark x1="39354" y1="91808" x2="39354" y2="91808"/>
                        <a14:foregroundMark x1="43039" y1="89684" x2="43039" y2="89684"/>
                        <a14:foregroundMark x1="47043" y1="92354" x2="47043" y2="92354"/>
                        <a14:foregroundMark x1="45769" y1="90291" x2="45769" y2="90291"/>
                        <a14:foregroundMark x1="49045" y1="91626" x2="49045" y2="91626"/>
                        <a14:foregroundMark x1="51774" y1="93143" x2="51774" y2="931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457" r="10625" b="26550"/>
          <a:stretch/>
        </p:blipFill>
        <p:spPr>
          <a:xfrm>
            <a:off x="-42564" y="2391730"/>
            <a:ext cx="6279369" cy="2340260"/>
          </a:xfrm>
          <a:prstGeom prst="rect">
            <a:avLst/>
          </a:prstGeom>
        </p:spPr>
      </p:pic>
      <p:sp>
        <p:nvSpPr>
          <p:cNvPr id="10" name="Полилиния 9">
            <a:extLst>
              <a:ext uri="{FF2B5EF4-FFF2-40B4-BE49-F238E27FC236}">
                <a16:creationId xmlns:a16="http://schemas.microsoft.com/office/drawing/2014/main" id="{8795EA07-FBA7-F743-8CDC-AC9C2AE26334}"/>
              </a:ext>
            </a:extLst>
          </p:cNvPr>
          <p:cNvSpPr>
            <a:spLocks noChangeAspect="1"/>
          </p:cNvSpPr>
          <p:nvPr/>
        </p:nvSpPr>
        <p:spPr>
          <a:xfrm>
            <a:off x="6408204" y="2572230"/>
            <a:ext cx="2735796" cy="2161060"/>
          </a:xfrm>
          <a:custGeom>
            <a:avLst/>
            <a:gdLst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5634 w 3605063"/>
              <a:gd name="connsiteY25" fmla="*/ 9477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5634 w 3605063"/>
              <a:gd name="connsiteY25" fmla="*/ 9477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5634 w 3605063"/>
              <a:gd name="connsiteY25" fmla="*/ 9477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5634 w 3605063"/>
              <a:gd name="connsiteY25" fmla="*/ 9477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914329 w 3605063"/>
              <a:gd name="connsiteY44" fmla="*/ 4933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914329 w 3605063"/>
              <a:gd name="connsiteY44" fmla="*/ 4933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914329 w 3605063"/>
              <a:gd name="connsiteY44" fmla="*/ 4933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860354 w 3605063"/>
              <a:gd name="connsiteY44" fmla="*/ 5314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860354 w 3605063"/>
              <a:gd name="connsiteY44" fmla="*/ 5314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860354 w 3605063"/>
              <a:gd name="connsiteY44" fmla="*/ 531481 h 2861666"/>
              <a:gd name="connsiteX45" fmla="*/ 3605063 w 3605063"/>
              <a:gd name="connsiteY45" fmla="*/ 0 h 2861666"/>
              <a:gd name="connsiteX0" fmla="*/ 3622730 w 3622730"/>
              <a:gd name="connsiteY0" fmla="*/ 0 h 2861666"/>
              <a:gd name="connsiteX1" fmla="*/ 2570183 w 3622730"/>
              <a:gd name="connsiteY1" fmla="*/ 6579 h 2861666"/>
              <a:gd name="connsiteX2" fmla="*/ 1668940 w 3622730"/>
              <a:gd name="connsiteY2" fmla="*/ 6579 h 2861666"/>
              <a:gd name="connsiteX3" fmla="*/ 1293970 w 3622730"/>
              <a:gd name="connsiteY3" fmla="*/ 46049 h 2861666"/>
              <a:gd name="connsiteX4" fmla="*/ 1030833 w 3622730"/>
              <a:gd name="connsiteY4" fmla="*/ 131568 h 2861666"/>
              <a:gd name="connsiteX5" fmla="*/ 872951 w 3622730"/>
              <a:gd name="connsiteY5" fmla="*/ 223666 h 2861666"/>
              <a:gd name="connsiteX6" fmla="*/ 688756 w 3622730"/>
              <a:gd name="connsiteY6" fmla="*/ 394705 h 2861666"/>
              <a:gd name="connsiteX7" fmla="*/ 557187 w 3622730"/>
              <a:gd name="connsiteY7" fmla="*/ 651263 h 2861666"/>
              <a:gd name="connsiteX8" fmla="*/ 340099 w 3622730"/>
              <a:gd name="connsiteY8" fmla="*/ 1138066 h 2861666"/>
              <a:gd name="connsiteX9" fmla="*/ 169061 w 3622730"/>
              <a:gd name="connsiteY9" fmla="*/ 1545928 h 2861666"/>
              <a:gd name="connsiteX10" fmla="*/ 50649 w 3622730"/>
              <a:gd name="connsiteY10" fmla="*/ 1874849 h 2861666"/>
              <a:gd name="connsiteX11" fmla="*/ 36 w 3622730"/>
              <a:gd name="connsiteY11" fmla="*/ 2167843 h 2861666"/>
              <a:gd name="connsiteX12" fmla="*/ 57228 w 3622730"/>
              <a:gd name="connsiteY12" fmla="*/ 2460328 h 2861666"/>
              <a:gd name="connsiteX13" fmla="*/ 267737 w 3622730"/>
              <a:gd name="connsiteY13" fmla="*/ 2710308 h 2861666"/>
              <a:gd name="connsiteX14" fmla="*/ 504560 w 3622730"/>
              <a:gd name="connsiteY14" fmla="*/ 2815563 h 2861666"/>
              <a:gd name="connsiteX15" fmla="*/ 787432 w 3622730"/>
              <a:gd name="connsiteY15" fmla="*/ 2855033 h 2861666"/>
              <a:gd name="connsiteX16" fmla="*/ 1234764 w 3622730"/>
              <a:gd name="connsiteY16" fmla="*/ 2861612 h 2861666"/>
              <a:gd name="connsiteX17" fmla="*/ 1807087 w 3622730"/>
              <a:gd name="connsiteY17" fmla="*/ 2855033 h 2861666"/>
              <a:gd name="connsiteX18" fmla="*/ 2392566 w 3622730"/>
              <a:gd name="connsiteY18" fmla="*/ 2861612 h 2861666"/>
              <a:gd name="connsiteX19" fmla="*/ 2451771 w 3622730"/>
              <a:gd name="connsiteY19" fmla="*/ 2743200 h 2861666"/>
              <a:gd name="connsiteX20" fmla="*/ 2649124 w 3622730"/>
              <a:gd name="connsiteY20" fmla="*/ 2276133 h 2861666"/>
              <a:gd name="connsiteX21" fmla="*/ 2899104 w 3622730"/>
              <a:gd name="connsiteY21" fmla="*/ 1670918 h 2861666"/>
              <a:gd name="connsiteX22" fmla="*/ 3070143 w 3622730"/>
              <a:gd name="connsiteY22" fmla="*/ 1263056 h 2861666"/>
              <a:gd name="connsiteX23" fmla="*/ 3188554 w 3622730"/>
              <a:gd name="connsiteY23" fmla="*/ 960449 h 2861666"/>
              <a:gd name="connsiteX24" fmla="*/ 3168819 w 3622730"/>
              <a:gd name="connsiteY24" fmla="*/ 953871 h 2861666"/>
              <a:gd name="connsiteX25" fmla="*/ 2840126 w 3622730"/>
              <a:gd name="connsiteY25" fmla="*/ 954099 h 2861666"/>
              <a:gd name="connsiteX26" fmla="*/ 2326781 w 3622730"/>
              <a:gd name="connsiteY26" fmla="*/ 953871 h 2861666"/>
              <a:gd name="connsiteX27" fmla="*/ 2300468 w 3622730"/>
              <a:gd name="connsiteY27" fmla="*/ 960449 h 2861666"/>
              <a:gd name="connsiteX28" fmla="*/ 1458430 w 3622730"/>
              <a:gd name="connsiteY28" fmla="*/ 1585399 h 2861666"/>
              <a:gd name="connsiteX29" fmla="*/ 1478166 w 3622730"/>
              <a:gd name="connsiteY29" fmla="*/ 1585399 h 2861666"/>
              <a:gd name="connsiteX30" fmla="*/ 2096537 w 3622730"/>
              <a:gd name="connsiteY30" fmla="*/ 1585399 h 2861666"/>
              <a:gd name="connsiteX31" fmla="*/ 2096537 w 3622730"/>
              <a:gd name="connsiteY31" fmla="*/ 1598556 h 2861666"/>
              <a:gd name="connsiteX32" fmla="*/ 1820243 w 3622730"/>
              <a:gd name="connsiteY32" fmla="*/ 2322181 h 2861666"/>
              <a:gd name="connsiteX33" fmla="*/ 1793930 w 3622730"/>
              <a:gd name="connsiteY33" fmla="*/ 2328760 h 2861666"/>
              <a:gd name="connsiteX34" fmla="*/ 971628 w 3622730"/>
              <a:gd name="connsiteY34" fmla="*/ 2335338 h 2861666"/>
              <a:gd name="connsiteX35" fmla="*/ 787432 w 3622730"/>
              <a:gd name="connsiteY35" fmla="*/ 2203770 h 2861666"/>
              <a:gd name="connsiteX36" fmla="*/ 826902 w 3622730"/>
              <a:gd name="connsiteY36" fmla="*/ 1953790 h 2861666"/>
              <a:gd name="connsiteX37" fmla="*/ 1083461 w 3622730"/>
              <a:gd name="connsiteY37" fmla="*/ 1328840 h 2861666"/>
              <a:gd name="connsiteX38" fmla="*/ 1293970 w 3622730"/>
              <a:gd name="connsiteY38" fmla="*/ 822302 h 2861666"/>
              <a:gd name="connsiteX39" fmla="*/ 1386068 w 3622730"/>
              <a:gd name="connsiteY39" fmla="*/ 644685 h 2861666"/>
              <a:gd name="connsiteX40" fmla="*/ 1511058 w 3622730"/>
              <a:gd name="connsiteY40" fmla="*/ 552587 h 2861666"/>
              <a:gd name="connsiteX41" fmla="*/ 1714989 w 3622730"/>
              <a:gd name="connsiteY41" fmla="*/ 526274 h 2861666"/>
              <a:gd name="connsiteX42" fmla="*/ 2399144 w 3622730"/>
              <a:gd name="connsiteY42" fmla="*/ 532852 h 2861666"/>
              <a:gd name="connsiteX43" fmla="*/ 2872790 w 3622730"/>
              <a:gd name="connsiteY43" fmla="*/ 539430 h 2861666"/>
              <a:gd name="connsiteX44" fmla="*/ 2878021 w 3622730"/>
              <a:gd name="connsiteY44" fmla="*/ 531481 h 2861666"/>
              <a:gd name="connsiteX45" fmla="*/ 3622730 w 3622730"/>
              <a:gd name="connsiteY45" fmla="*/ 0 h 2861666"/>
              <a:gd name="connsiteX0" fmla="*/ 3622730 w 3622730"/>
              <a:gd name="connsiteY0" fmla="*/ 0 h 2861666"/>
              <a:gd name="connsiteX1" fmla="*/ 2570183 w 3622730"/>
              <a:gd name="connsiteY1" fmla="*/ 6579 h 2861666"/>
              <a:gd name="connsiteX2" fmla="*/ 1668940 w 3622730"/>
              <a:gd name="connsiteY2" fmla="*/ 6579 h 2861666"/>
              <a:gd name="connsiteX3" fmla="*/ 1293970 w 3622730"/>
              <a:gd name="connsiteY3" fmla="*/ 46049 h 2861666"/>
              <a:gd name="connsiteX4" fmla="*/ 1030833 w 3622730"/>
              <a:gd name="connsiteY4" fmla="*/ 131568 h 2861666"/>
              <a:gd name="connsiteX5" fmla="*/ 872951 w 3622730"/>
              <a:gd name="connsiteY5" fmla="*/ 223666 h 2861666"/>
              <a:gd name="connsiteX6" fmla="*/ 688756 w 3622730"/>
              <a:gd name="connsiteY6" fmla="*/ 394705 h 2861666"/>
              <a:gd name="connsiteX7" fmla="*/ 557187 w 3622730"/>
              <a:gd name="connsiteY7" fmla="*/ 651263 h 2861666"/>
              <a:gd name="connsiteX8" fmla="*/ 340099 w 3622730"/>
              <a:gd name="connsiteY8" fmla="*/ 1138066 h 2861666"/>
              <a:gd name="connsiteX9" fmla="*/ 169061 w 3622730"/>
              <a:gd name="connsiteY9" fmla="*/ 1545928 h 2861666"/>
              <a:gd name="connsiteX10" fmla="*/ 50649 w 3622730"/>
              <a:gd name="connsiteY10" fmla="*/ 1874849 h 2861666"/>
              <a:gd name="connsiteX11" fmla="*/ 36 w 3622730"/>
              <a:gd name="connsiteY11" fmla="*/ 2167843 h 2861666"/>
              <a:gd name="connsiteX12" fmla="*/ 57228 w 3622730"/>
              <a:gd name="connsiteY12" fmla="*/ 2460328 h 2861666"/>
              <a:gd name="connsiteX13" fmla="*/ 267737 w 3622730"/>
              <a:gd name="connsiteY13" fmla="*/ 2710308 h 2861666"/>
              <a:gd name="connsiteX14" fmla="*/ 504560 w 3622730"/>
              <a:gd name="connsiteY14" fmla="*/ 2815563 h 2861666"/>
              <a:gd name="connsiteX15" fmla="*/ 787432 w 3622730"/>
              <a:gd name="connsiteY15" fmla="*/ 2855033 h 2861666"/>
              <a:gd name="connsiteX16" fmla="*/ 1234764 w 3622730"/>
              <a:gd name="connsiteY16" fmla="*/ 2861612 h 2861666"/>
              <a:gd name="connsiteX17" fmla="*/ 1807087 w 3622730"/>
              <a:gd name="connsiteY17" fmla="*/ 2855033 h 2861666"/>
              <a:gd name="connsiteX18" fmla="*/ 2392566 w 3622730"/>
              <a:gd name="connsiteY18" fmla="*/ 2861612 h 2861666"/>
              <a:gd name="connsiteX19" fmla="*/ 2451771 w 3622730"/>
              <a:gd name="connsiteY19" fmla="*/ 2743200 h 2861666"/>
              <a:gd name="connsiteX20" fmla="*/ 2649124 w 3622730"/>
              <a:gd name="connsiteY20" fmla="*/ 2276133 h 2861666"/>
              <a:gd name="connsiteX21" fmla="*/ 2899104 w 3622730"/>
              <a:gd name="connsiteY21" fmla="*/ 1670918 h 2861666"/>
              <a:gd name="connsiteX22" fmla="*/ 3070143 w 3622730"/>
              <a:gd name="connsiteY22" fmla="*/ 1263056 h 2861666"/>
              <a:gd name="connsiteX23" fmla="*/ 3188554 w 3622730"/>
              <a:gd name="connsiteY23" fmla="*/ 960449 h 2861666"/>
              <a:gd name="connsiteX24" fmla="*/ 3168819 w 3622730"/>
              <a:gd name="connsiteY24" fmla="*/ 953871 h 2861666"/>
              <a:gd name="connsiteX25" fmla="*/ 2840126 w 3622730"/>
              <a:gd name="connsiteY25" fmla="*/ 954099 h 2861666"/>
              <a:gd name="connsiteX26" fmla="*/ 2326781 w 3622730"/>
              <a:gd name="connsiteY26" fmla="*/ 953871 h 2861666"/>
              <a:gd name="connsiteX27" fmla="*/ 2300468 w 3622730"/>
              <a:gd name="connsiteY27" fmla="*/ 960449 h 2861666"/>
              <a:gd name="connsiteX28" fmla="*/ 1458430 w 3622730"/>
              <a:gd name="connsiteY28" fmla="*/ 1585399 h 2861666"/>
              <a:gd name="connsiteX29" fmla="*/ 1478166 w 3622730"/>
              <a:gd name="connsiteY29" fmla="*/ 1585399 h 2861666"/>
              <a:gd name="connsiteX30" fmla="*/ 2096537 w 3622730"/>
              <a:gd name="connsiteY30" fmla="*/ 1585399 h 2861666"/>
              <a:gd name="connsiteX31" fmla="*/ 2096537 w 3622730"/>
              <a:gd name="connsiteY31" fmla="*/ 1598556 h 2861666"/>
              <a:gd name="connsiteX32" fmla="*/ 1820243 w 3622730"/>
              <a:gd name="connsiteY32" fmla="*/ 2322181 h 2861666"/>
              <a:gd name="connsiteX33" fmla="*/ 1793930 w 3622730"/>
              <a:gd name="connsiteY33" fmla="*/ 2328760 h 2861666"/>
              <a:gd name="connsiteX34" fmla="*/ 971628 w 3622730"/>
              <a:gd name="connsiteY34" fmla="*/ 2335338 h 2861666"/>
              <a:gd name="connsiteX35" fmla="*/ 776799 w 3622730"/>
              <a:gd name="connsiteY35" fmla="*/ 2214403 h 2861666"/>
              <a:gd name="connsiteX36" fmla="*/ 826902 w 3622730"/>
              <a:gd name="connsiteY36" fmla="*/ 1953790 h 2861666"/>
              <a:gd name="connsiteX37" fmla="*/ 1083461 w 3622730"/>
              <a:gd name="connsiteY37" fmla="*/ 1328840 h 2861666"/>
              <a:gd name="connsiteX38" fmla="*/ 1293970 w 3622730"/>
              <a:gd name="connsiteY38" fmla="*/ 822302 h 2861666"/>
              <a:gd name="connsiteX39" fmla="*/ 1386068 w 3622730"/>
              <a:gd name="connsiteY39" fmla="*/ 644685 h 2861666"/>
              <a:gd name="connsiteX40" fmla="*/ 1511058 w 3622730"/>
              <a:gd name="connsiteY40" fmla="*/ 552587 h 2861666"/>
              <a:gd name="connsiteX41" fmla="*/ 1714989 w 3622730"/>
              <a:gd name="connsiteY41" fmla="*/ 526274 h 2861666"/>
              <a:gd name="connsiteX42" fmla="*/ 2399144 w 3622730"/>
              <a:gd name="connsiteY42" fmla="*/ 532852 h 2861666"/>
              <a:gd name="connsiteX43" fmla="*/ 2872790 w 3622730"/>
              <a:gd name="connsiteY43" fmla="*/ 539430 h 2861666"/>
              <a:gd name="connsiteX44" fmla="*/ 2878021 w 3622730"/>
              <a:gd name="connsiteY44" fmla="*/ 531481 h 2861666"/>
              <a:gd name="connsiteX45" fmla="*/ 3622730 w 3622730"/>
              <a:gd name="connsiteY45" fmla="*/ 0 h 2861666"/>
              <a:gd name="connsiteX0" fmla="*/ 3622730 w 3622730"/>
              <a:gd name="connsiteY0" fmla="*/ 0 h 2861666"/>
              <a:gd name="connsiteX1" fmla="*/ 2570183 w 3622730"/>
              <a:gd name="connsiteY1" fmla="*/ 6579 h 2861666"/>
              <a:gd name="connsiteX2" fmla="*/ 1668940 w 3622730"/>
              <a:gd name="connsiteY2" fmla="*/ 6579 h 2861666"/>
              <a:gd name="connsiteX3" fmla="*/ 1293970 w 3622730"/>
              <a:gd name="connsiteY3" fmla="*/ 46049 h 2861666"/>
              <a:gd name="connsiteX4" fmla="*/ 1030833 w 3622730"/>
              <a:gd name="connsiteY4" fmla="*/ 131568 h 2861666"/>
              <a:gd name="connsiteX5" fmla="*/ 872951 w 3622730"/>
              <a:gd name="connsiteY5" fmla="*/ 223666 h 2861666"/>
              <a:gd name="connsiteX6" fmla="*/ 688756 w 3622730"/>
              <a:gd name="connsiteY6" fmla="*/ 394705 h 2861666"/>
              <a:gd name="connsiteX7" fmla="*/ 557187 w 3622730"/>
              <a:gd name="connsiteY7" fmla="*/ 651263 h 2861666"/>
              <a:gd name="connsiteX8" fmla="*/ 340099 w 3622730"/>
              <a:gd name="connsiteY8" fmla="*/ 1138066 h 2861666"/>
              <a:gd name="connsiteX9" fmla="*/ 169061 w 3622730"/>
              <a:gd name="connsiteY9" fmla="*/ 1545928 h 2861666"/>
              <a:gd name="connsiteX10" fmla="*/ 50649 w 3622730"/>
              <a:gd name="connsiteY10" fmla="*/ 1874849 h 2861666"/>
              <a:gd name="connsiteX11" fmla="*/ 36 w 3622730"/>
              <a:gd name="connsiteY11" fmla="*/ 2167843 h 2861666"/>
              <a:gd name="connsiteX12" fmla="*/ 57228 w 3622730"/>
              <a:gd name="connsiteY12" fmla="*/ 2460328 h 2861666"/>
              <a:gd name="connsiteX13" fmla="*/ 267737 w 3622730"/>
              <a:gd name="connsiteY13" fmla="*/ 2710308 h 2861666"/>
              <a:gd name="connsiteX14" fmla="*/ 504560 w 3622730"/>
              <a:gd name="connsiteY14" fmla="*/ 2815563 h 2861666"/>
              <a:gd name="connsiteX15" fmla="*/ 787432 w 3622730"/>
              <a:gd name="connsiteY15" fmla="*/ 2855033 h 2861666"/>
              <a:gd name="connsiteX16" fmla="*/ 1234764 w 3622730"/>
              <a:gd name="connsiteY16" fmla="*/ 2861612 h 2861666"/>
              <a:gd name="connsiteX17" fmla="*/ 1807087 w 3622730"/>
              <a:gd name="connsiteY17" fmla="*/ 2855033 h 2861666"/>
              <a:gd name="connsiteX18" fmla="*/ 2392566 w 3622730"/>
              <a:gd name="connsiteY18" fmla="*/ 2861612 h 2861666"/>
              <a:gd name="connsiteX19" fmla="*/ 2451771 w 3622730"/>
              <a:gd name="connsiteY19" fmla="*/ 2743200 h 2861666"/>
              <a:gd name="connsiteX20" fmla="*/ 2649124 w 3622730"/>
              <a:gd name="connsiteY20" fmla="*/ 2276133 h 2861666"/>
              <a:gd name="connsiteX21" fmla="*/ 2899104 w 3622730"/>
              <a:gd name="connsiteY21" fmla="*/ 1670918 h 2861666"/>
              <a:gd name="connsiteX22" fmla="*/ 3070143 w 3622730"/>
              <a:gd name="connsiteY22" fmla="*/ 1263056 h 2861666"/>
              <a:gd name="connsiteX23" fmla="*/ 3188554 w 3622730"/>
              <a:gd name="connsiteY23" fmla="*/ 960449 h 2861666"/>
              <a:gd name="connsiteX24" fmla="*/ 3168819 w 3622730"/>
              <a:gd name="connsiteY24" fmla="*/ 953871 h 2861666"/>
              <a:gd name="connsiteX25" fmla="*/ 2840126 w 3622730"/>
              <a:gd name="connsiteY25" fmla="*/ 954099 h 2861666"/>
              <a:gd name="connsiteX26" fmla="*/ 2326781 w 3622730"/>
              <a:gd name="connsiteY26" fmla="*/ 953871 h 2861666"/>
              <a:gd name="connsiteX27" fmla="*/ 2300468 w 3622730"/>
              <a:gd name="connsiteY27" fmla="*/ 960449 h 2861666"/>
              <a:gd name="connsiteX28" fmla="*/ 1458430 w 3622730"/>
              <a:gd name="connsiteY28" fmla="*/ 1585399 h 2861666"/>
              <a:gd name="connsiteX29" fmla="*/ 1478166 w 3622730"/>
              <a:gd name="connsiteY29" fmla="*/ 1585399 h 2861666"/>
              <a:gd name="connsiteX30" fmla="*/ 2096537 w 3622730"/>
              <a:gd name="connsiteY30" fmla="*/ 1585399 h 2861666"/>
              <a:gd name="connsiteX31" fmla="*/ 2096537 w 3622730"/>
              <a:gd name="connsiteY31" fmla="*/ 1598556 h 2861666"/>
              <a:gd name="connsiteX32" fmla="*/ 1820243 w 3622730"/>
              <a:gd name="connsiteY32" fmla="*/ 2322181 h 2861666"/>
              <a:gd name="connsiteX33" fmla="*/ 1793930 w 3622730"/>
              <a:gd name="connsiteY33" fmla="*/ 2328760 h 2861666"/>
              <a:gd name="connsiteX34" fmla="*/ 971628 w 3622730"/>
              <a:gd name="connsiteY34" fmla="*/ 2335338 h 2861666"/>
              <a:gd name="connsiteX35" fmla="*/ 776799 w 3622730"/>
              <a:gd name="connsiteY35" fmla="*/ 2214403 h 2861666"/>
              <a:gd name="connsiteX36" fmla="*/ 826902 w 3622730"/>
              <a:gd name="connsiteY36" fmla="*/ 1953790 h 2861666"/>
              <a:gd name="connsiteX37" fmla="*/ 1083461 w 3622730"/>
              <a:gd name="connsiteY37" fmla="*/ 1328840 h 2861666"/>
              <a:gd name="connsiteX38" fmla="*/ 1293970 w 3622730"/>
              <a:gd name="connsiteY38" fmla="*/ 822302 h 2861666"/>
              <a:gd name="connsiteX39" fmla="*/ 1386068 w 3622730"/>
              <a:gd name="connsiteY39" fmla="*/ 644685 h 2861666"/>
              <a:gd name="connsiteX40" fmla="*/ 1511058 w 3622730"/>
              <a:gd name="connsiteY40" fmla="*/ 552587 h 2861666"/>
              <a:gd name="connsiteX41" fmla="*/ 1714989 w 3622730"/>
              <a:gd name="connsiteY41" fmla="*/ 526274 h 2861666"/>
              <a:gd name="connsiteX42" fmla="*/ 2399144 w 3622730"/>
              <a:gd name="connsiteY42" fmla="*/ 532852 h 2861666"/>
              <a:gd name="connsiteX43" fmla="*/ 2872790 w 3622730"/>
              <a:gd name="connsiteY43" fmla="*/ 539430 h 2861666"/>
              <a:gd name="connsiteX44" fmla="*/ 2878021 w 3622730"/>
              <a:gd name="connsiteY44" fmla="*/ 531481 h 2861666"/>
              <a:gd name="connsiteX45" fmla="*/ 3622730 w 3622730"/>
              <a:gd name="connsiteY45" fmla="*/ 0 h 2861666"/>
              <a:gd name="connsiteX0" fmla="*/ 3622730 w 3622730"/>
              <a:gd name="connsiteY0" fmla="*/ 0 h 2861666"/>
              <a:gd name="connsiteX1" fmla="*/ 2570183 w 3622730"/>
              <a:gd name="connsiteY1" fmla="*/ 6579 h 2861666"/>
              <a:gd name="connsiteX2" fmla="*/ 1668940 w 3622730"/>
              <a:gd name="connsiteY2" fmla="*/ 6579 h 2861666"/>
              <a:gd name="connsiteX3" fmla="*/ 1293970 w 3622730"/>
              <a:gd name="connsiteY3" fmla="*/ 46049 h 2861666"/>
              <a:gd name="connsiteX4" fmla="*/ 1030833 w 3622730"/>
              <a:gd name="connsiteY4" fmla="*/ 131568 h 2861666"/>
              <a:gd name="connsiteX5" fmla="*/ 872951 w 3622730"/>
              <a:gd name="connsiteY5" fmla="*/ 223666 h 2861666"/>
              <a:gd name="connsiteX6" fmla="*/ 688756 w 3622730"/>
              <a:gd name="connsiteY6" fmla="*/ 394705 h 2861666"/>
              <a:gd name="connsiteX7" fmla="*/ 557187 w 3622730"/>
              <a:gd name="connsiteY7" fmla="*/ 651263 h 2861666"/>
              <a:gd name="connsiteX8" fmla="*/ 340099 w 3622730"/>
              <a:gd name="connsiteY8" fmla="*/ 1138066 h 2861666"/>
              <a:gd name="connsiteX9" fmla="*/ 169061 w 3622730"/>
              <a:gd name="connsiteY9" fmla="*/ 1545928 h 2861666"/>
              <a:gd name="connsiteX10" fmla="*/ 50649 w 3622730"/>
              <a:gd name="connsiteY10" fmla="*/ 1874849 h 2861666"/>
              <a:gd name="connsiteX11" fmla="*/ 36 w 3622730"/>
              <a:gd name="connsiteY11" fmla="*/ 2167843 h 2861666"/>
              <a:gd name="connsiteX12" fmla="*/ 57228 w 3622730"/>
              <a:gd name="connsiteY12" fmla="*/ 2460328 h 2861666"/>
              <a:gd name="connsiteX13" fmla="*/ 267737 w 3622730"/>
              <a:gd name="connsiteY13" fmla="*/ 2710308 h 2861666"/>
              <a:gd name="connsiteX14" fmla="*/ 504560 w 3622730"/>
              <a:gd name="connsiteY14" fmla="*/ 2815563 h 2861666"/>
              <a:gd name="connsiteX15" fmla="*/ 787432 w 3622730"/>
              <a:gd name="connsiteY15" fmla="*/ 2855033 h 2861666"/>
              <a:gd name="connsiteX16" fmla="*/ 1234764 w 3622730"/>
              <a:gd name="connsiteY16" fmla="*/ 2861612 h 2861666"/>
              <a:gd name="connsiteX17" fmla="*/ 1807087 w 3622730"/>
              <a:gd name="connsiteY17" fmla="*/ 2855033 h 2861666"/>
              <a:gd name="connsiteX18" fmla="*/ 2392566 w 3622730"/>
              <a:gd name="connsiteY18" fmla="*/ 2861612 h 2861666"/>
              <a:gd name="connsiteX19" fmla="*/ 2451771 w 3622730"/>
              <a:gd name="connsiteY19" fmla="*/ 2743200 h 2861666"/>
              <a:gd name="connsiteX20" fmla="*/ 2649124 w 3622730"/>
              <a:gd name="connsiteY20" fmla="*/ 2276133 h 2861666"/>
              <a:gd name="connsiteX21" fmla="*/ 2899104 w 3622730"/>
              <a:gd name="connsiteY21" fmla="*/ 1670918 h 2861666"/>
              <a:gd name="connsiteX22" fmla="*/ 3070143 w 3622730"/>
              <a:gd name="connsiteY22" fmla="*/ 1263056 h 2861666"/>
              <a:gd name="connsiteX23" fmla="*/ 3188554 w 3622730"/>
              <a:gd name="connsiteY23" fmla="*/ 960449 h 2861666"/>
              <a:gd name="connsiteX24" fmla="*/ 3168819 w 3622730"/>
              <a:gd name="connsiteY24" fmla="*/ 953871 h 2861666"/>
              <a:gd name="connsiteX25" fmla="*/ 2840126 w 3622730"/>
              <a:gd name="connsiteY25" fmla="*/ 954099 h 2861666"/>
              <a:gd name="connsiteX26" fmla="*/ 2326781 w 3622730"/>
              <a:gd name="connsiteY26" fmla="*/ 953871 h 2861666"/>
              <a:gd name="connsiteX27" fmla="*/ 2300468 w 3622730"/>
              <a:gd name="connsiteY27" fmla="*/ 960449 h 2861666"/>
              <a:gd name="connsiteX28" fmla="*/ 1458430 w 3622730"/>
              <a:gd name="connsiteY28" fmla="*/ 1585399 h 2861666"/>
              <a:gd name="connsiteX29" fmla="*/ 1478166 w 3622730"/>
              <a:gd name="connsiteY29" fmla="*/ 1585399 h 2861666"/>
              <a:gd name="connsiteX30" fmla="*/ 2096537 w 3622730"/>
              <a:gd name="connsiteY30" fmla="*/ 1585399 h 2861666"/>
              <a:gd name="connsiteX31" fmla="*/ 2096537 w 3622730"/>
              <a:gd name="connsiteY31" fmla="*/ 1598556 h 2861666"/>
              <a:gd name="connsiteX32" fmla="*/ 1820243 w 3622730"/>
              <a:gd name="connsiteY32" fmla="*/ 2322181 h 2861666"/>
              <a:gd name="connsiteX33" fmla="*/ 1793930 w 3622730"/>
              <a:gd name="connsiteY33" fmla="*/ 2328760 h 2861666"/>
              <a:gd name="connsiteX34" fmla="*/ 971628 w 3622730"/>
              <a:gd name="connsiteY34" fmla="*/ 2335338 h 2861666"/>
              <a:gd name="connsiteX35" fmla="*/ 776799 w 3622730"/>
              <a:gd name="connsiteY35" fmla="*/ 2214403 h 2861666"/>
              <a:gd name="connsiteX36" fmla="*/ 826902 w 3622730"/>
              <a:gd name="connsiteY36" fmla="*/ 1953790 h 2861666"/>
              <a:gd name="connsiteX37" fmla="*/ 1083461 w 3622730"/>
              <a:gd name="connsiteY37" fmla="*/ 1328840 h 2861666"/>
              <a:gd name="connsiteX38" fmla="*/ 1293970 w 3622730"/>
              <a:gd name="connsiteY38" fmla="*/ 822302 h 2861666"/>
              <a:gd name="connsiteX39" fmla="*/ 1386068 w 3622730"/>
              <a:gd name="connsiteY39" fmla="*/ 644685 h 2861666"/>
              <a:gd name="connsiteX40" fmla="*/ 1511058 w 3622730"/>
              <a:gd name="connsiteY40" fmla="*/ 552587 h 2861666"/>
              <a:gd name="connsiteX41" fmla="*/ 1714989 w 3622730"/>
              <a:gd name="connsiteY41" fmla="*/ 526274 h 2861666"/>
              <a:gd name="connsiteX42" fmla="*/ 2399144 w 3622730"/>
              <a:gd name="connsiteY42" fmla="*/ 532852 h 2861666"/>
              <a:gd name="connsiteX43" fmla="*/ 2872790 w 3622730"/>
              <a:gd name="connsiteY43" fmla="*/ 539430 h 2861666"/>
              <a:gd name="connsiteX44" fmla="*/ 2878021 w 3622730"/>
              <a:gd name="connsiteY44" fmla="*/ 531481 h 2861666"/>
              <a:gd name="connsiteX45" fmla="*/ 3622730 w 3622730"/>
              <a:gd name="connsiteY45" fmla="*/ 0 h 2861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622730" h="2861666">
                <a:moveTo>
                  <a:pt x="3622730" y="0"/>
                </a:moveTo>
                <a:lnTo>
                  <a:pt x="2570183" y="6579"/>
                </a:lnTo>
                <a:lnTo>
                  <a:pt x="1668940" y="6579"/>
                </a:lnTo>
                <a:cubicBezTo>
                  <a:pt x="1456238" y="13157"/>
                  <a:pt x="1400321" y="25218"/>
                  <a:pt x="1293970" y="46049"/>
                </a:cubicBezTo>
                <a:cubicBezTo>
                  <a:pt x="1187619" y="66880"/>
                  <a:pt x="1101003" y="101965"/>
                  <a:pt x="1030833" y="131568"/>
                </a:cubicBezTo>
                <a:cubicBezTo>
                  <a:pt x="960663" y="161171"/>
                  <a:pt x="929964" y="179810"/>
                  <a:pt x="872951" y="223666"/>
                </a:cubicBezTo>
                <a:cubicBezTo>
                  <a:pt x="815938" y="267522"/>
                  <a:pt x="741383" y="323439"/>
                  <a:pt x="688756" y="394705"/>
                </a:cubicBezTo>
                <a:cubicBezTo>
                  <a:pt x="636129" y="465971"/>
                  <a:pt x="615296" y="527370"/>
                  <a:pt x="557187" y="651263"/>
                </a:cubicBezTo>
                <a:cubicBezTo>
                  <a:pt x="499078" y="775156"/>
                  <a:pt x="404787" y="988955"/>
                  <a:pt x="340099" y="1138066"/>
                </a:cubicBezTo>
                <a:cubicBezTo>
                  <a:pt x="275411" y="1287177"/>
                  <a:pt x="217303" y="1423131"/>
                  <a:pt x="169061" y="1545928"/>
                </a:cubicBezTo>
                <a:cubicBezTo>
                  <a:pt x="120819" y="1668725"/>
                  <a:pt x="78820" y="1771197"/>
                  <a:pt x="50649" y="1874849"/>
                </a:cubicBezTo>
                <a:cubicBezTo>
                  <a:pt x="22478" y="1978501"/>
                  <a:pt x="-1060" y="2070263"/>
                  <a:pt x="36" y="2167843"/>
                </a:cubicBezTo>
                <a:cubicBezTo>
                  <a:pt x="1132" y="2265423"/>
                  <a:pt x="12611" y="2369917"/>
                  <a:pt x="57228" y="2460328"/>
                </a:cubicBezTo>
                <a:cubicBezTo>
                  <a:pt x="101845" y="2550739"/>
                  <a:pt x="193182" y="2651102"/>
                  <a:pt x="267737" y="2710308"/>
                </a:cubicBezTo>
                <a:cubicBezTo>
                  <a:pt x="342292" y="2769514"/>
                  <a:pt x="417944" y="2791442"/>
                  <a:pt x="504560" y="2815563"/>
                </a:cubicBezTo>
                <a:cubicBezTo>
                  <a:pt x="591176" y="2839684"/>
                  <a:pt x="665731" y="2847358"/>
                  <a:pt x="787432" y="2855033"/>
                </a:cubicBezTo>
                <a:cubicBezTo>
                  <a:pt x="909133" y="2862708"/>
                  <a:pt x="1064822" y="2861612"/>
                  <a:pt x="1234764" y="2861612"/>
                </a:cubicBezTo>
                <a:cubicBezTo>
                  <a:pt x="1404706" y="2861612"/>
                  <a:pt x="1614120" y="2855033"/>
                  <a:pt x="1807087" y="2855033"/>
                </a:cubicBezTo>
                <a:cubicBezTo>
                  <a:pt x="2000054" y="2855033"/>
                  <a:pt x="2377194" y="2861201"/>
                  <a:pt x="2392566" y="2861612"/>
                </a:cubicBezTo>
                <a:cubicBezTo>
                  <a:pt x="2407938" y="2862023"/>
                  <a:pt x="2409011" y="2840780"/>
                  <a:pt x="2451771" y="2743200"/>
                </a:cubicBezTo>
                <a:cubicBezTo>
                  <a:pt x="2494531" y="2645620"/>
                  <a:pt x="2574569" y="2454847"/>
                  <a:pt x="2649124" y="2276133"/>
                </a:cubicBezTo>
                <a:cubicBezTo>
                  <a:pt x="2723679" y="2097419"/>
                  <a:pt x="2828934" y="1839764"/>
                  <a:pt x="2899104" y="1670918"/>
                </a:cubicBezTo>
                <a:cubicBezTo>
                  <a:pt x="2969274" y="1502072"/>
                  <a:pt x="3021901" y="1381467"/>
                  <a:pt x="3070143" y="1263056"/>
                </a:cubicBezTo>
                <a:cubicBezTo>
                  <a:pt x="3118385" y="1144645"/>
                  <a:pt x="3184808" y="977055"/>
                  <a:pt x="3188554" y="960449"/>
                </a:cubicBezTo>
                <a:cubicBezTo>
                  <a:pt x="3192300" y="943843"/>
                  <a:pt x="3191965" y="958104"/>
                  <a:pt x="3168819" y="953871"/>
                </a:cubicBezTo>
                <a:cubicBezTo>
                  <a:pt x="3145673" y="949638"/>
                  <a:pt x="2980466" y="954099"/>
                  <a:pt x="2840126" y="954099"/>
                </a:cubicBezTo>
                <a:lnTo>
                  <a:pt x="2326781" y="953871"/>
                </a:lnTo>
                <a:cubicBezTo>
                  <a:pt x="2297163" y="954929"/>
                  <a:pt x="2315018" y="947269"/>
                  <a:pt x="2300468" y="960449"/>
                </a:cubicBezTo>
                <a:cubicBezTo>
                  <a:pt x="2285918" y="973629"/>
                  <a:pt x="1458430" y="1585399"/>
                  <a:pt x="1458430" y="1585399"/>
                </a:cubicBezTo>
                <a:cubicBezTo>
                  <a:pt x="1457350" y="1584180"/>
                  <a:pt x="1478166" y="1585399"/>
                  <a:pt x="1478166" y="1585399"/>
                </a:cubicBezTo>
                <a:lnTo>
                  <a:pt x="2096537" y="1585399"/>
                </a:lnTo>
                <a:cubicBezTo>
                  <a:pt x="2110699" y="1584417"/>
                  <a:pt x="2105195" y="1584535"/>
                  <a:pt x="2096537" y="1598556"/>
                </a:cubicBezTo>
                <a:cubicBezTo>
                  <a:pt x="2087879" y="1612577"/>
                  <a:pt x="1826228" y="2311605"/>
                  <a:pt x="1820243" y="2322181"/>
                </a:cubicBezTo>
                <a:cubicBezTo>
                  <a:pt x="1814258" y="2332757"/>
                  <a:pt x="1793930" y="2328760"/>
                  <a:pt x="1793930" y="2328760"/>
                </a:cubicBezTo>
                <a:cubicBezTo>
                  <a:pt x="1652494" y="2330953"/>
                  <a:pt x="1141150" y="2354398"/>
                  <a:pt x="971628" y="2335338"/>
                </a:cubicBezTo>
                <a:cubicBezTo>
                  <a:pt x="802106" y="2316279"/>
                  <a:pt x="786744" y="2267360"/>
                  <a:pt x="776799" y="2214403"/>
                </a:cubicBezTo>
                <a:cubicBezTo>
                  <a:pt x="766854" y="2161446"/>
                  <a:pt x="775792" y="2101384"/>
                  <a:pt x="826902" y="1953790"/>
                </a:cubicBezTo>
                <a:cubicBezTo>
                  <a:pt x="878012" y="1806196"/>
                  <a:pt x="1005616" y="1517421"/>
                  <a:pt x="1083461" y="1328840"/>
                </a:cubicBezTo>
                <a:cubicBezTo>
                  <a:pt x="1161306" y="1140259"/>
                  <a:pt x="1243535" y="936328"/>
                  <a:pt x="1293970" y="822302"/>
                </a:cubicBezTo>
                <a:cubicBezTo>
                  <a:pt x="1344405" y="708276"/>
                  <a:pt x="1349887" y="689638"/>
                  <a:pt x="1386068" y="644685"/>
                </a:cubicBezTo>
                <a:cubicBezTo>
                  <a:pt x="1422249" y="599732"/>
                  <a:pt x="1456238" y="572322"/>
                  <a:pt x="1511058" y="552587"/>
                </a:cubicBezTo>
                <a:cubicBezTo>
                  <a:pt x="1565878" y="532852"/>
                  <a:pt x="1566975" y="529563"/>
                  <a:pt x="1714989" y="526274"/>
                </a:cubicBezTo>
                <a:cubicBezTo>
                  <a:pt x="1863003" y="522985"/>
                  <a:pt x="2399144" y="532852"/>
                  <a:pt x="2399144" y="532852"/>
                </a:cubicBezTo>
                <a:cubicBezTo>
                  <a:pt x="2592111" y="535045"/>
                  <a:pt x="2783981" y="546009"/>
                  <a:pt x="2872790" y="539430"/>
                </a:cubicBezTo>
                <a:cubicBezTo>
                  <a:pt x="2879049" y="545552"/>
                  <a:pt x="2878021" y="531481"/>
                  <a:pt x="2878021" y="531481"/>
                </a:cubicBezTo>
                <a:lnTo>
                  <a:pt x="3622730" y="0"/>
                </a:lnTo>
                <a:close/>
              </a:path>
            </a:pathLst>
          </a:custGeom>
          <a:solidFill>
            <a:schemeClr val="tx2">
              <a:lumMod val="65000"/>
              <a:lumOff val="35000"/>
              <a:alpha val="89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 Pro Light" panose="020B0504020101010102" pitchFamily="34" charset="0"/>
              <a:ea typeface="+mn-ea"/>
              <a:cs typeface="DIN Pro Light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243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Прямоугольник 160"/>
          <p:cNvSpPr/>
          <p:nvPr/>
        </p:nvSpPr>
        <p:spPr>
          <a:xfrm>
            <a:off x="1838287" y="3550722"/>
            <a:ext cx="3940750" cy="1182568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7" name="Диаграмма 7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3373917"/>
              </p:ext>
            </p:extLst>
          </p:nvPr>
        </p:nvGraphicFramePr>
        <p:xfrm>
          <a:off x="2809379" y="3610707"/>
          <a:ext cx="2901270" cy="1122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5" y="185937"/>
            <a:ext cx="81118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Улучшение качества измерений на участке хране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Терминала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«Гладкое»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7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Picture118"/>
          <p:cNvSpPr>
            <a:spLocks noChangeAspect="1" noEditPoints="1"/>
          </p:cNvSpPr>
          <p:nvPr/>
        </p:nvSpPr>
        <p:spPr bwMode="auto">
          <a:xfrm>
            <a:off x="555311" y="3867894"/>
            <a:ext cx="652765" cy="52287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rgbClr val="EF6213"/>
            </a:solidFill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№4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Прямоугольник 132"/>
          <p:cNvSpPr/>
          <p:nvPr/>
        </p:nvSpPr>
        <p:spPr>
          <a:xfrm>
            <a:off x="1957114" y="1557143"/>
            <a:ext cx="3397724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водить измерение параметров каждую секунду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~86 400 измерений в сутки для каждого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зервуара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томатически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давать данные в АСУТП и в учетные системы Компании, в то время как ручные замеры выполняются два раза в сутки</a:t>
            </a:r>
          </a:p>
        </p:txBody>
      </p:sp>
      <p:sp>
        <p:nvSpPr>
          <p:cNvPr id="170" name="Прямоугольник 169"/>
          <p:cNvSpPr/>
          <p:nvPr/>
        </p:nvSpPr>
        <p:spPr>
          <a:xfrm>
            <a:off x="1957114" y="2176314"/>
            <a:ext cx="33095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изводить сверку измерений в резервуарах с проводимыми операциями на НБ</a:t>
            </a:r>
          </a:p>
        </p:txBody>
      </p:sp>
      <p:sp>
        <p:nvSpPr>
          <p:cNvPr id="184" name="Прямоугольник 183"/>
          <p:cNvSpPr/>
          <p:nvPr/>
        </p:nvSpPr>
        <p:spPr>
          <a:xfrm>
            <a:off x="1957114" y="2722458"/>
            <a:ext cx="330956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изводить обнаружение утечек</a:t>
            </a:r>
          </a:p>
        </p:txBody>
      </p:sp>
      <p:sp>
        <p:nvSpPr>
          <p:cNvPr id="151" name="Прямоугольник 150"/>
          <p:cNvSpPr/>
          <p:nvPr/>
        </p:nvSpPr>
        <p:spPr>
          <a:xfrm>
            <a:off x="1957114" y="3165215"/>
            <a:ext cx="33095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ключить влияние человеческого фактора на корректность результатов измерений</a:t>
            </a:r>
          </a:p>
        </p:txBody>
      </p:sp>
      <p:grpSp>
        <p:nvGrpSpPr>
          <p:cNvPr id="72" name="Группа 71"/>
          <p:cNvGrpSpPr/>
          <p:nvPr/>
        </p:nvGrpSpPr>
        <p:grpSpPr>
          <a:xfrm>
            <a:off x="1442746" y="1177923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74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646483" y="1079997"/>
            <a:ext cx="416788" cy="418783"/>
            <a:chOff x="711519" y="1234411"/>
            <a:chExt cx="416788" cy="418783"/>
          </a:xfrm>
        </p:grpSpPr>
        <p:grpSp>
          <p:nvGrpSpPr>
            <p:cNvPr id="82" name="menzurki"/>
            <p:cNvGrpSpPr>
              <a:grpSpLocks noChangeAspect="1"/>
            </p:cNvGrpSpPr>
            <p:nvPr/>
          </p:nvGrpSpPr>
          <p:grpSpPr>
            <a:xfrm>
              <a:off x="819791" y="1322407"/>
              <a:ext cx="200244" cy="242790"/>
              <a:chOff x="1181101" y="2122488"/>
              <a:chExt cx="344488" cy="463550"/>
            </a:xfrm>
          </p:grpSpPr>
          <p:sp>
            <p:nvSpPr>
              <p:cNvPr id="84" name="Freeform 57"/>
              <p:cNvSpPr>
                <a:spLocks noEditPoints="1"/>
              </p:cNvSpPr>
              <p:nvPr/>
            </p:nvSpPr>
            <p:spPr bwMode="auto">
              <a:xfrm>
                <a:off x="1339851" y="2122488"/>
                <a:ext cx="185738" cy="407988"/>
              </a:xfrm>
              <a:custGeom>
                <a:avLst/>
                <a:gdLst>
                  <a:gd name="T0" fmla="*/ 25 w 470"/>
                  <a:gd name="T1" fmla="*/ 24 h 1028"/>
                  <a:gd name="T2" fmla="*/ 21 w 470"/>
                  <a:gd name="T3" fmla="*/ 37 h 1028"/>
                  <a:gd name="T4" fmla="*/ 25 w 470"/>
                  <a:gd name="T5" fmla="*/ 46 h 1028"/>
                  <a:gd name="T6" fmla="*/ 31 w 470"/>
                  <a:gd name="T7" fmla="*/ 50 h 1028"/>
                  <a:gd name="T8" fmla="*/ 261 w 470"/>
                  <a:gd name="T9" fmla="*/ 49 h 1028"/>
                  <a:gd name="T10" fmla="*/ 269 w 470"/>
                  <a:gd name="T11" fmla="*/ 36 h 1028"/>
                  <a:gd name="T12" fmla="*/ 263 w 470"/>
                  <a:gd name="T13" fmla="*/ 22 h 1028"/>
                  <a:gd name="T14" fmla="*/ 256 w 470"/>
                  <a:gd name="T15" fmla="*/ 20 h 1028"/>
                  <a:gd name="T16" fmla="*/ 14 w 470"/>
                  <a:gd name="T17" fmla="*/ 275 h 1028"/>
                  <a:gd name="T18" fmla="*/ 5 w 470"/>
                  <a:gd name="T19" fmla="*/ 269 h 1028"/>
                  <a:gd name="T20" fmla="*/ 18 w 470"/>
                  <a:gd name="T21" fmla="*/ 213 h 1028"/>
                  <a:gd name="T22" fmla="*/ 11 w 470"/>
                  <a:gd name="T23" fmla="*/ 61 h 1028"/>
                  <a:gd name="T24" fmla="*/ 3 w 470"/>
                  <a:gd name="T25" fmla="*/ 50 h 1028"/>
                  <a:gd name="T26" fmla="*/ 0 w 470"/>
                  <a:gd name="T27" fmla="*/ 36 h 1028"/>
                  <a:gd name="T28" fmla="*/ 6 w 470"/>
                  <a:gd name="T29" fmla="*/ 15 h 1028"/>
                  <a:gd name="T30" fmla="*/ 20 w 470"/>
                  <a:gd name="T31" fmla="*/ 2 h 1028"/>
                  <a:gd name="T32" fmla="*/ 256 w 470"/>
                  <a:gd name="T33" fmla="*/ 0 h 1028"/>
                  <a:gd name="T34" fmla="*/ 275 w 470"/>
                  <a:gd name="T35" fmla="*/ 6 h 1028"/>
                  <a:gd name="T36" fmla="*/ 287 w 470"/>
                  <a:gd name="T37" fmla="*/ 20 h 1028"/>
                  <a:gd name="T38" fmla="*/ 290 w 470"/>
                  <a:gd name="T39" fmla="*/ 39 h 1028"/>
                  <a:gd name="T40" fmla="*/ 285 w 470"/>
                  <a:gd name="T41" fmla="*/ 53 h 1028"/>
                  <a:gd name="T42" fmla="*/ 275 w 470"/>
                  <a:gd name="T43" fmla="*/ 64 h 1028"/>
                  <a:gd name="T44" fmla="*/ 283 w 470"/>
                  <a:gd name="T45" fmla="*/ 251 h 1028"/>
                  <a:gd name="T46" fmla="*/ 369 w 470"/>
                  <a:gd name="T47" fmla="*/ 556 h 1028"/>
                  <a:gd name="T48" fmla="*/ 454 w 470"/>
                  <a:gd name="T49" fmla="*/ 860 h 1028"/>
                  <a:gd name="T50" fmla="*/ 469 w 470"/>
                  <a:gd name="T51" fmla="*/ 912 h 1028"/>
                  <a:gd name="T52" fmla="*/ 470 w 470"/>
                  <a:gd name="T53" fmla="*/ 950 h 1028"/>
                  <a:gd name="T54" fmla="*/ 461 w 470"/>
                  <a:gd name="T55" fmla="*/ 977 h 1028"/>
                  <a:gd name="T56" fmla="*/ 446 w 470"/>
                  <a:gd name="T57" fmla="*/ 998 h 1028"/>
                  <a:gd name="T58" fmla="*/ 417 w 470"/>
                  <a:gd name="T59" fmla="*/ 1018 h 1028"/>
                  <a:gd name="T60" fmla="*/ 377 w 470"/>
                  <a:gd name="T61" fmla="*/ 1027 h 1028"/>
                  <a:gd name="T62" fmla="*/ 43 w 470"/>
                  <a:gd name="T63" fmla="*/ 1027 h 1028"/>
                  <a:gd name="T64" fmla="*/ 37 w 470"/>
                  <a:gd name="T65" fmla="*/ 1015 h 1028"/>
                  <a:gd name="T66" fmla="*/ 43 w 470"/>
                  <a:gd name="T67" fmla="*/ 1007 h 1028"/>
                  <a:gd name="T68" fmla="*/ 375 w 470"/>
                  <a:gd name="T69" fmla="*/ 1006 h 1028"/>
                  <a:gd name="T70" fmla="*/ 407 w 470"/>
                  <a:gd name="T71" fmla="*/ 999 h 1028"/>
                  <a:gd name="T72" fmla="*/ 431 w 470"/>
                  <a:gd name="T73" fmla="*/ 984 h 1028"/>
                  <a:gd name="T74" fmla="*/ 443 w 470"/>
                  <a:gd name="T75" fmla="*/ 967 h 1028"/>
                  <a:gd name="T76" fmla="*/ 448 w 470"/>
                  <a:gd name="T77" fmla="*/ 945 h 1028"/>
                  <a:gd name="T78" fmla="*/ 444 w 470"/>
                  <a:gd name="T79" fmla="*/ 902 h 1028"/>
                  <a:gd name="T80" fmla="*/ 380 w 470"/>
                  <a:gd name="T81" fmla="*/ 673 h 1028"/>
                  <a:gd name="T82" fmla="*/ 281 w 470"/>
                  <a:gd name="T83" fmla="*/ 322 h 1028"/>
                  <a:gd name="T84" fmla="*/ 250 w 470"/>
                  <a:gd name="T85" fmla="*/ 215 h 1028"/>
                  <a:gd name="T86" fmla="*/ 40 w 470"/>
                  <a:gd name="T87" fmla="*/ 69 h 1028"/>
                  <a:gd name="T88" fmla="*/ 40 w 470"/>
                  <a:gd name="T89" fmla="*/ 217 h 1028"/>
                  <a:gd name="T90" fmla="*/ 21 w 470"/>
                  <a:gd name="T91" fmla="*/ 272 h 10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70" h="1028">
                    <a:moveTo>
                      <a:pt x="34" y="20"/>
                    </a:moveTo>
                    <a:lnTo>
                      <a:pt x="29" y="21"/>
                    </a:lnTo>
                    <a:lnTo>
                      <a:pt x="25" y="24"/>
                    </a:lnTo>
                    <a:lnTo>
                      <a:pt x="23" y="28"/>
                    </a:lnTo>
                    <a:lnTo>
                      <a:pt x="21" y="34"/>
                    </a:lnTo>
                    <a:lnTo>
                      <a:pt x="21" y="37"/>
                    </a:lnTo>
                    <a:lnTo>
                      <a:pt x="23" y="40"/>
                    </a:lnTo>
                    <a:lnTo>
                      <a:pt x="24" y="43"/>
                    </a:lnTo>
                    <a:lnTo>
                      <a:pt x="25" y="46"/>
                    </a:lnTo>
                    <a:lnTo>
                      <a:pt x="27" y="48"/>
                    </a:lnTo>
                    <a:lnTo>
                      <a:pt x="29" y="49"/>
                    </a:lnTo>
                    <a:lnTo>
                      <a:pt x="31" y="50"/>
                    </a:lnTo>
                    <a:lnTo>
                      <a:pt x="34" y="50"/>
                    </a:lnTo>
                    <a:lnTo>
                      <a:pt x="256" y="50"/>
                    </a:lnTo>
                    <a:lnTo>
                      <a:pt x="261" y="49"/>
                    </a:lnTo>
                    <a:lnTo>
                      <a:pt x="265" y="46"/>
                    </a:lnTo>
                    <a:lnTo>
                      <a:pt x="268" y="41"/>
                    </a:lnTo>
                    <a:lnTo>
                      <a:pt x="269" y="36"/>
                    </a:lnTo>
                    <a:lnTo>
                      <a:pt x="268" y="29"/>
                    </a:lnTo>
                    <a:lnTo>
                      <a:pt x="265" y="24"/>
                    </a:lnTo>
                    <a:lnTo>
                      <a:pt x="263" y="22"/>
                    </a:lnTo>
                    <a:lnTo>
                      <a:pt x="261" y="21"/>
                    </a:lnTo>
                    <a:lnTo>
                      <a:pt x="259" y="20"/>
                    </a:lnTo>
                    <a:lnTo>
                      <a:pt x="256" y="20"/>
                    </a:lnTo>
                    <a:lnTo>
                      <a:pt x="34" y="20"/>
                    </a:lnTo>
                    <a:close/>
                    <a:moveTo>
                      <a:pt x="15" y="275"/>
                    </a:moveTo>
                    <a:lnTo>
                      <a:pt x="14" y="275"/>
                    </a:lnTo>
                    <a:lnTo>
                      <a:pt x="13" y="275"/>
                    </a:lnTo>
                    <a:lnTo>
                      <a:pt x="8" y="272"/>
                    </a:lnTo>
                    <a:lnTo>
                      <a:pt x="5" y="269"/>
                    </a:lnTo>
                    <a:lnTo>
                      <a:pt x="4" y="265"/>
                    </a:lnTo>
                    <a:lnTo>
                      <a:pt x="5" y="261"/>
                    </a:lnTo>
                    <a:lnTo>
                      <a:pt x="18" y="213"/>
                    </a:lnTo>
                    <a:lnTo>
                      <a:pt x="18" y="66"/>
                    </a:lnTo>
                    <a:lnTo>
                      <a:pt x="15" y="64"/>
                    </a:lnTo>
                    <a:lnTo>
                      <a:pt x="11" y="61"/>
                    </a:lnTo>
                    <a:lnTo>
                      <a:pt x="7" y="57"/>
                    </a:lnTo>
                    <a:lnTo>
                      <a:pt x="5" y="54"/>
                    </a:lnTo>
                    <a:lnTo>
                      <a:pt x="3" y="50"/>
                    </a:lnTo>
                    <a:lnTo>
                      <a:pt x="2" y="46"/>
                    </a:lnTo>
                    <a:lnTo>
                      <a:pt x="1" y="41"/>
                    </a:lnTo>
                    <a:lnTo>
                      <a:pt x="0" y="36"/>
                    </a:lnTo>
                    <a:lnTo>
                      <a:pt x="1" y="28"/>
                    </a:lnTo>
                    <a:lnTo>
                      <a:pt x="3" y="21"/>
                    </a:lnTo>
                    <a:lnTo>
                      <a:pt x="6" y="15"/>
                    </a:lnTo>
                    <a:lnTo>
                      <a:pt x="10" y="10"/>
                    </a:lnTo>
                    <a:lnTo>
                      <a:pt x="15" y="6"/>
                    </a:lnTo>
                    <a:lnTo>
                      <a:pt x="20" y="2"/>
                    </a:lnTo>
                    <a:lnTo>
                      <a:pt x="27" y="0"/>
                    </a:lnTo>
                    <a:lnTo>
                      <a:pt x="34" y="0"/>
                    </a:lnTo>
                    <a:lnTo>
                      <a:pt x="256" y="0"/>
                    </a:lnTo>
                    <a:lnTo>
                      <a:pt x="263" y="0"/>
                    </a:lnTo>
                    <a:lnTo>
                      <a:pt x="270" y="2"/>
                    </a:lnTo>
                    <a:lnTo>
                      <a:pt x="275" y="6"/>
                    </a:lnTo>
                    <a:lnTo>
                      <a:pt x="281" y="9"/>
                    </a:lnTo>
                    <a:lnTo>
                      <a:pt x="284" y="14"/>
                    </a:lnTo>
                    <a:lnTo>
                      <a:pt x="287" y="20"/>
                    </a:lnTo>
                    <a:lnTo>
                      <a:pt x="289" y="26"/>
                    </a:lnTo>
                    <a:lnTo>
                      <a:pt x="290" y="34"/>
                    </a:lnTo>
                    <a:lnTo>
                      <a:pt x="290" y="39"/>
                    </a:lnTo>
                    <a:lnTo>
                      <a:pt x="289" y="45"/>
                    </a:lnTo>
                    <a:lnTo>
                      <a:pt x="287" y="49"/>
                    </a:lnTo>
                    <a:lnTo>
                      <a:pt x="285" y="53"/>
                    </a:lnTo>
                    <a:lnTo>
                      <a:pt x="283" y="57"/>
                    </a:lnTo>
                    <a:lnTo>
                      <a:pt x="280" y="61"/>
                    </a:lnTo>
                    <a:lnTo>
                      <a:pt x="275" y="64"/>
                    </a:lnTo>
                    <a:lnTo>
                      <a:pt x="272" y="66"/>
                    </a:lnTo>
                    <a:lnTo>
                      <a:pt x="272" y="213"/>
                    </a:lnTo>
                    <a:lnTo>
                      <a:pt x="283" y="251"/>
                    </a:lnTo>
                    <a:lnTo>
                      <a:pt x="304" y="330"/>
                    </a:lnTo>
                    <a:lnTo>
                      <a:pt x="335" y="437"/>
                    </a:lnTo>
                    <a:lnTo>
                      <a:pt x="369" y="556"/>
                    </a:lnTo>
                    <a:lnTo>
                      <a:pt x="403" y="676"/>
                    </a:lnTo>
                    <a:lnTo>
                      <a:pt x="433" y="782"/>
                    </a:lnTo>
                    <a:lnTo>
                      <a:pt x="454" y="860"/>
                    </a:lnTo>
                    <a:lnTo>
                      <a:pt x="464" y="897"/>
                    </a:lnTo>
                    <a:lnTo>
                      <a:pt x="466" y="903"/>
                    </a:lnTo>
                    <a:lnTo>
                      <a:pt x="469" y="912"/>
                    </a:lnTo>
                    <a:lnTo>
                      <a:pt x="470" y="924"/>
                    </a:lnTo>
                    <a:lnTo>
                      <a:pt x="470" y="936"/>
                    </a:lnTo>
                    <a:lnTo>
                      <a:pt x="470" y="950"/>
                    </a:lnTo>
                    <a:lnTo>
                      <a:pt x="466" y="964"/>
                    </a:lnTo>
                    <a:lnTo>
                      <a:pt x="464" y="970"/>
                    </a:lnTo>
                    <a:lnTo>
                      <a:pt x="461" y="977"/>
                    </a:lnTo>
                    <a:lnTo>
                      <a:pt x="458" y="983"/>
                    </a:lnTo>
                    <a:lnTo>
                      <a:pt x="453" y="990"/>
                    </a:lnTo>
                    <a:lnTo>
                      <a:pt x="446" y="998"/>
                    </a:lnTo>
                    <a:lnTo>
                      <a:pt x="437" y="1006"/>
                    </a:lnTo>
                    <a:lnTo>
                      <a:pt x="427" y="1012"/>
                    </a:lnTo>
                    <a:lnTo>
                      <a:pt x="417" y="1018"/>
                    </a:lnTo>
                    <a:lnTo>
                      <a:pt x="404" y="1022"/>
                    </a:lnTo>
                    <a:lnTo>
                      <a:pt x="391" y="1025"/>
                    </a:lnTo>
                    <a:lnTo>
                      <a:pt x="377" y="1027"/>
                    </a:lnTo>
                    <a:lnTo>
                      <a:pt x="362" y="1028"/>
                    </a:lnTo>
                    <a:lnTo>
                      <a:pt x="47" y="1028"/>
                    </a:lnTo>
                    <a:lnTo>
                      <a:pt x="43" y="1027"/>
                    </a:lnTo>
                    <a:lnTo>
                      <a:pt x="40" y="1024"/>
                    </a:lnTo>
                    <a:lnTo>
                      <a:pt x="38" y="1021"/>
                    </a:lnTo>
                    <a:lnTo>
                      <a:pt x="37" y="1015"/>
                    </a:lnTo>
                    <a:lnTo>
                      <a:pt x="38" y="1012"/>
                    </a:lnTo>
                    <a:lnTo>
                      <a:pt x="40" y="1009"/>
                    </a:lnTo>
                    <a:lnTo>
                      <a:pt x="43" y="1007"/>
                    </a:lnTo>
                    <a:lnTo>
                      <a:pt x="47" y="1006"/>
                    </a:lnTo>
                    <a:lnTo>
                      <a:pt x="362" y="1006"/>
                    </a:lnTo>
                    <a:lnTo>
                      <a:pt x="375" y="1006"/>
                    </a:lnTo>
                    <a:lnTo>
                      <a:pt x="386" y="1005"/>
                    </a:lnTo>
                    <a:lnTo>
                      <a:pt x="397" y="1001"/>
                    </a:lnTo>
                    <a:lnTo>
                      <a:pt x="407" y="999"/>
                    </a:lnTo>
                    <a:lnTo>
                      <a:pt x="416" y="995"/>
                    </a:lnTo>
                    <a:lnTo>
                      <a:pt x="423" y="990"/>
                    </a:lnTo>
                    <a:lnTo>
                      <a:pt x="431" y="984"/>
                    </a:lnTo>
                    <a:lnTo>
                      <a:pt x="436" y="978"/>
                    </a:lnTo>
                    <a:lnTo>
                      <a:pt x="439" y="973"/>
                    </a:lnTo>
                    <a:lnTo>
                      <a:pt x="443" y="967"/>
                    </a:lnTo>
                    <a:lnTo>
                      <a:pt x="445" y="961"/>
                    </a:lnTo>
                    <a:lnTo>
                      <a:pt x="446" y="956"/>
                    </a:lnTo>
                    <a:lnTo>
                      <a:pt x="448" y="945"/>
                    </a:lnTo>
                    <a:lnTo>
                      <a:pt x="449" y="934"/>
                    </a:lnTo>
                    <a:lnTo>
                      <a:pt x="447" y="915"/>
                    </a:lnTo>
                    <a:lnTo>
                      <a:pt x="444" y="902"/>
                    </a:lnTo>
                    <a:lnTo>
                      <a:pt x="434" y="864"/>
                    </a:lnTo>
                    <a:lnTo>
                      <a:pt x="410" y="783"/>
                    </a:lnTo>
                    <a:lnTo>
                      <a:pt x="380" y="673"/>
                    </a:lnTo>
                    <a:lnTo>
                      <a:pt x="345" y="550"/>
                    </a:lnTo>
                    <a:lnTo>
                      <a:pt x="311" y="428"/>
                    </a:lnTo>
                    <a:lnTo>
                      <a:pt x="281" y="322"/>
                    </a:lnTo>
                    <a:lnTo>
                      <a:pt x="259" y="246"/>
                    </a:lnTo>
                    <a:lnTo>
                      <a:pt x="250" y="217"/>
                    </a:lnTo>
                    <a:lnTo>
                      <a:pt x="250" y="215"/>
                    </a:lnTo>
                    <a:lnTo>
                      <a:pt x="250" y="213"/>
                    </a:lnTo>
                    <a:lnTo>
                      <a:pt x="250" y="69"/>
                    </a:lnTo>
                    <a:lnTo>
                      <a:pt x="40" y="69"/>
                    </a:lnTo>
                    <a:lnTo>
                      <a:pt x="40" y="213"/>
                    </a:lnTo>
                    <a:lnTo>
                      <a:pt x="40" y="215"/>
                    </a:lnTo>
                    <a:lnTo>
                      <a:pt x="40" y="217"/>
                    </a:lnTo>
                    <a:lnTo>
                      <a:pt x="26" y="267"/>
                    </a:lnTo>
                    <a:lnTo>
                      <a:pt x="24" y="270"/>
                    </a:lnTo>
                    <a:lnTo>
                      <a:pt x="21" y="272"/>
                    </a:lnTo>
                    <a:lnTo>
                      <a:pt x="18" y="275"/>
                    </a:lnTo>
                    <a:lnTo>
                      <a:pt x="15" y="275"/>
                    </a:lnTo>
                    <a:close/>
                  </a:path>
                </a:pathLst>
              </a:custGeom>
              <a:solidFill>
                <a:srgbClr val="004077"/>
              </a:solidFill>
              <a:ln w="9525">
                <a:solidFill>
                  <a:srgbClr val="EF6213"/>
                </a:solidFill>
                <a:round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Freeform 58"/>
              <p:cNvSpPr>
                <a:spLocks/>
              </p:cNvSpPr>
              <p:nvPr/>
            </p:nvSpPr>
            <p:spPr bwMode="auto">
              <a:xfrm>
                <a:off x="1352551" y="2357438"/>
                <a:ext cx="150813" cy="153988"/>
              </a:xfrm>
              <a:custGeom>
                <a:avLst/>
                <a:gdLst>
                  <a:gd name="T0" fmla="*/ 17 w 382"/>
                  <a:gd name="T1" fmla="*/ 386 h 386"/>
                  <a:gd name="T2" fmla="*/ 10 w 382"/>
                  <a:gd name="T3" fmla="*/ 382 h 386"/>
                  <a:gd name="T4" fmla="*/ 7 w 382"/>
                  <a:gd name="T5" fmla="*/ 374 h 386"/>
                  <a:gd name="T6" fmla="*/ 10 w 382"/>
                  <a:gd name="T7" fmla="*/ 367 h 386"/>
                  <a:gd name="T8" fmla="*/ 17 w 382"/>
                  <a:gd name="T9" fmla="*/ 364 h 386"/>
                  <a:gd name="T10" fmla="*/ 301 w 382"/>
                  <a:gd name="T11" fmla="*/ 364 h 386"/>
                  <a:gd name="T12" fmla="*/ 322 w 382"/>
                  <a:gd name="T13" fmla="*/ 362 h 386"/>
                  <a:gd name="T14" fmla="*/ 338 w 382"/>
                  <a:gd name="T15" fmla="*/ 356 h 386"/>
                  <a:gd name="T16" fmla="*/ 350 w 382"/>
                  <a:gd name="T17" fmla="*/ 349 h 386"/>
                  <a:gd name="T18" fmla="*/ 358 w 382"/>
                  <a:gd name="T19" fmla="*/ 339 h 386"/>
                  <a:gd name="T20" fmla="*/ 361 w 382"/>
                  <a:gd name="T21" fmla="*/ 326 h 386"/>
                  <a:gd name="T22" fmla="*/ 361 w 382"/>
                  <a:gd name="T23" fmla="*/ 312 h 386"/>
                  <a:gd name="T24" fmla="*/ 359 w 382"/>
                  <a:gd name="T25" fmla="*/ 296 h 386"/>
                  <a:gd name="T26" fmla="*/ 352 w 382"/>
                  <a:gd name="T27" fmla="*/ 277 h 386"/>
                  <a:gd name="T28" fmla="*/ 339 w 382"/>
                  <a:gd name="T29" fmla="*/ 230 h 386"/>
                  <a:gd name="T30" fmla="*/ 319 w 382"/>
                  <a:gd name="T31" fmla="*/ 158 h 386"/>
                  <a:gd name="T32" fmla="*/ 293 w 382"/>
                  <a:gd name="T33" fmla="*/ 69 h 386"/>
                  <a:gd name="T34" fmla="*/ 11 w 382"/>
                  <a:gd name="T35" fmla="*/ 22 h 386"/>
                  <a:gd name="T36" fmla="*/ 3 w 382"/>
                  <a:gd name="T37" fmla="*/ 17 h 386"/>
                  <a:gd name="T38" fmla="*/ 0 w 382"/>
                  <a:gd name="T39" fmla="*/ 10 h 386"/>
                  <a:gd name="T40" fmla="*/ 3 w 382"/>
                  <a:gd name="T41" fmla="*/ 2 h 386"/>
                  <a:gd name="T42" fmla="*/ 11 w 382"/>
                  <a:gd name="T43" fmla="*/ 0 h 386"/>
                  <a:gd name="T44" fmla="*/ 291 w 382"/>
                  <a:gd name="T45" fmla="*/ 0 h 386"/>
                  <a:gd name="T46" fmla="*/ 296 w 382"/>
                  <a:gd name="T47" fmla="*/ 4 h 386"/>
                  <a:gd name="T48" fmla="*/ 311 w 382"/>
                  <a:gd name="T49" fmla="*/ 56 h 386"/>
                  <a:gd name="T50" fmla="*/ 338 w 382"/>
                  <a:gd name="T51" fmla="*/ 147 h 386"/>
                  <a:gd name="T52" fmla="*/ 360 w 382"/>
                  <a:gd name="T53" fmla="*/ 223 h 386"/>
                  <a:gd name="T54" fmla="*/ 373 w 382"/>
                  <a:gd name="T55" fmla="*/ 270 h 386"/>
                  <a:gd name="T56" fmla="*/ 379 w 382"/>
                  <a:gd name="T57" fmla="*/ 292 h 386"/>
                  <a:gd name="T58" fmla="*/ 382 w 382"/>
                  <a:gd name="T59" fmla="*/ 313 h 386"/>
                  <a:gd name="T60" fmla="*/ 381 w 382"/>
                  <a:gd name="T61" fmla="*/ 333 h 386"/>
                  <a:gd name="T62" fmla="*/ 376 w 382"/>
                  <a:gd name="T63" fmla="*/ 349 h 386"/>
                  <a:gd name="T64" fmla="*/ 365 w 382"/>
                  <a:gd name="T65" fmla="*/ 363 h 386"/>
                  <a:gd name="T66" fmla="*/ 350 w 382"/>
                  <a:gd name="T67" fmla="*/ 375 h 386"/>
                  <a:gd name="T68" fmla="*/ 329 w 382"/>
                  <a:gd name="T69" fmla="*/ 382 h 386"/>
                  <a:gd name="T70" fmla="*/ 305 w 382"/>
                  <a:gd name="T71" fmla="*/ 386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82" h="386">
                    <a:moveTo>
                      <a:pt x="289" y="386"/>
                    </a:moveTo>
                    <a:lnTo>
                      <a:pt x="17" y="386"/>
                    </a:lnTo>
                    <a:lnTo>
                      <a:pt x="13" y="385"/>
                    </a:lnTo>
                    <a:lnTo>
                      <a:pt x="10" y="382"/>
                    </a:lnTo>
                    <a:lnTo>
                      <a:pt x="8" y="378"/>
                    </a:lnTo>
                    <a:lnTo>
                      <a:pt x="7" y="374"/>
                    </a:lnTo>
                    <a:lnTo>
                      <a:pt x="8" y="371"/>
                    </a:lnTo>
                    <a:lnTo>
                      <a:pt x="10" y="367"/>
                    </a:lnTo>
                    <a:lnTo>
                      <a:pt x="13" y="365"/>
                    </a:lnTo>
                    <a:lnTo>
                      <a:pt x="17" y="364"/>
                    </a:lnTo>
                    <a:lnTo>
                      <a:pt x="289" y="364"/>
                    </a:lnTo>
                    <a:lnTo>
                      <a:pt x="301" y="364"/>
                    </a:lnTo>
                    <a:lnTo>
                      <a:pt x="312" y="363"/>
                    </a:lnTo>
                    <a:lnTo>
                      <a:pt x="322" y="362"/>
                    </a:lnTo>
                    <a:lnTo>
                      <a:pt x="331" y="360"/>
                    </a:lnTo>
                    <a:lnTo>
                      <a:pt x="338" y="356"/>
                    </a:lnTo>
                    <a:lnTo>
                      <a:pt x="345" y="353"/>
                    </a:lnTo>
                    <a:lnTo>
                      <a:pt x="350" y="349"/>
                    </a:lnTo>
                    <a:lnTo>
                      <a:pt x="354" y="345"/>
                    </a:lnTo>
                    <a:lnTo>
                      <a:pt x="358" y="339"/>
                    </a:lnTo>
                    <a:lnTo>
                      <a:pt x="360" y="333"/>
                    </a:lnTo>
                    <a:lnTo>
                      <a:pt x="361" y="326"/>
                    </a:lnTo>
                    <a:lnTo>
                      <a:pt x="362" y="320"/>
                    </a:lnTo>
                    <a:lnTo>
                      <a:pt x="361" y="312"/>
                    </a:lnTo>
                    <a:lnTo>
                      <a:pt x="360" y="305"/>
                    </a:lnTo>
                    <a:lnTo>
                      <a:pt x="359" y="296"/>
                    </a:lnTo>
                    <a:lnTo>
                      <a:pt x="355" y="286"/>
                    </a:lnTo>
                    <a:lnTo>
                      <a:pt x="352" y="277"/>
                    </a:lnTo>
                    <a:lnTo>
                      <a:pt x="347" y="257"/>
                    </a:lnTo>
                    <a:lnTo>
                      <a:pt x="339" y="230"/>
                    </a:lnTo>
                    <a:lnTo>
                      <a:pt x="329" y="197"/>
                    </a:lnTo>
                    <a:lnTo>
                      <a:pt x="319" y="158"/>
                    </a:lnTo>
                    <a:lnTo>
                      <a:pt x="306" y="115"/>
                    </a:lnTo>
                    <a:lnTo>
                      <a:pt x="293" y="69"/>
                    </a:lnTo>
                    <a:lnTo>
                      <a:pt x="280" y="22"/>
                    </a:lnTo>
                    <a:lnTo>
                      <a:pt x="11" y="22"/>
                    </a:lnTo>
                    <a:lnTo>
                      <a:pt x="7" y="21"/>
                    </a:lnTo>
                    <a:lnTo>
                      <a:pt x="3" y="17"/>
                    </a:lnTo>
                    <a:lnTo>
                      <a:pt x="1" y="14"/>
                    </a:lnTo>
                    <a:lnTo>
                      <a:pt x="0" y="10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287" y="0"/>
                    </a:lnTo>
                    <a:lnTo>
                      <a:pt x="291" y="0"/>
                    </a:lnTo>
                    <a:lnTo>
                      <a:pt x="294" y="2"/>
                    </a:lnTo>
                    <a:lnTo>
                      <a:pt x="296" y="4"/>
                    </a:lnTo>
                    <a:lnTo>
                      <a:pt x="297" y="8"/>
                    </a:lnTo>
                    <a:lnTo>
                      <a:pt x="311" y="56"/>
                    </a:lnTo>
                    <a:lnTo>
                      <a:pt x="325" y="103"/>
                    </a:lnTo>
                    <a:lnTo>
                      <a:pt x="338" y="147"/>
                    </a:lnTo>
                    <a:lnTo>
                      <a:pt x="349" y="187"/>
                    </a:lnTo>
                    <a:lnTo>
                      <a:pt x="360" y="223"/>
                    </a:lnTo>
                    <a:lnTo>
                      <a:pt x="367" y="251"/>
                    </a:lnTo>
                    <a:lnTo>
                      <a:pt x="373" y="270"/>
                    </a:lnTo>
                    <a:lnTo>
                      <a:pt x="376" y="281"/>
                    </a:lnTo>
                    <a:lnTo>
                      <a:pt x="379" y="292"/>
                    </a:lnTo>
                    <a:lnTo>
                      <a:pt x="381" y="304"/>
                    </a:lnTo>
                    <a:lnTo>
                      <a:pt x="382" y="313"/>
                    </a:lnTo>
                    <a:lnTo>
                      <a:pt x="382" y="324"/>
                    </a:lnTo>
                    <a:lnTo>
                      <a:pt x="381" y="333"/>
                    </a:lnTo>
                    <a:lnTo>
                      <a:pt x="379" y="341"/>
                    </a:lnTo>
                    <a:lnTo>
                      <a:pt x="376" y="349"/>
                    </a:lnTo>
                    <a:lnTo>
                      <a:pt x="372" y="356"/>
                    </a:lnTo>
                    <a:lnTo>
                      <a:pt x="365" y="363"/>
                    </a:lnTo>
                    <a:lnTo>
                      <a:pt x="359" y="369"/>
                    </a:lnTo>
                    <a:lnTo>
                      <a:pt x="350" y="375"/>
                    </a:lnTo>
                    <a:lnTo>
                      <a:pt x="340" y="379"/>
                    </a:lnTo>
                    <a:lnTo>
                      <a:pt x="329" y="382"/>
                    </a:lnTo>
                    <a:lnTo>
                      <a:pt x="318" y="385"/>
                    </a:lnTo>
                    <a:lnTo>
                      <a:pt x="305" y="386"/>
                    </a:lnTo>
                    <a:lnTo>
                      <a:pt x="289" y="386"/>
                    </a:lnTo>
                    <a:close/>
                  </a:path>
                </a:pathLst>
              </a:custGeom>
              <a:solidFill>
                <a:srgbClr val="0070BA"/>
              </a:solidFill>
              <a:ln w="9525">
                <a:solidFill>
                  <a:srgbClr val="EF6213"/>
                </a:solidFill>
                <a:round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Freeform 59"/>
              <p:cNvSpPr>
                <a:spLocks noEditPoints="1"/>
              </p:cNvSpPr>
              <p:nvPr/>
            </p:nvSpPr>
            <p:spPr bwMode="auto">
              <a:xfrm>
                <a:off x="1181101" y="2238375"/>
                <a:ext cx="188913" cy="347663"/>
              </a:xfrm>
              <a:custGeom>
                <a:avLst/>
                <a:gdLst>
                  <a:gd name="T0" fmla="*/ 81 w 476"/>
                  <a:gd name="T1" fmla="*/ 709 h 873"/>
                  <a:gd name="T2" fmla="*/ 93 w 476"/>
                  <a:gd name="T3" fmla="*/ 755 h 873"/>
                  <a:gd name="T4" fmla="*/ 117 w 476"/>
                  <a:gd name="T5" fmla="*/ 795 h 873"/>
                  <a:gd name="T6" fmla="*/ 150 w 476"/>
                  <a:gd name="T7" fmla="*/ 825 h 873"/>
                  <a:gd name="T8" fmla="*/ 191 w 476"/>
                  <a:gd name="T9" fmla="*/ 846 h 873"/>
                  <a:gd name="T10" fmla="*/ 238 w 476"/>
                  <a:gd name="T11" fmla="*/ 852 h 873"/>
                  <a:gd name="T12" fmla="*/ 285 w 476"/>
                  <a:gd name="T13" fmla="*/ 846 h 873"/>
                  <a:gd name="T14" fmla="*/ 326 w 476"/>
                  <a:gd name="T15" fmla="*/ 825 h 873"/>
                  <a:gd name="T16" fmla="*/ 360 w 476"/>
                  <a:gd name="T17" fmla="*/ 795 h 873"/>
                  <a:gd name="T18" fmla="*/ 384 w 476"/>
                  <a:gd name="T19" fmla="*/ 755 h 873"/>
                  <a:gd name="T20" fmla="*/ 395 w 476"/>
                  <a:gd name="T21" fmla="*/ 709 h 873"/>
                  <a:gd name="T22" fmla="*/ 80 w 476"/>
                  <a:gd name="T23" fmla="*/ 118 h 873"/>
                  <a:gd name="T24" fmla="*/ 44 w 476"/>
                  <a:gd name="T25" fmla="*/ 25 h 873"/>
                  <a:gd name="T26" fmla="*/ 27 w 476"/>
                  <a:gd name="T27" fmla="*/ 38 h 873"/>
                  <a:gd name="T28" fmla="*/ 21 w 476"/>
                  <a:gd name="T29" fmla="*/ 59 h 873"/>
                  <a:gd name="T30" fmla="*/ 27 w 476"/>
                  <a:gd name="T31" fmla="*/ 80 h 873"/>
                  <a:gd name="T32" fmla="*/ 44 w 476"/>
                  <a:gd name="T33" fmla="*/ 93 h 873"/>
                  <a:gd name="T34" fmla="*/ 70 w 476"/>
                  <a:gd name="T35" fmla="*/ 95 h 873"/>
                  <a:gd name="T36" fmla="*/ 426 w 476"/>
                  <a:gd name="T37" fmla="*/ 95 h 873"/>
                  <a:gd name="T38" fmla="*/ 444 w 476"/>
                  <a:gd name="T39" fmla="*/ 85 h 873"/>
                  <a:gd name="T40" fmla="*/ 455 w 476"/>
                  <a:gd name="T41" fmla="*/ 67 h 873"/>
                  <a:gd name="T42" fmla="*/ 453 w 476"/>
                  <a:gd name="T43" fmla="*/ 44 h 873"/>
                  <a:gd name="T44" fmla="*/ 439 w 476"/>
                  <a:gd name="T45" fmla="*/ 28 h 873"/>
                  <a:gd name="T46" fmla="*/ 418 w 476"/>
                  <a:gd name="T47" fmla="*/ 22 h 873"/>
                  <a:gd name="T48" fmla="*/ 417 w 476"/>
                  <a:gd name="T49" fmla="*/ 118 h 873"/>
                  <a:gd name="T50" fmla="*/ 414 w 476"/>
                  <a:gd name="T51" fmla="*/ 729 h 873"/>
                  <a:gd name="T52" fmla="*/ 395 w 476"/>
                  <a:gd name="T53" fmla="*/ 779 h 873"/>
                  <a:gd name="T54" fmla="*/ 365 w 476"/>
                  <a:gd name="T55" fmla="*/ 820 h 873"/>
                  <a:gd name="T56" fmla="*/ 323 w 476"/>
                  <a:gd name="T57" fmla="*/ 851 h 873"/>
                  <a:gd name="T58" fmla="*/ 274 w 476"/>
                  <a:gd name="T59" fmla="*/ 868 h 873"/>
                  <a:gd name="T60" fmla="*/ 219 w 476"/>
                  <a:gd name="T61" fmla="*/ 871 h 873"/>
                  <a:gd name="T62" fmla="*/ 169 w 476"/>
                  <a:gd name="T63" fmla="*/ 859 h 873"/>
                  <a:gd name="T64" fmla="*/ 124 w 476"/>
                  <a:gd name="T65" fmla="*/ 832 h 873"/>
                  <a:gd name="T66" fmla="*/ 90 w 476"/>
                  <a:gd name="T67" fmla="*/ 794 h 873"/>
                  <a:gd name="T68" fmla="*/ 67 w 476"/>
                  <a:gd name="T69" fmla="*/ 746 h 873"/>
                  <a:gd name="T70" fmla="*/ 60 w 476"/>
                  <a:gd name="T71" fmla="*/ 693 h 873"/>
                  <a:gd name="T72" fmla="*/ 53 w 476"/>
                  <a:gd name="T73" fmla="*/ 117 h 873"/>
                  <a:gd name="T74" fmla="*/ 36 w 476"/>
                  <a:gd name="T75" fmla="*/ 113 h 873"/>
                  <a:gd name="T76" fmla="*/ 13 w 476"/>
                  <a:gd name="T77" fmla="*/ 96 h 873"/>
                  <a:gd name="T78" fmla="*/ 4 w 476"/>
                  <a:gd name="T79" fmla="*/ 82 h 873"/>
                  <a:gd name="T80" fmla="*/ 0 w 476"/>
                  <a:gd name="T81" fmla="*/ 66 h 873"/>
                  <a:gd name="T82" fmla="*/ 1 w 476"/>
                  <a:gd name="T83" fmla="*/ 47 h 873"/>
                  <a:gd name="T84" fmla="*/ 10 w 476"/>
                  <a:gd name="T85" fmla="*/ 27 h 873"/>
                  <a:gd name="T86" fmla="*/ 26 w 476"/>
                  <a:gd name="T87" fmla="*/ 11 h 873"/>
                  <a:gd name="T88" fmla="*/ 41 w 476"/>
                  <a:gd name="T89" fmla="*/ 2 h 873"/>
                  <a:gd name="T90" fmla="*/ 58 w 476"/>
                  <a:gd name="T91" fmla="*/ 0 h 873"/>
                  <a:gd name="T92" fmla="*/ 430 w 476"/>
                  <a:gd name="T93" fmla="*/ 1 h 873"/>
                  <a:gd name="T94" fmla="*/ 445 w 476"/>
                  <a:gd name="T95" fmla="*/ 7 h 873"/>
                  <a:gd name="T96" fmla="*/ 459 w 476"/>
                  <a:gd name="T97" fmla="*/ 17 h 873"/>
                  <a:gd name="T98" fmla="*/ 473 w 476"/>
                  <a:gd name="T99" fmla="*/ 42 h 873"/>
                  <a:gd name="T100" fmla="*/ 476 w 476"/>
                  <a:gd name="T101" fmla="*/ 59 h 873"/>
                  <a:gd name="T102" fmla="*/ 473 w 476"/>
                  <a:gd name="T103" fmla="*/ 77 h 873"/>
                  <a:gd name="T104" fmla="*/ 467 w 476"/>
                  <a:gd name="T105" fmla="*/ 92 h 873"/>
                  <a:gd name="T106" fmla="*/ 450 w 476"/>
                  <a:gd name="T107" fmla="*/ 108 h 873"/>
                  <a:gd name="T108" fmla="*/ 430 w 476"/>
                  <a:gd name="T109" fmla="*/ 117 h 8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76" h="873">
                    <a:moveTo>
                      <a:pt x="80" y="118"/>
                    </a:moveTo>
                    <a:lnTo>
                      <a:pt x="80" y="693"/>
                    </a:lnTo>
                    <a:lnTo>
                      <a:pt x="81" y="709"/>
                    </a:lnTo>
                    <a:lnTo>
                      <a:pt x="83" y="725"/>
                    </a:lnTo>
                    <a:lnTo>
                      <a:pt x="88" y="741"/>
                    </a:lnTo>
                    <a:lnTo>
                      <a:pt x="93" y="755"/>
                    </a:lnTo>
                    <a:lnTo>
                      <a:pt x="100" y="769"/>
                    </a:lnTo>
                    <a:lnTo>
                      <a:pt x="107" y="782"/>
                    </a:lnTo>
                    <a:lnTo>
                      <a:pt x="117" y="795"/>
                    </a:lnTo>
                    <a:lnTo>
                      <a:pt x="127" y="806"/>
                    </a:lnTo>
                    <a:lnTo>
                      <a:pt x="137" y="816"/>
                    </a:lnTo>
                    <a:lnTo>
                      <a:pt x="150" y="825"/>
                    </a:lnTo>
                    <a:lnTo>
                      <a:pt x="163" y="833"/>
                    </a:lnTo>
                    <a:lnTo>
                      <a:pt x="177" y="840"/>
                    </a:lnTo>
                    <a:lnTo>
                      <a:pt x="191" y="846"/>
                    </a:lnTo>
                    <a:lnTo>
                      <a:pt x="206" y="849"/>
                    </a:lnTo>
                    <a:lnTo>
                      <a:pt x="222" y="852"/>
                    </a:lnTo>
                    <a:lnTo>
                      <a:pt x="238" y="852"/>
                    </a:lnTo>
                    <a:lnTo>
                      <a:pt x="254" y="852"/>
                    </a:lnTo>
                    <a:lnTo>
                      <a:pt x="270" y="849"/>
                    </a:lnTo>
                    <a:lnTo>
                      <a:pt x="285" y="846"/>
                    </a:lnTo>
                    <a:lnTo>
                      <a:pt x="299" y="840"/>
                    </a:lnTo>
                    <a:lnTo>
                      <a:pt x="313" y="833"/>
                    </a:lnTo>
                    <a:lnTo>
                      <a:pt x="326" y="825"/>
                    </a:lnTo>
                    <a:lnTo>
                      <a:pt x="338" y="816"/>
                    </a:lnTo>
                    <a:lnTo>
                      <a:pt x="350" y="806"/>
                    </a:lnTo>
                    <a:lnTo>
                      <a:pt x="360" y="795"/>
                    </a:lnTo>
                    <a:lnTo>
                      <a:pt x="368" y="782"/>
                    </a:lnTo>
                    <a:lnTo>
                      <a:pt x="377" y="769"/>
                    </a:lnTo>
                    <a:lnTo>
                      <a:pt x="384" y="755"/>
                    </a:lnTo>
                    <a:lnTo>
                      <a:pt x="389" y="741"/>
                    </a:lnTo>
                    <a:lnTo>
                      <a:pt x="392" y="725"/>
                    </a:lnTo>
                    <a:lnTo>
                      <a:pt x="395" y="709"/>
                    </a:lnTo>
                    <a:lnTo>
                      <a:pt x="395" y="693"/>
                    </a:lnTo>
                    <a:lnTo>
                      <a:pt x="395" y="118"/>
                    </a:lnTo>
                    <a:lnTo>
                      <a:pt x="80" y="118"/>
                    </a:lnTo>
                    <a:close/>
                    <a:moveTo>
                      <a:pt x="58" y="22"/>
                    </a:moveTo>
                    <a:lnTo>
                      <a:pt x="51" y="23"/>
                    </a:lnTo>
                    <a:lnTo>
                      <a:pt x="44" y="25"/>
                    </a:lnTo>
                    <a:lnTo>
                      <a:pt x="38" y="28"/>
                    </a:lnTo>
                    <a:lnTo>
                      <a:pt x="33" y="32"/>
                    </a:lnTo>
                    <a:lnTo>
                      <a:pt x="27" y="38"/>
                    </a:lnTo>
                    <a:lnTo>
                      <a:pt x="24" y="44"/>
                    </a:lnTo>
                    <a:lnTo>
                      <a:pt x="22" y="52"/>
                    </a:lnTo>
                    <a:lnTo>
                      <a:pt x="21" y="59"/>
                    </a:lnTo>
                    <a:lnTo>
                      <a:pt x="22" y="67"/>
                    </a:lnTo>
                    <a:lnTo>
                      <a:pt x="24" y="73"/>
                    </a:lnTo>
                    <a:lnTo>
                      <a:pt x="27" y="80"/>
                    </a:lnTo>
                    <a:lnTo>
                      <a:pt x="33" y="85"/>
                    </a:lnTo>
                    <a:lnTo>
                      <a:pt x="38" y="90"/>
                    </a:lnTo>
                    <a:lnTo>
                      <a:pt x="44" y="93"/>
                    </a:lnTo>
                    <a:lnTo>
                      <a:pt x="51" y="95"/>
                    </a:lnTo>
                    <a:lnTo>
                      <a:pt x="58" y="95"/>
                    </a:lnTo>
                    <a:lnTo>
                      <a:pt x="70" y="95"/>
                    </a:lnTo>
                    <a:lnTo>
                      <a:pt x="407" y="95"/>
                    </a:lnTo>
                    <a:lnTo>
                      <a:pt x="418" y="95"/>
                    </a:lnTo>
                    <a:lnTo>
                      <a:pt x="426" y="95"/>
                    </a:lnTo>
                    <a:lnTo>
                      <a:pt x="432" y="93"/>
                    </a:lnTo>
                    <a:lnTo>
                      <a:pt x="439" y="90"/>
                    </a:lnTo>
                    <a:lnTo>
                      <a:pt x="444" y="85"/>
                    </a:lnTo>
                    <a:lnTo>
                      <a:pt x="448" y="80"/>
                    </a:lnTo>
                    <a:lnTo>
                      <a:pt x="453" y="73"/>
                    </a:lnTo>
                    <a:lnTo>
                      <a:pt x="455" y="67"/>
                    </a:lnTo>
                    <a:lnTo>
                      <a:pt x="455" y="59"/>
                    </a:lnTo>
                    <a:lnTo>
                      <a:pt x="455" y="52"/>
                    </a:lnTo>
                    <a:lnTo>
                      <a:pt x="453" y="44"/>
                    </a:lnTo>
                    <a:lnTo>
                      <a:pt x="448" y="38"/>
                    </a:lnTo>
                    <a:lnTo>
                      <a:pt x="444" y="32"/>
                    </a:lnTo>
                    <a:lnTo>
                      <a:pt x="439" y="28"/>
                    </a:lnTo>
                    <a:lnTo>
                      <a:pt x="432" y="25"/>
                    </a:lnTo>
                    <a:lnTo>
                      <a:pt x="426" y="23"/>
                    </a:lnTo>
                    <a:lnTo>
                      <a:pt x="418" y="22"/>
                    </a:lnTo>
                    <a:lnTo>
                      <a:pt x="58" y="22"/>
                    </a:lnTo>
                    <a:close/>
                    <a:moveTo>
                      <a:pt x="418" y="118"/>
                    </a:moveTo>
                    <a:lnTo>
                      <a:pt x="417" y="118"/>
                    </a:lnTo>
                    <a:lnTo>
                      <a:pt x="417" y="693"/>
                    </a:lnTo>
                    <a:lnTo>
                      <a:pt x="416" y="712"/>
                    </a:lnTo>
                    <a:lnTo>
                      <a:pt x="414" y="729"/>
                    </a:lnTo>
                    <a:lnTo>
                      <a:pt x="409" y="746"/>
                    </a:lnTo>
                    <a:lnTo>
                      <a:pt x="403" y="763"/>
                    </a:lnTo>
                    <a:lnTo>
                      <a:pt x="395" y="779"/>
                    </a:lnTo>
                    <a:lnTo>
                      <a:pt x="387" y="794"/>
                    </a:lnTo>
                    <a:lnTo>
                      <a:pt x="376" y="808"/>
                    </a:lnTo>
                    <a:lnTo>
                      <a:pt x="365" y="820"/>
                    </a:lnTo>
                    <a:lnTo>
                      <a:pt x="352" y="832"/>
                    </a:lnTo>
                    <a:lnTo>
                      <a:pt x="338" y="842"/>
                    </a:lnTo>
                    <a:lnTo>
                      <a:pt x="323" y="851"/>
                    </a:lnTo>
                    <a:lnTo>
                      <a:pt x="308" y="859"/>
                    </a:lnTo>
                    <a:lnTo>
                      <a:pt x="292" y="864"/>
                    </a:lnTo>
                    <a:lnTo>
                      <a:pt x="274" y="868"/>
                    </a:lnTo>
                    <a:lnTo>
                      <a:pt x="256" y="871"/>
                    </a:lnTo>
                    <a:lnTo>
                      <a:pt x="238" y="873"/>
                    </a:lnTo>
                    <a:lnTo>
                      <a:pt x="219" y="871"/>
                    </a:lnTo>
                    <a:lnTo>
                      <a:pt x="202" y="868"/>
                    </a:lnTo>
                    <a:lnTo>
                      <a:pt x="185" y="864"/>
                    </a:lnTo>
                    <a:lnTo>
                      <a:pt x="169" y="859"/>
                    </a:lnTo>
                    <a:lnTo>
                      <a:pt x="152" y="851"/>
                    </a:lnTo>
                    <a:lnTo>
                      <a:pt x="138" y="842"/>
                    </a:lnTo>
                    <a:lnTo>
                      <a:pt x="124" y="832"/>
                    </a:lnTo>
                    <a:lnTo>
                      <a:pt x="111" y="820"/>
                    </a:lnTo>
                    <a:lnTo>
                      <a:pt x="101" y="808"/>
                    </a:lnTo>
                    <a:lnTo>
                      <a:pt x="90" y="794"/>
                    </a:lnTo>
                    <a:lnTo>
                      <a:pt x="81" y="779"/>
                    </a:lnTo>
                    <a:lnTo>
                      <a:pt x="74" y="763"/>
                    </a:lnTo>
                    <a:lnTo>
                      <a:pt x="67" y="746"/>
                    </a:lnTo>
                    <a:lnTo>
                      <a:pt x="63" y="729"/>
                    </a:lnTo>
                    <a:lnTo>
                      <a:pt x="60" y="712"/>
                    </a:lnTo>
                    <a:lnTo>
                      <a:pt x="60" y="693"/>
                    </a:lnTo>
                    <a:lnTo>
                      <a:pt x="60" y="118"/>
                    </a:lnTo>
                    <a:lnTo>
                      <a:pt x="58" y="118"/>
                    </a:lnTo>
                    <a:lnTo>
                      <a:pt x="53" y="117"/>
                    </a:lnTo>
                    <a:lnTo>
                      <a:pt x="47" y="117"/>
                    </a:lnTo>
                    <a:lnTo>
                      <a:pt x="41" y="114"/>
                    </a:lnTo>
                    <a:lnTo>
                      <a:pt x="36" y="113"/>
                    </a:lnTo>
                    <a:lnTo>
                      <a:pt x="26" y="108"/>
                    </a:lnTo>
                    <a:lnTo>
                      <a:pt x="17" y="100"/>
                    </a:lnTo>
                    <a:lnTo>
                      <a:pt x="13" y="96"/>
                    </a:lnTo>
                    <a:lnTo>
                      <a:pt x="10" y="92"/>
                    </a:lnTo>
                    <a:lnTo>
                      <a:pt x="7" y="87"/>
                    </a:lnTo>
                    <a:lnTo>
                      <a:pt x="4" y="82"/>
                    </a:lnTo>
                    <a:lnTo>
                      <a:pt x="2" y="77"/>
                    </a:lnTo>
                    <a:lnTo>
                      <a:pt x="1" y="71"/>
                    </a:lnTo>
                    <a:lnTo>
                      <a:pt x="0" y="66"/>
                    </a:lnTo>
                    <a:lnTo>
                      <a:pt x="0" y="59"/>
                    </a:lnTo>
                    <a:lnTo>
                      <a:pt x="0" y="54"/>
                    </a:lnTo>
                    <a:lnTo>
                      <a:pt x="1" y="47"/>
                    </a:lnTo>
                    <a:lnTo>
                      <a:pt x="2" y="42"/>
                    </a:lnTo>
                    <a:lnTo>
                      <a:pt x="4" y="37"/>
                    </a:lnTo>
                    <a:lnTo>
                      <a:pt x="10" y="27"/>
                    </a:lnTo>
                    <a:lnTo>
                      <a:pt x="17" y="17"/>
                    </a:lnTo>
                    <a:lnTo>
                      <a:pt x="22" y="14"/>
                    </a:lnTo>
                    <a:lnTo>
                      <a:pt x="26" y="11"/>
                    </a:lnTo>
                    <a:lnTo>
                      <a:pt x="30" y="7"/>
                    </a:lnTo>
                    <a:lnTo>
                      <a:pt x="36" y="4"/>
                    </a:lnTo>
                    <a:lnTo>
                      <a:pt x="41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8" y="0"/>
                    </a:lnTo>
                    <a:lnTo>
                      <a:pt x="418" y="0"/>
                    </a:lnTo>
                    <a:lnTo>
                      <a:pt x="423" y="0"/>
                    </a:lnTo>
                    <a:lnTo>
                      <a:pt x="430" y="1"/>
                    </a:lnTo>
                    <a:lnTo>
                      <a:pt x="435" y="2"/>
                    </a:lnTo>
                    <a:lnTo>
                      <a:pt x="441" y="4"/>
                    </a:lnTo>
                    <a:lnTo>
                      <a:pt x="445" y="7"/>
                    </a:lnTo>
                    <a:lnTo>
                      <a:pt x="450" y="11"/>
                    </a:lnTo>
                    <a:lnTo>
                      <a:pt x="455" y="14"/>
                    </a:lnTo>
                    <a:lnTo>
                      <a:pt x="459" y="17"/>
                    </a:lnTo>
                    <a:lnTo>
                      <a:pt x="467" y="27"/>
                    </a:lnTo>
                    <a:lnTo>
                      <a:pt x="472" y="37"/>
                    </a:lnTo>
                    <a:lnTo>
                      <a:pt x="473" y="42"/>
                    </a:lnTo>
                    <a:lnTo>
                      <a:pt x="475" y="47"/>
                    </a:lnTo>
                    <a:lnTo>
                      <a:pt x="476" y="54"/>
                    </a:lnTo>
                    <a:lnTo>
                      <a:pt x="476" y="59"/>
                    </a:lnTo>
                    <a:lnTo>
                      <a:pt x="476" y="66"/>
                    </a:lnTo>
                    <a:lnTo>
                      <a:pt x="475" y="71"/>
                    </a:lnTo>
                    <a:lnTo>
                      <a:pt x="473" y="77"/>
                    </a:lnTo>
                    <a:lnTo>
                      <a:pt x="472" y="82"/>
                    </a:lnTo>
                    <a:lnTo>
                      <a:pt x="469" y="87"/>
                    </a:lnTo>
                    <a:lnTo>
                      <a:pt x="467" y="92"/>
                    </a:lnTo>
                    <a:lnTo>
                      <a:pt x="462" y="96"/>
                    </a:lnTo>
                    <a:lnTo>
                      <a:pt x="459" y="100"/>
                    </a:lnTo>
                    <a:lnTo>
                      <a:pt x="450" y="108"/>
                    </a:lnTo>
                    <a:lnTo>
                      <a:pt x="441" y="113"/>
                    </a:lnTo>
                    <a:lnTo>
                      <a:pt x="435" y="114"/>
                    </a:lnTo>
                    <a:lnTo>
                      <a:pt x="430" y="117"/>
                    </a:lnTo>
                    <a:lnTo>
                      <a:pt x="423" y="117"/>
                    </a:lnTo>
                    <a:lnTo>
                      <a:pt x="418" y="118"/>
                    </a:lnTo>
                    <a:close/>
                  </a:path>
                </a:pathLst>
              </a:custGeom>
              <a:solidFill>
                <a:srgbClr val="004077"/>
              </a:solidFill>
              <a:ln w="9525">
                <a:solidFill>
                  <a:srgbClr val="EF6213"/>
                </a:solidFill>
                <a:round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 60"/>
              <p:cNvSpPr>
                <a:spLocks noEditPoints="1"/>
              </p:cNvSpPr>
              <p:nvPr/>
            </p:nvSpPr>
            <p:spPr bwMode="auto">
              <a:xfrm>
                <a:off x="1220788" y="2335213"/>
                <a:ext cx="107950" cy="228600"/>
              </a:xfrm>
              <a:custGeom>
                <a:avLst/>
                <a:gdLst>
                  <a:gd name="T0" fmla="*/ 20 w 269"/>
                  <a:gd name="T1" fmla="*/ 444 h 578"/>
                  <a:gd name="T2" fmla="*/ 23 w 269"/>
                  <a:gd name="T3" fmla="*/ 466 h 578"/>
                  <a:gd name="T4" fmla="*/ 29 w 269"/>
                  <a:gd name="T5" fmla="*/ 488 h 578"/>
                  <a:gd name="T6" fmla="*/ 40 w 269"/>
                  <a:gd name="T7" fmla="*/ 507 h 578"/>
                  <a:gd name="T8" fmla="*/ 54 w 269"/>
                  <a:gd name="T9" fmla="*/ 524 h 578"/>
                  <a:gd name="T10" fmla="*/ 71 w 269"/>
                  <a:gd name="T11" fmla="*/ 538 h 578"/>
                  <a:gd name="T12" fmla="*/ 89 w 269"/>
                  <a:gd name="T13" fmla="*/ 548 h 578"/>
                  <a:gd name="T14" fmla="*/ 111 w 269"/>
                  <a:gd name="T15" fmla="*/ 555 h 578"/>
                  <a:gd name="T16" fmla="*/ 134 w 269"/>
                  <a:gd name="T17" fmla="*/ 558 h 578"/>
                  <a:gd name="T18" fmla="*/ 156 w 269"/>
                  <a:gd name="T19" fmla="*/ 555 h 578"/>
                  <a:gd name="T20" fmla="*/ 178 w 269"/>
                  <a:gd name="T21" fmla="*/ 548 h 578"/>
                  <a:gd name="T22" fmla="*/ 197 w 269"/>
                  <a:gd name="T23" fmla="*/ 538 h 578"/>
                  <a:gd name="T24" fmla="*/ 215 w 269"/>
                  <a:gd name="T25" fmla="*/ 524 h 578"/>
                  <a:gd name="T26" fmla="*/ 228 w 269"/>
                  <a:gd name="T27" fmla="*/ 507 h 578"/>
                  <a:gd name="T28" fmla="*/ 238 w 269"/>
                  <a:gd name="T29" fmla="*/ 488 h 578"/>
                  <a:gd name="T30" fmla="*/ 245 w 269"/>
                  <a:gd name="T31" fmla="*/ 466 h 578"/>
                  <a:gd name="T32" fmla="*/ 247 w 269"/>
                  <a:gd name="T33" fmla="*/ 444 h 578"/>
                  <a:gd name="T34" fmla="*/ 20 w 269"/>
                  <a:gd name="T35" fmla="*/ 21 h 578"/>
                  <a:gd name="T36" fmla="*/ 121 w 269"/>
                  <a:gd name="T37" fmla="*/ 576 h 578"/>
                  <a:gd name="T38" fmla="*/ 94 w 269"/>
                  <a:gd name="T39" fmla="*/ 571 h 578"/>
                  <a:gd name="T40" fmla="*/ 70 w 269"/>
                  <a:gd name="T41" fmla="*/ 561 h 578"/>
                  <a:gd name="T42" fmla="*/ 48 w 269"/>
                  <a:gd name="T43" fmla="*/ 547 h 578"/>
                  <a:gd name="T44" fmla="*/ 30 w 269"/>
                  <a:gd name="T45" fmla="*/ 529 h 578"/>
                  <a:gd name="T46" fmla="*/ 16 w 269"/>
                  <a:gd name="T47" fmla="*/ 507 h 578"/>
                  <a:gd name="T48" fmla="*/ 5 w 269"/>
                  <a:gd name="T49" fmla="*/ 484 h 578"/>
                  <a:gd name="T50" fmla="*/ 0 w 269"/>
                  <a:gd name="T51" fmla="*/ 458 h 578"/>
                  <a:gd name="T52" fmla="*/ 0 w 269"/>
                  <a:gd name="T53" fmla="*/ 12 h 578"/>
                  <a:gd name="T54" fmla="*/ 2 w 269"/>
                  <a:gd name="T55" fmla="*/ 4 h 578"/>
                  <a:gd name="T56" fmla="*/ 10 w 269"/>
                  <a:gd name="T57" fmla="*/ 0 h 578"/>
                  <a:gd name="T58" fmla="*/ 262 w 269"/>
                  <a:gd name="T59" fmla="*/ 1 h 578"/>
                  <a:gd name="T60" fmla="*/ 268 w 269"/>
                  <a:gd name="T61" fmla="*/ 7 h 578"/>
                  <a:gd name="T62" fmla="*/ 269 w 269"/>
                  <a:gd name="T63" fmla="*/ 444 h 578"/>
                  <a:gd name="T64" fmla="*/ 267 w 269"/>
                  <a:gd name="T65" fmla="*/ 471 h 578"/>
                  <a:gd name="T66" fmla="*/ 258 w 269"/>
                  <a:gd name="T67" fmla="*/ 497 h 578"/>
                  <a:gd name="T68" fmla="*/ 246 w 269"/>
                  <a:gd name="T69" fmla="*/ 519 h 578"/>
                  <a:gd name="T70" fmla="*/ 230 w 269"/>
                  <a:gd name="T71" fmla="*/ 539 h 578"/>
                  <a:gd name="T72" fmla="*/ 209 w 269"/>
                  <a:gd name="T73" fmla="*/ 555 h 578"/>
                  <a:gd name="T74" fmla="*/ 187 w 269"/>
                  <a:gd name="T75" fmla="*/ 567 h 578"/>
                  <a:gd name="T76" fmla="*/ 161 w 269"/>
                  <a:gd name="T77" fmla="*/ 575 h 578"/>
                  <a:gd name="T78" fmla="*/ 134 w 269"/>
                  <a:gd name="T79" fmla="*/ 578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69" h="578">
                    <a:moveTo>
                      <a:pt x="20" y="21"/>
                    </a:moveTo>
                    <a:lnTo>
                      <a:pt x="20" y="444"/>
                    </a:lnTo>
                    <a:lnTo>
                      <a:pt x="21" y="456"/>
                    </a:lnTo>
                    <a:lnTo>
                      <a:pt x="23" y="466"/>
                    </a:lnTo>
                    <a:lnTo>
                      <a:pt x="26" y="477"/>
                    </a:lnTo>
                    <a:lnTo>
                      <a:pt x="29" y="488"/>
                    </a:lnTo>
                    <a:lnTo>
                      <a:pt x="34" y="498"/>
                    </a:lnTo>
                    <a:lnTo>
                      <a:pt x="40" y="507"/>
                    </a:lnTo>
                    <a:lnTo>
                      <a:pt x="46" y="516"/>
                    </a:lnTo>
                    <a:lnTo>
                      <a:pt x="54" y="524"/>
                    </a:lnTo>
                    <a:lnTo>
                      <a:pt x="61" y="531"/>
                    </a:lnTo>
                    <a:lnTo>
                      <a:pt x="71" y="538"/>
                    </a:lnTo>
                    <a:lnTo>
                      <a:pt x="80" y="544"/>
                    </a:lnTo>
                    <a:lnTo>
                      <a:pt x="89" y="548"/>
                    </a:lnTo>
                    <a:lnTo>
                      <a:pt x="100" y="553"/>
                    </a:lnTo>
                    <a:lnTo>
                      <a:pt x="111" y="555"/>
                    </a:lnTo>
                    <a:lnTo>
                      <a:pt x="123" y="557"/>
                    </a:lnTo>
                    <a:lnTo>
                      <a:pt x="134" y="558"/>
                    </a:lnTo>
                    <a:lnTo>
                      <a:pt x="146" y="557"/>
                    </a:lnTo>
                    <a:lnTo>
                      <a:pt x="156" y="555"/>
                    </a:lnTo>
                    <a:lnTo>
                      <a:pt x="168" y="553"/>
                    </a:lnTo>
                    <a:lnTo>
                      <a:pt x="178" y="548"/>
                    </a:lnTo>
                    <a:lnTo>
                      <a:pt x="188" y="544"/>
                    </a:lnTo>
                    <a:lnTo>
                      <a:pt x="197" y="538"/>
                    </a:lnTo>
                    <a:lnTo>
                      <a:pt x="206" y="531"/>
                    </a:lnTo>
                    <a:lnTo>
                      <a:pt x="215" y="524"/>
                    </a:lnTo>
                    <a:lnTo>
                      <a:pt x="221" y="516"/>
                    </a:lnTo>
                    <a:lnTo>
                      <a:pt x="228" y="507"/>
                    </a:lnTo>
                    <a:lnTo>
                      <a:pt x="234" y="498"/>
                    </a:lnTo>
                    <a:lnTo>
                      <a:pt x="238" y="488"/>
                    </a:lnTo>
                    <a:lnTo>
                      <a:pt x="243" y="477"/>
                    </a:lnTo>
                    <a:lnTo>
                      <a:pt x="245" y="466"/>
                    </a:lnTo>
                    <a:lnTo>
                      <a:pt x="247" y="456"/>
                    </a:lnTo>
                    <a:lnTo>
                      <a:pt x="247" y="444"/>
                    </a:lnTo>
                    <a:lnTo>
                      <a:pt x="247" y="21"/>
                    </a:lnTo>
                    <a:lnTo>
                      <a:pt x="20" y="21"/>
                    </a:lnTo>
                    <a:close/>
                    <a:moveTo>
                      <a:pt x="134" y="578"/>
                    </a:moveTo>
                    <a:lnTo>
                      <a:pt x="121" y="576"/>
                    </a:lnTo>
                    <a:lnTo>
                      <a:pt x="107" y="575"/>
                    </a:lnTo>
                    <a:lnTo>
                      <a:pt x="94" y="571"/>
                    </a:lnTo>
                    <a:lnTo>
                      <a:pt x="82" y="567"/>
                    </a:lnTo>
                    <a:lnTo>
                      <a:pt x="70" y="561"/>
                    </a:lnTo>
                    <a:lnTo>
                      <a:pt x="59" y="555"/>
                    </a:lnTo>
                    <a:lnTo>
                      <a:pt x="48" y="547"/>
                    </a:lnTo>
                    <a:lnTo>
                      <a:pt x="39" y="539"/>
                    </a:lnTo>
                    <a:lnTo>
                      <a:pt x="30" y="529"/>
                    </a:lnTo>
                    <a:lnTo>
                      <a:pt x="23" y="519"/>
                    </a:lnTo>
                    <a:lnTo>
                      <a:pt x="16" y="507"/>
                    </a:lnTo>
                    <a:lnTo>
                      <a:pt x="10" y="497"/>
                    </a:lnTo>
                    <a:lnTo>
                      <a:pt x="5" y="484"/>
                    </a:lnTo>
                    <a:lnTo>
                      <a:pt x="2" y="471"/>
                    </a:lnTo>
                    <a:lnTo>
                      <a:pt x="0" y="458"/>
                    </a:lnTo>
                    <a:lnTo>
                      <a:pt x="0" y="444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1"/>
                    </a:lnTo>
                    <a:lnTo>
                      <a:pt x="10" y="0"/>
                    </a:lnTo>
                    <a:lnTo>
                      <a:pt x="259" y="0"/>
                    </a:lnTo>
                    <a:lnTo>
                      <a:pt x="262" y="1"/>
                    </a:lnTo>
                    <a:lnTo>
                      <a:pt x="265" y="4"/>
                    </a:lnTo>
                    <a:lnTo>
                      <a:pt x="268" y="7"/>
                    </a:lnTo>
                    <a:lnTo>
                      <a:pt x="269" y="12"/>
                    </a:lnTo>
                    <a:lnTo>
                      <a:pt x="269" y="444"/>
                    </a:lnTo>
                    <a:lnTo>
                      <a:pt x="269" y="458"/>
                    </a:lnTo>
                    <a:lnTo>
                      <a:pt x="267" y="471"/>
                    </a:lnTo>
                    <a:lnTo>
                      <a:pt x="263" y="484"/>
                    </a:lnTo>
                    <a:lnTo>
                      <a:pt x="258" y="497"/>
                    </a:lnTo>
                    <a:lnTo>
                      <a:pt x="253" y="507"/>
                    </a:lnTo>
                    <a:lnTo>
                      <a:pt x="246" y="519"/>
                    </a:lnTo>
                    <a:lnTo>
                      <a:pt x="238" y="529"/>
                    </a:lnTo>
                    <a:lnTo>
                      <a:pt x="230" y="539"/>
                    </a:lnTo>
                    <a:lnTo>
                      <a:pt x="220" y="547"/>
                    </a:lnTo>
                    <a:lnTo>
                      <a:pt x="209" y="555"/>
                    </a:lnTo>
                    <a:lnTo>
                      <a:pt x="199" y="561"/>
                    </a:lnTo>
                    <a:lnTo>
                      <a:pt x="187" y="567"/>
                    </a:lnTo>
                    <a:lnTo>
                      <a:pt x="174" y="571"/>
                    </a:lnTo>
                    <a:lnTo>
                      <a:pt x="161" y="575"/>
                    </a:lnTo>
                    <a:lnTo>
                      <a:pt x="148" y="576"/>
                    </a:lnTo>
                    <a:lnTo>
                      <a:pt x="134" y="578"/>
                    </a:lnTo>
                    <a:close/>
                  </a:path>
                </a:pathLst>
              </a:custGeom>
              <a:solidFill>
                <a:srgbClr val="0070BA"/>
              </a:solidFill>
              <a:ln w="9525">
                <a:solidFill>
                  <a:srgbClr val="EF6213"/>
                </a:solidFill>
                <a:round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3" name="Овал 82"/>
            <p:cNvSpPr/>
            <p:nvPr/>
          </p:nvSpPr>
          <p:spPr>
            <a:xfrm>
              <a:off x="711519" y="1234411"/>
              <a:ext cx="416788" cy="418783"/>
            </a:xfrm>
            <a:prstGeom prst="ellipse">
              <a:avLst/>
            </a:prstGeom>
            <a:noFill/>
            <a:ln w="12700">
              <a:solidFill>
                <a:srgbClr val="54535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5" name="Овал 94"/>
          <p:cNvSpPr/>
          <p:nvPr/>
        </p:nvSpPr>
        <p:spPr>
          <a:xfrm>
            <a:off x="646483" y="1590229"/>
            <a:ext cx="416788" cy="418783"/>
          </a:xfrm>
          <a:prstGeom prst="ellipse">
            <a:avLst/>
          </a:prstGeom>
          <a:noFill/>
          <a:ln w="12700">
            <a:solidFill>
              <a:srgbClr val="545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6" name="Группа 95"/>
          <p:cNvGrpSpPr/>
          <p:nvPr/>
        </p:nvGrpSpPr>
        <p:grpSpPr>
          <a:xfrm>
            <a:off x="1442746" y="1688155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97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0" name="Овал 99"/>
          <p:cNvSpPr/>
          <p:nvPr/>
        </p:nvSpPr>
        <p:spPr>
          <a:xfrm>
            <a:off x="646483" y="2100461"/>
            <a:ext cx="416788" cy="418783"/>
          </a:xfrm>
          <a:prstGeom prst="ellipse">
            <a:avLst/>
          </a:prstGeom>
          <a:noFill/>
          <a:ln w="12700">
            <a:solidFill>
              <a:srgbClr val="545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1" name="Группа 100"/>
          <p:cNvGrpSpPr/>
          <p:nvPr/>
        </p:nvGrpSpPr>
        <p:grpSpPr>
          <a:xfrm>
            <a:off x="1442746" y="2198387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102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4" name="ZUA"/>
          <p:cNvGrpSpPr>
            <a:grpSpLocks noChangeAspect="1"/>
          </p:cNvGrpSpPr>
          <p:nvPr/>
        </p:nvGrpSpPr>
        <p:grpSpPr>
          <a:xfrm>
            <a:off x="709070" y="2215236"/>
            <a:ext cx="298982" cy="207483"/>
            <a:chOff x="5432425" y="1209676"/>
            <a:chExt cx="736600" cy="511175"/>
          </a:xfrm>
        </p:grpSpPr>
        <p:sp>
          <p:nvSpPr>
            <p:cNvPr id="105" name="Freeform 65"/>
            <p:cNvSpPr>
              <a:spLocks noEditPoints="1"/>
            </p:cNvSpPr>
            <p:nvPr/>
          </p:nvSpPr>
          <p:spPr bwMode="auto">
            <a:xfrm>
              <a:off x="5432425" y="1209676"/>
              <a:ext cx="736600" cy="511175"/>
            </a:xfrm>
            <a:custGeom>
              <a:avLst/>
              <a:gdLst>
                <a:gd name="T0" fmla="*/ 127 w 1856"/>
                <a:gd name="T1" fmla="*/ 1262 h 1288"/>
                <a:gd name="T2" fmla="*/ 90 w 1856"/>
                <a:gd name="T3" fmla="*/ 1246 h 1288"/>
                <a:gd name="T4" fmla="*/ 56 w 1856"/>
                <a:gd name="T5" fmla="*/ 1217 h 1288"/>
                <a:gd name="T6" fmla="*/ 32 w 1856"/>
                <a:gd name="T7" fmla="*/ 1179 h 1288"/>
                <a:gd name="T8" fmla="*/ 651 w 1856"/>
                <a:gd name="T9" fmla="*/ 1169 h 1288"/>
                <a:gd name="T10" fmla="*/ 677 w 1856"/>
                <a:gd name="T11" fmla="*/ 1203 h 1288"/>
                <a:gd name="T12" fmla="*/ 1151 w 1856"/>
                <a:gd name="T13" fmla="*/ 1212 h 1288"/>
                <a:gd name="T14" fmla="*/ 1188 w 1856"/>
                <a:gd name="T15" fmla="*/ 1198 h 1288"/>
                <a:gd name="T16" fmla="*/ 1208 w 1856"/>
                <a:gd name="T17" fmla="*/ 1158 h 1288"/>
                <a:gd name="T18" fmla="*/ 1820 w 1856"/>
                <a:gd name="T19" fmla="*/ 1190 h 1288"/>
                <a:gd name="T20" fmla="*/ 1793 w 1856"/>
                <a:gd name="T21" fmla="*/ 1225 h 1288"/>
                <a:gd name="T22" fmla="*/ 1758 w 1856"/>
                <a:gd name="T23" fmla="*/ 1251 h 1288"/>
                <a:gd name="T24" fmla="*/ 1720 w 1856"/>
                <a:gd name="T25" fmla="*/ 1264 h 1288"/>
                <a:gd name="T26" fmla="*/ 1179 w 1856"/>
                <a:gd name="T27" fmla="*/ 1170 h 1288"/>
                <a:gd name="T28" fmla="*/ 1161 w 1856"/>
                <a:gd name="T29" fmla="*/ 1186 h 1288"/>
                <a:gd name="T30" fmla="*/ 700 w 1856"/>
                <a:gd name="T31" fmla="*/ 1188 h 1288"/>
                <a:gd name="T32" fmla="*/ 682 w 1856"/>
                <a:gd name="T33" fmla="*/ 1176 h 1288"/>
                <a:gd name="T34" fmla="*/ 1183 w 1856"/>
                <a:gd name="T35" fmla="*/ 1158 h 1288"/>
                <a:gd name="T36" fmla="*/ 173 w 1856"/>
                <a:gd name="T37" fmla="*/ 85 h 1288"/>
                <a:gd name="T38" fmla="*/ 185 w 1856"/>
                <a:gd name="T39" fmla="*/ 59 h 1288"/>
                <a:gd name="T40" fmla="*/ 205 w 1856"/>
                <a:gd name="T41" fmla="*/ 38 h 1288"/>
                <a:gd name="T42" fmla="*/ 233 w 1856"/>
                <a:gd name="T43" fmla="*/ 25 h 1288"/>
                <a:gd name="T44" fmla="*/ 1617 w 1856"/>
                <a:gd name="T45" fmla="*/ 24 h 1288"/>
                <a:gd name="T46" fmla="*/ 1646 w 1856"/>
                <a:gd name="T47" fmla="*/ 33 h 1288"/>
                <a:gd name="T48" fmla="*/ 1667 w 1856"/>
                <a:gd name="T49" fmla="*/ 52 h 1288"/>
                <a:gd name="T50" fmla="*/ 1682 w 1856"/>
                <a:gd name="T51" fmla="*/ 78 h 1288"/>
                <a:gd name="T52" fmla="*/ 1686 w 1856"/>
                <a:gd name="T53" fmla="*/ 1058 h 1288"/>
                <a:gd name="T54" fmla="*/ 1679 w 1856"/>
                <a:gd name="T55" fmla="*/ 1088 h 1288"/>
                <a:gd name="T56" fmla="*/ 1663 w 1856"/>
                <a:gd name="T57" fmla="*/ 1112 h 1288"/>
                <a:gd name="T58" fmla="*/ 1639 w 1856"/>
                <a:gd name="T59" fmla="*/ 1128 h 1288"/>
                <a:gd name="T60" fmla="*/ 1609 w 1856"/>
                <a:gd name="T61" fmla="*/ 1134 h 1288"/>
                <a:gd name="T62" fmla="*/ 225 w 1856"/>
                <a:gd name="T63" fmla="*/ 1130 h 1288"/>
                <a:gd name="T64" fmla="*/ 200 w 1856"/>
                <a:gd name="T65" fmla="*/ 1116 h 1288"/>
                <a:gd name="T66" fmla="*/ 180 w 1856"/>
                <a:gd name="T67" fmla="*/ 1093 h 1288"/>
                <a:gd name="T68" fmla="*/ 172 w 1856"/>
                <a:gd name="T69" fmla="*/ 1065 h 1288"/>
                <a:gd name="T70" fmla="*/ 1845 w 1856"/>
                <a:gd name="T71" fmla="*/ 1134 h 1288"/>
                <a:gd name="T72" fmla="*/ 1695 w 1856"/>
                <a:gd name="T73" fmla="*/ 1109 h 1288"/>
                <a:gd name="T74" fmla="*/ 1709 w 1856"/>
                <a:gd name="T75" fmla="*/ 1069 h 1288"/>
                <a:gd name="T76" fmla="*/ 1708 w 1856"/>
                <a:gd name="T77" fmla="*/ 80 h 1288"/>
                <a:gd name="T78" fmla="*/ 1693 w 1856"/>
                <a:gd name="T79" fmla="*/ 45 h 1288"/>
                <a:gd name="T80" fmla="*/ 1665 w 1856"/>
                <a:gd name="T81" fmla="*/ 17 h 1288"/>
                <a:gd name="T82" fmla="*/ 1629 w 1856"/>
                <a:gd name="T83" fmla="*/ 3 h 1288"/>
                <a:gd name="T84" fmla="*/ 237 w 1856"/>
                <a:gd name="T85" fmla="*/ 1 h 1288"/>
                <a:gd name="T86" fmla="*/ 200 w 1856"/>
                <a:gd name="T87" fmla="*/ 13 h 1288"/>
                <a:gd name="T88" fmla="*/ 170 w 1856"/>
                <a:gd name="T89" fmla="*/ 37 h 1288"/>
                <a:gd name="T90" fmla="*/ 151 w 1856"/>
                <a:gd name="T91" fmla="*/ 71 h 1288"/>
                <a:gd name="T92" fmla="*/ 147 w 1856"/>
                <a:gd name="T93" fmla="*/ 1058 h 1288"/>
                <a:gd name="T94" fmla="*/ 157 w 1856"/>
                <a:gd name="T95" fmla="*/ 1100 h 1288"/>
                <a:gd name="T96" fmla="*/ 184 w 1856"/>
                <a:gd name="T97" fmla="*/ 1134 h 1288"/>
                <a:gd name="T98" fmla="*/ 0 w 1856"/>
                <a:gd name="T99" fmla="*/ 1142 h 1288"/>
                <a:gd name="T100" fmla="*/ 10 w 1856"/>
                <a:gd name="T101" fmla="*/ 1188 h 1288"/>
                <a:gd name="T102" fmla="*/ 42 w 1856"/>
                <a:gd name="T103" fmla="*/ 1237 h 1288"/>
                <a:gd name="T104" fmla="*/ 86 w 1856"/>
                <a:gd name="T105" fmla="*/ 1271 h 1288"/>
                <a:gd name="T106" fmla="*/ 134 w 1856"/>
                <a:gd name="T107" fmla="*/ 1288 h 1288"/>
                <a:gd name="T108" fmla="*/ 1734 w 1856"/>
                <a:gd name="T109" fmla="*/ 1286 h 1288"/>
                <a:gd name="T110" fmla="*/ 1783 w 1856"/>
                <a:gd name="T111" fmla="*/ 1264 h 1288"/>
                <a:gd name="T112" fmla="*/ 1824 w 1856"/>
                <a:gd name="T113" fmla="*/ 1226 h 1288"/>
                <a:gd name="T114" fmla="*/ 1852 w 1856"/>
                <a:gd name="T115" fmla="*/ 1176 h 1288"/>
                <a:gd name="T116" fmla="*/ 1854 w 1856"/>
                <a:gd name="T117" fmla="*/ 1138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6" h="1288">
                  <a:moveTo>
                    <a:pt x="1711" y="1264"/>
                  </a:moveTo>
                  <a:lnTo>
                    <a:pt x="146" y="1264"/>
                  </a:lnTo>
                  <a:lnTo>
                    <a:pt x="137" y="1264"/>
                  </a:lnTo>
                  <a:lnTo>
                    <a:pt x="127" y="1262"/>
                  </a:lnTo>
                  <a:lnTo>
                    <a:pt x="118" y="1259"/>
                  </a:lnTo>
                  <a:lnTo>
                    <a:pt x="109" y="1256"/>
                  </a:lnTo>
                  <a:lnTo>
                    <a:pt x="99" y="1251"/>
                  </a:lnTo>
                  <a:lnTo>
                    <a:pt x="90" y="1246"/>
                  </a:lnTo>
                  <a:lnTo>
                    <a:pt x="80" y="1240"/>
                  </a:lnTo>
                  <a:lnTo>
                    <a:pt x="72" y="1233"/>
                  </a:lnTo>
                  <a:lnTo>
                    <a:pt x="63" y="1225"/>
                  </a:lnTo>
                  <a:lnTo>
                    <a:pt x="56" y="1217"/>
                  </a:lnTo>
                  <a:lnTo>
                    <a:pt x="48" y="1208"/>
                  </a:lnTo>
                  <a:lnTo>
                    <a:pt x="43" y="1199"/>
                  </a:lnTo>
                  <a:lnTo>
                    <a:pt x="37" y="1190"/>
                  </a:lnTo>
                  <a:lnTo>
                    <a:pt x="32" y="1179"/>
                  </a:lnTo>
                  <a:lnTo>
                    <a:pt x="28" y="1169"/>
                  </a:lnTo>
                  <a:lnTo>
                    <a:pt x="26" y="1158"/>
                  </a:lnTo>
                  <a:lnTo>
                    <a:pt x="648" y="1158"/>
                  </a:lnTo>
                  <a:lnTo>
                    <a:pt x="651" y="1169"/>
                  </a:lnTo>
                  <a:lnTo>
                    <a:pt x="655" y="1180"/>
                  </a:lnTo>
                  <a:lnTo>
                    <a:pt x="662" y="1190"/>
                  </a:lnTo>
                  <a:lnTo>
                    <a:pt x="669" y="1198"/>
                  </a:lnTo>
                  <a:lnTo>
                    <a:pt x="677" y="1203"/>
                  </a:lnTo>
                  <a:lnTo>
                    <a:pt x="686" y="1209"/>
                  </a:lnTo>
                  <a:lnTo>
                    <a:pt x="695" y="1211"/>
                  </a:lnTo>
                  <a:lnTo>
                    <a:pt x="706" y="1212"/>
                  </a:lnTo>
                  <a:lnTo>
                    <a:pt x="1151" y="1212"/>
                  </a:lnTo>
                  <a:lnTo>
                    <a:pt x="1161" y="1211"/>
                  </a:lnTo>
                  <a:lnTo>
                    <a:pt x="1171" y="1209"/>
                  </a:lnTo>
                  <a:lnTo>
                    <a:pt x="1180" y="1203"/>
                  </a:lnTo>
                  <a:lnTo>
                    <a:pt x="1188" y="1198"/>
                  </a:lnTo>
                  <a:lnTo>
                    <a:pt x="1195" y="1190"/>
                  </a:lnTo>
                  <a:lnTo>
                    <a:pt x="1201" y="1180"/>
                  </a:lnTo>
                  <a:lnTo>
                    <a:pt x="1206" y="1169"/>
                  </a:lnTo>
                  <a:lnTo>
                    <a:pt x="1208" y="1158"/>
                  </a:lnTo>
                  <a:lnTo>
                    <a:pt x="1831" y="1158"/>
                  </a:lnTo>
                  <a:lnTo>
                    <a:pt x="1829" y="1169"/>
                  </a:lnTo>
                  <a:lnTo>
                    <a:pt x="1824" y="1179"/>
                  </a:lnTo>
                  <a:lnTo>
                    <a:pt x="1820" y="1190"/>
                  </a:lnTo>
                  <a:lnTo>
                    <a:pt x="1814" y="1199"/>
                  </a:lnTo>
                  <a:lnTo>
                    <a:pt x="1808" y="1208"/>
                  </a:lnTo>
                  <a:lnTo>
                    <a:pt x="1800" y="1217"/>
                  </a:lnTo>
                  <a:lnTo>
                    <a:pt x="1793" y="1225"/>
                  </a:lnTo>
                  <a:lnTo>
                    <a:pt x="1784" y="1233"/>
                  </a:lnTo>
                  <a:lnTo>
                    <a:pt x="1776" y="1240"/>
                  </a:lnTo>
                  <a:lnTo>
                    <a:pt x="1767" y="1246"/>
                  </a:lnTo>
                  <a:lnTo>
                    <a:pt x="1758" y="1251"/>
                  </a:lnTo>
                  <a:lnTo>
                    <a:pt x="1748" y="1256"/>
                  </a:lnTo>
                  <a:lnTo>
                    <a:pt x="1738" y="1259"/>
                  </a:lnTo>
                  <a:lnTo>
                    <a:pt x="1729" y="1262"/>
                  </a:lnTo>
                  <a:lnTo>
                    <a:pt x="1720" y="1264"/>
                  </a:lnTo>
                  <a:lnTo>
                    <a:pt x="1711" y="1264"/>
                  </a:lnTo>
                  <a:close/>
                  <a:moveTo>
                    <a:pt x="1183" y="1158"/>
                  </a:moveTo>
                  <a:lnTo>
                    <a:pt x="1181" y="1164"/>
                  </a:lnTo>
                  <a:lnTo>
                    <a:pt x="1179" y="1170"/>
                  </a:lnTo>
                  <a:lnTo>
                    <a:pt x="1175" y="1176"/>
                  </a:lnTo>
                  <a:lnTo>
                    <a:pt x="1171" y="1180"/>
                  </a:lnTo>
                  <a:lnTo>
                    <a:pt x="1166" y="1184"/>
                  </a:lnTo>
                  <a:lnTo>
                    <a:pt x="1161" y="1186"/>
                  </a:lnTo>
                  <a:lnTo>
                    <a:pt x="1157" y="1188"/>
                  </a:lnTo>
                  <a:lnTo>
                    <a:pt x="1151" y="1188"/>
                  </a:lnTo>
                  <a:lnTo>
                    <a:pt x="706" y="1188"/>
                  </a:lnTo>
                  <a:lnTo>
                    <a:pt x="700" y="1188"/>
                  </a:lnTo>
                  <a:lnTo>
                    <a:pt x="695" y="1186"/>
                  </a:lnTo>
                  <a:lnTo>
                    <a:pt x="691" y="1184"/>
                  </a:lnTo>
                  <a:lnTo>
                    <a:pt x="686" y="1180"/>
                  </a:lnTo>
                  <a:lnTo>
                    <a:pt x="682" y="1176"/>
                  </a:lnTo>
                  <a:lnTo>
                    <a:pt x="678" y="1170"/>
                  </a:lnTo>
                  <a:lnTo>
                    <a:pt x="676" y="1164"/>
                  </a:lnTo>
                  <a:lnTo>
                    <a:pt x="674" y="1158"/>
                  </a:lnTo>
                  <a:lnTo>
                    <a:pt x="1183" y="1158"/>
                  </a:lnTo>
                  <a:close/>
                  <a:moveTo>
                    <a:pt x="171" y="1058"/>
                  </a:moveTo>
                  <a:lnTo>
                    <a:pt x="171" y="101"/>
                  </a:lnTo>
                  <a:lnTo>
                    <a:pt x="172" y="93"/>
                  </a:lnTo>
                  <a:lnTo>
                    <a:pt x="173" y="85"/>
                  </a:lnTo>
                  <a:lnTo>
                    <a:pt x="174" y="78"/>
                  </a:lnTo>
                  <a:lnTo>
                    <a:pt x="178" y="71"/>
                  </a:lnTo>
                  <a:lnTo>
                    <a:pt x="180" y="64"/>
                  </a:lnTo>
                  <a:lnTo>
                    <a:pt x="185" y="59"/>
                  </a:lnTo>
                  <a:lnTo>
                    <a:pt x="189" y="52"/>
                  </a:lnTo>
                  <a:lnTo>
                    <a:pt x="194" y="47"/>
                  </a:lnTo>
                  <a:lnTo>
                    <a:pt x="200" y="41"/>
                  </a:lnTo>
                  <a:lnTo>
                    <a:pt x="205" y="38"/>
                  </a:lnTo>
                  <a:lnTo>
                    <a:pt x="211" y="33"/>
                  </a:lnTo>
                  <a:lnTo>
                    <a:pt x="218" y="30"/>
                  </a:lnTo>
                  <a:lnTo>
                    <a:pt x="225" y="28"/>
                  </a:lnTo>
                  <a:lnTo>
                    <a:pt x="233" y="25"/>
                  </a:lnTo>
                  <a:lnTo>
                    <a:pt x="240" y="24"/>
                  </a:lnTo>
                  <a:lnTo>
                    <a:pt x="248" y="24"/>
                  </a:lnTo>
                  <a:lnTo>
                    <a:pt x="1609" y="24"/>
                  </a:lnTo>
                  <a:lnTo>
                    <a:pt x="1617" y="24"/>
                  </a:lnTo>
                  <a:lnTo>
                    <a:pt x="1624" y="25"/>
                  </a:lnTo>
                  <a:lnTo>
                    <a:pt x="1632" y="28"/>
                  </a:lnTo>
                  <a:lnTo>
                    <a:pt x="1639" y="30"/>
                  </a:lnTo>
                  <a:lnTo>
                    <a:pt x="1646" y="33"/>
                  </a:lnTo>
                  <a:lnTo>
                    <a:pt x="1651" y="38"/>
                  </a:lnTo>
                  <a:lnTo>
                    <a:pt x="1657" y="41"/>
                  </a:lnTo>
                  <a:lnTo>
                    <a:pt x="1663" y="47"/>
                  </a:lnTo>
                  <a:lnTo>
                    <a:pt x="1667" y="52"/>
                  </a:lnTo>
                  <a:lnTo>
                    <a:pt x="1672" y="59"/>
                  </a:lnTo>
                  <a:lnTo>
                    <a:pt x="1677" y="64"/>
                  </a:lnTo>
                  <a:lnTo>
                    <a:pt x="1679" y="71"/>
                  </a:lnTo>
                  <a:lnTo>
                    <a:pt x="1682" y="78"/>
                  </a:lnTo>
                  <a:lnTo>
                    <a:pt x="1683" y="85"/>
                  </a:lnTo>
                  <a:lnTo>
                    <a:pt x="1685" y="93"/>
                  </a:lnTo>
                  <a:lnTo>
                    <a:pt x="1686" y="101"/>
                  </a:lnTo>
                  <a:lnTo>
                    <a:pt x="1686" y="1058"/>
                  </a:lnTo>
                  <a:lnTo>
                    <a:pt x="1685" y="1065"/>
                  </a:lnTo>
                  <a:lnTo>
                    <a:pt x="1683" y="1073"/>
                  </a:lnTo>
                  <a:lnTo>
                    <a:pt x="1682" y="1080"/>
                  </a:lnTo>
                  <a:lnTo>
                    <a:pt x="1679" y="1088"/>
                  </a:lnTo>
                  <a:lnTo>
                    <a:pt x="1677" y="1093"/>
                  </a:lnTo>
                  <a:lnTo>
                    <a:pt x="1672" y="1100"/>
                  </a:lnTo>
                  <a:lnTo>
                    <a:pt x="1667" y="1106"/>
                  </a:lnTo>
                  <a:lnTo>
                    <a:pt x="1663" y="1112"/>
                  </a:lnTo>
                  <a:lnTo>
                    <a:pt x="1657" y="1116"/>
                  </a:lnTo>
                  <a:lnTo>
                    <a:pt x="1651" y="1121"/>
                  </a:lnTo>
                  <a:lnTo>
                    <a:pt x="1646" y="1124"/>
                  </a:lnTo>
                  <a:lnTo>
                    <a:pt x="1639" y="1128"/>
                  </a:lnTo>
                  <a:lnTo>
                    <a:pt x="1632" y="1130"/>
                  </a:lnTo>
                  <a:lnTo>
                    <a:pt x="1624" y="1132"/>
                  </a:lnTo>
                  <a:lnTo>
                    <a:pt x="1617" y="1134"/>
                  </a:lnTo>
                  <a:lnTo>
                    <a:pt x="1609" y="1134"/>
                  </a:lnTo>
                  <a:lnTo>
                    <a:pt x="248" y="1134"/>
                  </a:lnTo>
                  <a:lnTo>
                    <a:pt x="240" y="1134"/>
                  </a:lnTo>
                  <a:lnTo>
                    <a:pt x="233" y="1132"/>
                  </a:lnTo>
                  <a:lnTo>
                    <a:pt x="225" y="1130"/>
                  </a:lnTo>
                  <a:lnTo>
                    <a:pt x="218" y="1128"/>
                  </a:lnTo>
                  <a:lnTo>
                    <a:pt x="211" y="1124"/>
                  </a:lnTo>
                  <a:lnTo>
                    <a:pt x="205" y="1121"/>
                  </a:lnTo>
                  <a:lnTo>
                    <a:pt x="200" y="1116"/>
                  </a:lnTo>
                  <a:lnTo>
                    <a:pt x="194" y="1112"/>
                  </a:lnTo>
                  <a:lnTo>
                    <a:pt x="189" y="1106"/>
                  </a:lnTo>
                  <a:lnTo>
                    <a:pt x="185" y="1100"/>
                  </a:lnTo>
                  <a:lnTo>
                    <a:pt x="180" y="1093"/>
                  </a:lnTo>
                  <a:lnTo>
                    <a:pt x="178" y="1088"/>
                  </a:lnTo>
                  <a:lnTo>
                    <a:pt x="174" y="1080"/>
                  </a:lnTo>
                  <a:lnTo>
                    <a:pt x="173" y="1073"/>
                  </a:lnTo>
                  <a:lnTo>
                    <a:pt x="172" y="1065"/>
                  </a:lnTo>
                  <a:lnTo>
                    <a:pt x="171" y="1058"/>
                  </a:lnTo>
                  <a:close/>
                  <a:moveTo>
                    <a:pt x="1854" y="1138"/>
                  </a:moveTo>
                  <a:lnTo>
                    <a:pt x="1850" y="1135"/>
                  </a:lnTo>
                  <a:lnTo>
                    <a:pt x="1845" y="1134"/>
                  </a:lnTo>
                  <a:lnTo>
                    <a:pt x="1673" y="1134"/>
                  </a:lnTo>
                  <a:lnTo>
                    <a:pt x="1681" y="1127"/>
                  </a:lnTo>
                  <a:lnTo>
                    <a:pt x="1688" y="1119"/>
                  </a:lnTo>
                  <a:lnTo>
                    <a:pt x="1695" y="1109"/>
                  </a:lnTo>
                  <a:lnTo>
                    <a:pt x="1700" y="1100"/>
                  </a:lnTo>
                  <a:lnTo>
                    <a:pt x="1704" y="1090"/>
                  </a:lnTo>
                  <a:lnTo>
                    <a:pt x="1706" y="1080"/>
                  </a:lnTo>
                  <a:lnTo>
                    <a:pt x="1709" y="1069"/>
                  </a:lnTo>
                  <a:lnTo>
                    <a:pt x="1710" y="1058"/>
                  </a:lnTo>
                  <a:lnTo>
                    <a:pt x="1710" y="101"/>
                  </a:lnTo>
                  <a:lnTo>
                    <a:pt x="1709" y="91"/>
                  </a:lnTo>
                  <a:lnTo>
                    <a:pt x="1708" y="80"/>
                  </a:lnTo>
                  <a:lnTo>
                    <a:pt x="1705" y="71"/>
                  </a:lnTo>
                  <a:lnTo>
                    <a:pt x="1702" y="62"/>
                  </a:lnTo>
                  <a:lnTo>
                    <a:pt x="1697" y="53"/>
                  </a:lnTo>
                  <a:lnTo>
                    <a:pt x="1693" y="45"/>
                  </a:lnTo>
                  <a:lnTo>
                    <a:pt x="1687" y="37"/>
                  </a:lnTo>
                  <a:lnTo>
                    <a:pt x="1680" y="30"/>
                  </a:lnTo>
                  <a:lnTo>
                    <a:pt x="1673" y="23"/>
                  </a:lnTo>
                  <a:lnTo>
                    <a:pt x="1665" y="17"/>
                  </a:lnTo>
                  <a:lnTo>
                    <a:pt x="1657" y="13"/>
                  </a:lnTo>
                  <a:lnTo>
                    <a:pt x="1648" y="8"/>
                  </a:lnTo>
                  <a:lnTo>
                    <a:pt x="1639" y="5"/>
                  </a:lnTo>
                  <a:lnTo>
                    <a:pt x="1629" y="3"/>
                  </a:lnTo>
                  <a:lnTo>
                    <a:pt x="1619" y="1"/>
                  </a:lnTo>
                  <a:lnTo>
                    <a:pt x="1609" y="0"/>
                  </a:lnTo>
                  <a:lnTo>
                    <a:pt x="248" y="0"/>
                  </a:lnTo>
                  <a:lnTo>
                    <a:pt x="237" y="1"/>
                  </a:lnTo>
                  <a:lnTo>
                    <a:pt x="228" y="3"/>
                  </a:lnTo>
                  <a:lnTo>
                    <a:pt x="218" y="5"/>
                  </a:lnTo>
                  <a:lnTo>
                    <a:pt x="209" y="8"/>
                  </a:lnTo>
                  <a:lnTo>
                    <a:pt x="200" y="13"/>
                  </a:lnTo>
                  <a:lnTo>
                    <a:pt x="192" y="17"/>
                  </a:lnTo>
                  <a:lnTo>
                    <a:pt x="184" y="23"/>
                  </a:lnTo>
                  <a:lnTo>
                    <a:pt x="177" y="30"/>
                  </a:lnTo>
                  <a:lnTo>
                    <a:pt x="170" y="37"/>
                  </a:lnTo>
                  <a:lnTo>
                    <a:pt x="164" y="45"/>
                  </a:lnTo>
                  <a:lnTo>
                    <a:pt x="159" y="53"/>
                  </a:lnTo>
                  <a:lnTo>
                    <a:pt x="155" y="62"/>
                  </a:lnTo>
                  <a:lnTo>
                    <a:pt x="151" y="71"/>
                  </a:lnTo>
                  <a:lnTo>
                    <a:pt x="149" y="80"/>
                  </a:lnTo>
                  <a:lnTo>
                    <a:pt x="148" y="91"/>
                  </a:lnTo>
                  <a:lnTo>
                    <a:pt x="147" y="101"/>
                  </a:lnTo>
                  <a:lnTo>
                    <a:pt x="147" y="1058"/>
                  </a:lnTo>
                  <a:lnTo>
                    <a:pt x="148" y="1069"/>
                  </a:lnTo>
                  <a:lnTo>
                    <a:pt x="150" y="1080"/>
                  </a:lnTo>
                  <a:lnTo>
                    <a:pt x="153" y="1090"/>
                  </a:lnTo>
                  <a:lnTo>
                    <a:pt x="157" y="1100"/>
                  </a:lnTo>
                  <a:lnTo>
                    <a:pt x="163" y="1109"/>
                  </a:lnTo>
                  <a:lnTo>
                    <a:pt x="169" y="1119"/>
                  </a:lnTo>
                  <a:lnTo>
                    <a:pt x="176" y="1127"/>
                  </a:lnTo>
                  <a:lnTo>
                    <a:pt x="184" y="1134"/>
                  </a:lnTo>
                  <a:lnTo>
                    <a:pt x="12" y="1134"/>
                  </a:lnTo>
                  <a:lnTo>
                    <a:pt x="7" y="1135"/>
                  </a:lnTo>
                  <a:lnTo>
                    <a:pt x="3" y="1138"/>
                  </a:lnTo>
                  <a:lnTo>
                    <a:pt x="0" y="1142"/>
                  </a:lnTo>
                  <a:lnTo>
                    <a:pt x="0" y="1147"/>
                  </a:lnTo>
                  <a:lnTo>
                    <a:pt x="1" y="1161"/>
                  </a:lnTo>
                  <a:lnTo>
                    <a:pt x="5" y="1176"/>
                  </a:lnTo>
                  <a:lnTo>
                    <a:pt x="10" y="1188"/>
                  </a:lnTo>
                  <a:lnTo>
                    <a:pt x="16" y="1202"/>
                  </a:lnTo>
                  <a:lnTo>
                    <a:pt x="23" y="1215"/>
                  </a:lnTo>
                  <a:lnTo>
                    <a:pt x="32" y="1226"/>
                  </a:lnTo>
                  <a:lnTo>
                    <a:pt x="42" y="1237"/>
                  </a:lnTo>
                  <a:lnTo>
                    <a:pt x="52" y="1247"/>
                  </a:lnTo>
                  <a:lnTo>
                    <a:pt x="62" y="1256"/>
                  </a:lnTo>
                  <a:lnTo>
                    <a:pt x="74" y="1264"/>
                  </a:lnTo>
                  <a:lnTo>
                    <a:pt x="86" y="1271"/>
                  </a:lnTo>
                  <a:lnTo>
                    <a:pt x="98" y="1278"/>
                  </a:lnTo>
                  <a:lnTo>
                    <a:pt x="110" y="1282"/>
                  </a:lnTo>
                  <a:lnTo>
                    <a:pt x="123" y="1286"/>
                  </a:lnTo>
                  <a:lnTo>
                    <a:pt x="134" y="1288"/>
                  </a:lnTo>
                  <a:lnTo>
                    <a:pt x="146" y="1288"/>
                  </a:lnTo>
                  <a:lnTo>
                    <a:pt x="1711" y="1288"/>
                  </a:lnTo>
                  <a:lnTo>
                    <a:pt x="1722" y="1288"/>
                  </a:lnTo>
                  <a:lnTo>
                    <a:pt x="1734" y="1286"/>
                  </a:lnTo>
                  <a:lnTo>
                    <a:pt x="1746" y="1282"/>
                  </a:lnTo>
                  <a:lnTo>
                    <a:pt x="1759" y="1278"/>
                  </a:lnTo>
                  <a:lnTo>
                    <a:pt x="1771" y="1271"/>
                  </a:lnTo>
                  <a:lnTo>
                    <a:pt x="1783" y="1264"/>
                  </a:lnTo>
                  <a:lnTo>
                    <a:pt x="1795" y="1256"/>
                  </a:lnTo>
                  <a:lnTo>
                    <a:pt x="1805" y="1247"/>
                  </a:lnTo>
                  <a:lnTo>
                    <a:pt x="1815" y="1237"/>
                  </a:lnTo>
                  <a:lnTo>
                    <a:pt x="1824" y="1226"/>
                  </a:lnTo>
                  <a:lnTo>
                    <a:pt x="1833" y="1215"/>
                  </a:lnTo>
                  <a:lnTo>
                    <a:pt x="1840" y="1202"/>
                  </a:lnTo>
                  <a:lnTo>
                    <a:pt x="1847" y="1188"/>
                  </a:lnTo>
                  <a:lnTo>
                    <a:pt x="1852" y="1176"/>
                  </a:lnTo>
                  <a:lnTo>
                    <a:pt x="1855" y="1161"/>
                  </a:lnTo>
                  <a:lnTo>
                    <a:pt x="1856" y="1147"/>
                  </a:lnTo>
                  <a:lnTo>
                    <a:pt x="1856" y="1142"/>
                  </a:lnTo>
                  <a:lnTo>
                    <a:pt x="1854" y="1138"/>
                  </a:lnTo>
                  <a:close/>
                </a:path>
              </a:pathLst>
            </a:custGeom>
            <a:solidFill>
              <a:srgbClr val="00467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66"/>
            <p:cNvSpPr>
              <a:spLocks noEditPoints="1"/>
            </p:cNvSpPr>
            <p:nvPr/>
          </p:nvSpPr>
          <p:spPr bwMode="auto">
            <a:xfrm>
              <a:off x="5530850" y="1249363"/>
              <a:ext cx="538163" cy="379413"/>
            </a:xfrm>
            <a:custGeom>
              <a:avLst/>
              <a:gdLst>
                <a:gd name="T0" fmla="*/ 1333 w 1357"/>
                <a:gd name="T1" fmla="*/ 932 h 956"/>
                <a:gd name="T2" fmla="*/ 24 w 1357"/>
                <a:gd name="T3" fmla="*/ 932 h 956"/>
                <a:gd name="T4" fmla="*/ 24 w 1357"/>
                <a:gd name="T5" fmla="*/ 24 h 956"/>
                <a:gd name="T6" fmla="*/ 1333 w 1357"/>
                <a:gd name="T7" fmla="*/ 24 h 956"/>
                <a:gd name="T8" fmla="*/ 1333 w 1357"/>
                <a:gd name="T9" fmla="*/ 932 h 956"/>
                <a:gd name="T10" fmla="*/ 1357 w 1357"/>
                <a:gd name="T11" fmla="*/ 944 h 956"/>
                <a:gd name="T12" fmla="*/ 1357 w 1357"/>
                <a:gd name="T13" fmla="*/ 13 h 956"/>
                <a:gd name="T14" fmla="*/ 1357 w 1357"/>
                <a:gd name="T15" fmla="*/ 7 h 956"/>
                <a:gd name="T16" fmla="*/ 1353 w 1357"/>
                <a:gd name="T17" fmla="*/ 3 h 956"/>
                <a:gd name="T18" fmla="*/ 1350 w 1357"/>
                <a:gd name="T19" fmla="*/ 1 h 956"/>
                <a:gd name="T20" fmla="*/ 1345 w 1357"/>
                <a:gd name="T21" fmla="*/ 0 h 956"/>
                <a:gd name="T22" fmla="*/ 11 w 1357"/>
                <a:gd name="T23" fmla="*/ 0 h 956"/>
                <a:gd name="T24" fmla="*/ 7 w 1357"/>
                <a:gd name="T25" fmla="*/ 1 h 956"/>
                <a:gd name="T26" fmla="*/ 3 w 1357"/>
                <a:gd name="T27" fmla="*/ 3 h 956"/>
                <a:gd name="T28" fmla="*/ 0 w 1357"/>
                <a:gd name="T29" fmla="*/ 7 h 956"/>
                <a:gd name="T30" fmla="*/ 0 w 1357"/>
                <a:gd name="T31" fmla="*/ 13 h 956"/>
                <a:gd name="T32" fmla="*/ 0 w 1357"/>
                <a:gd name="T33" fmla="*/ 944 h 956"/>
                <a:gd name="T34" fmla="*/ 0 w 1357"/>
                <a:gd name="T35" fmla="*/ 949 h 956"/>
                <a:gd name="T36" fmla="*/ 3 w 1357"/>
                <a:gd name="T37" fmla="*/ 952 h 956"/>
                <a:gd name="T38" fmla="*/ 7 w 1357"/>
                <a:gd name="T39" fmla="*/ 956 h 956"/>
                <a:gd name="T40" fmla="*/ 11 w 1357"/>
                <a:gd name="T41" fmla="*/ 956 h 956"/>
                <a:gd name="T42" fmla="*/ 1345 w 1357"/>
                <a:gd name="T43" fmla="*/ 956 h 956"/>
                <a:gd name="T44" fmla="*/ 1350 w 1357"/>
                <a:gd name="T45" fmla="*/ 956 h 956"/>
                <a:gd name="T46" fmla="*/ 1353 w 1357"/>
                <a:gd name="T47" fmla="*/ 952 h 956"/>
                <a:gd name="T48" fmla="*/ 1357 w 1357"/>
                <a:gd name="T49" fmla="*/ 949 h 956"/>
                <a:gd name="T50" fmla="*/ 1357 w 1357"/>
                <a:gd name="T51" fmla="*/ 944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57" h="956">
                  <a:moveTo>
                    <a:pt x="1333" y="932"/>
                  </a:moveTo>
                  <a:lnTo>
                    <a:pt x="24" y="932"/>
                  </a:lnTo>
                  <a:lnTo>
                    <a:pt x="24" y="24"/>
                  </a:lnTo>
                  <a:lnTo>
                    <a:pt x="1333" y="24"/>
                  </a:lnTo>
                  <a:lnTo>
                    <a:pt x="1333" y="932"/>
                  </a:lnTo>
                  <a:close/>
                  <a:moveTo>
                    <a:pt x="1357" y="944"/>
                  </a:moveTo>
                  <a:lnTo>
                    <a:pt x="1357" y="13"/>
                  </a:lnTo>
                  <a:lnTo>
                    <a:pt x="1357" y="7"/>
                  </a:lnTo>
                  <a:lnTo>
                    <a:pt x="1353" y="3"/>
                  </a:lnTo>
                  <a:lnTo>
                    <a:pt x="1350" y="1"/>
                  </a:lnTo>
                  <a:lnTo>
                    <a:pt x="1345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0" y="7"/>
                  </a:lnTo>
                  <a:lnTo>
                    <a:pt x="0" y="13"/>
                  </a:lnTo>
                  <a:lnTo>
                    <a:pt x="0" y="944"/>
                  </a:lnTo>
                  <a:lnTo>
                    <a:pt x="0" y="949"/>
                  </a:lnTo>
                  <a:lnTo>
                    <a:pt x="3" y="952"/>
                  </a:lnTo>
                  <a:lnTo>
                    <a:pt x="7" y="956"/>
                  </a:lnTo>
                  <a:lnTo>
                    <a:pt x="11" y="956"/>
                  </a:lnTo>
                  <a:lnTo>
                    <a:pt x="1345" y="956"/>
                  </a:lnTo>
                  <a:lnTo>
                    <a:pt x="1350" y="956"/>
                  </a:lnTo>
                  <a:lnTo>
                    <a:pt x="1353" y="952"/>
                  </a:lnTo>
                  <a:lnTo>
                    <a:pt x="1357" y="949"/>
                  </a:lnTo>
                  <a:lnTo>
                    <a:pt x="1357" y="944"/>
                  </a:lnTo>
                  <a:close/>
                </a:path>
              </a:pathLst>
            </a:custGeom>
            <a:solidFill>
              <a:srgbClr val="00467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67"/>
            <p:cNvSpPr>
              <a:spLocks/>
            </p:cNvSpPr>
            <p:nvPr/>
          </p:nvSpPr>
          <p:spPr bwMode="auto">
            <a:xfrm>
              <a:off x="5784850" y="1230313"/>
              <a:ext cx="31750" cy="9525"/>
            </a:xfrm>
            <a:custGeom>
              <a:avLst/>
              <a:gdLst>
                <a:gd name="T0" fmla="*/ 11 w 82"/>
                <a:gd name="T1" fmla="*/ 24 h 24"/>
                <a:gd name="T2" fmla="*/ 71 w 82"/>
                <a:gd name="T3" fmla="*/ 24 h 24"/>
                <a:gd name="T4" fmla="*/ 75 w 82"/>
                <a:gd name="T5" fmla="*/ 23 h 24"/>
                <a:gd name="T6" fmla="*/ 79 w 82"/>
                <a:gd name="T7" fmla="*/ 20 h 24"/>
                <a:gd name="T8" fmla="*/ 82 w 82"/>
                <a:gd name="T9" fmla="*/ 17 h 24"/>
                <a:gd name="T10" fmla="*/ 82 w 82"/>
                <a:gd name="T11" fmla="*/ 11 h 24"/>
                <a:gd name="T12" fmla="*/ 82 w 82"/>
                <a:gd name="T13" fmla="*/ 8 h 24"/>
                <a:gd name="T14" fmla="*/ 79 w 82"/>
                <a:gd name="T15" fmla="*/ 3 h 24"/>
                <a:gd name="T16" fmla="*/ 75 w 82"/>
                <a:gd name="T17" fmla="*/ 1 h 24"/>
                <a:gd name="T18" fmla="*/ 71 w 82"/>
                <a:gd name="T19" fmla="*/ 0 h 24"/>
                <a:gd name="T20" fmla="*/ 11 w 82"/>
                <a:gd name="T21" fmla="*/ 0 h 24"/>
                <a:gd name="T22" fmla="*/ 7 w 82"/>
                <a:gd name="T23" fmla="*/ 1 h 24"/>
                <a:gd name="T24" fmla="*/ 3 w 82"/>
                <a:gd name="T25" fmla="*/ 3 h 24"/>
                <a:gd name="T26" fmla="*/ 1 w 82"/>
                <a:gd name="T27" fmla="*/ 8 h 24"/>
                <a:gd name="T28" fmla="*/ 0 w 82"/>
                <a:gd name="T29" fmla="*/ 11 h 24"/>
                <a:gd name="T30" fmla="*/ 1 w 82"/>
                <a:gd name="T31" fmla="*/ 17 h 24"/>
                <a:gd name="T32" fmla="*/ 3 w 82"/>
                <a:gd name="T33" fmla="*/ 20 h 24"/>
                <a:gd name="T34" fmla="*/ 7 w 82"/>
                <a:gd name="T35" fmla="*/ 23 h 24"/>
                <a:gd name="T36" fmla="*/ 11 w 82"/>
                <a:gd name="T3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24">
                  <a:moveTo>
                    <a:pt x="11" y="24"/>
                  </a:moveTo>
                  <a:lnTo>
                    <a:pt x="71" y="24"/>
                  </a:lnTo>
                  <a:lnTo>
                    <a:pt x="75" y="23"/>
                  </a:lnTo>
                  <a:lnTo>
                    <a:pt x="79" y="20"/>
                  </a:lnTo>
                  <a:lnTo>
                    <a:pt x="82" y="17"/>
                  </a:lnTo>
                  <a:lnTo>
                    <a:pt x="82" y="11"/>
                  </a:lnTo>
                  <a:lnTo>
                    <a:pt x="82" y="8"/>
                  </a:lnTo>
                  <a:lnTo>
                    <a:pt x="79" y="3"/>
                  </a:lnTo>
                  <a:lnTo>
                    <a:pt x="75" y="1"/>
                  </a:lnTo>
                  <a:lnTo>
                    <a:pt x="7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1" y="24"/>
                  </a:lnTo>
                  <a:close/>
                </a:path>
              </a:pathLst>
            </a:custGeom>
            <a:solidFill>
              <a:srgbClr val="00467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68"/>
            <p:cNvSpPr>
              <a:spLocks/>
            </p:cNvSpPr>
            <p:nvPr/>
          </p:nvSpPr>
          <p:spPr bwMode="auto">
            <a:xfrm>
              <a:off x="5862638" y="1409701"/>
              <a:ext cx="44450" cy="44450"/>
            </a:xfrm>
            <a:custGeom>
              <a:avLst/>
              <a:gdLst>
                <a:gd name="T0" fmla="*/ 13 w 112"/>
                <a:gd name="T1" fmla="*/ 0 h 112"/>
                <a:gd name="T2" fmla="*/ 7 w 112"/>
                <a:gd name="T3" fmla="*/ 1 h 112"/>
                <a:gd name="T4" fmla="*/ 3 w 112"/>
                <a:gd name="T5" fmla="*/ 3 h 112"/>
                <a:gd name="T6" fmla="*/ 1 w 112"/>
                <a:gd name="T7" fmla="*/ 8 h 112"/>
                <a:gd name="T8" fmla="*/ 0 w 112"/>
                <a:gd name="T9" fmla="*/ 13 h 112"/>
                <a:gd name="T10" fmla="*/ 1 w 112"/>
                <a:gd name="T11" fmla="*/ 17 h 112"/>
                <a:gd name="T12" fmla="*/ 3 w 112"/>
                <a:gd name="T13" fmla="*/ 21 h 112"/>
                <a:gd name="T14" fmla="*/ 7 w 112"/>
                <a:gd name="T15" fmla="*/ 23 h 112"/>
                <a:gd name="T16" fmla="*/ 13 w 112"/>
                <a:gd name="T17" fmla="*/ 24 h 112"/>
                <a:gd name="T18" fmla="*/ 19 w 112"/>
                <a:gd name="T19" fmla="*/ 24 h 112"/>
                <a:gd name="T20" fmla="*/ 27 w 112"/>
                <a:gd name="T21" fmla="*/ 25 h 112"/>
                <a:gd name="T22" fmla="*/ 34 w 112"/>
                <a:gd name="T23" fmla="*/ 27 h 112"/>
                <a:gd name="T24" fmla="*/ 41 w 112"/>
                <a:gd name="T25" fmla="*/ 30 h 112"/>
                <a:gd name="T26" fmla="*/ 48 w 112"/>
                <a:gd name="T27" fmla="*/ 33 h 112"/>
                <a:gd name="T28" fmla="*/ 55 w 112"/>
                <a:gd name="T29" fmla="*/ 37 h 112"/>
                <a:gd name="T30" fmla="*/ 61 w 112"/>
                <a:gd name="T31" fmla="*/ 41 h 112"/>
                <a:gd name="T32" fmla="*/ 65 w 112"/>
                <a:gd name="T33" fmla="*/ 47 h 112"/>
                <a:gd name="T34" fmla="*/ 71 w 112"/>
                <a:gd name="T35" fmla="*/ 51 h 112"/>
                <a:gd name="T36" fmla="*/ 76 w 112"/>
                <a:gd name="T37" fmla="*/ 57 h 112"/>
                <a:gd name="T38" fmla="*/ 79 w 112"/>
                <a:gd name="T39" fmla="*/ 64 h 112"/>
                <a:gd name="T40" fmla="*/ 82 w 112"/>
                <a:gd name="T41" fmla="*/ 71 h 112"/>
                <a:gd name="T42" fmla="*/ 85 w 112"/>
                <a:gd name="T43" fmla="*/ 78 h 112"/>
                <a:gd name="T44" fmla="*/ 87 w 112"/>
                <a:gd name="T45" fmla="*/ 85 h 112"/>
                <a:gd name="T46" fmla="*/ 88 w 112"/>
                <a:gd name="T47" fmla="*/ 93 h 112"/>
                <a:gd name="T48" fmla="*/ 88 w 112"/>
                <a:gd name="T49" fmla="*/ 100 h 112"/>
                <a:gd name="T50" fmla="*/ 89 w 112"/>
                <a:gd name="T51" fmla="*/ 104 h 112"/>
                <a:gd name="T52" fmla="*/ 92 w 112"/>
                <a:gd name="T53" fmla="*/ 109 h 112"/>
                <a:gd name="T54" fmla="*/ 95 w 112"/>
                <a:gd name="T55" fmla="*/ 111 h 112"/>
                <a:gd name="T56" fmla="*/ 100 w 112"/>
                <a:gd name="T57" fmla="*/ 112 h 112"/>
                <a:gd name="T58" fmla="*/ 104 w 112"/>
                <a:gd name="T59" fmla="*/ 111 h 112"/>
                <a:gd name="T60" fmla="*/ 109 w 112"/>
                <a:gd name="T61" fmla="*/ 109 h 112"/>
                <a:gd name="T62" fmla="*/ 111 w 112"/>
                <a:gd name="T63" fmla="*/ 104 h 112"/>
                <a:gd name="T64" fmla="*/ 112 w 112"/>
                <a:gd name="T65" fmla="*/ 100 h 112"/>
                <a:gd name="T66" fmla="*/ 111 w 112"/>
                <a:gd name="T67" fmla="*/ 89 h 112"/>
                <a:gd name="T68" fmla="*/ 110 w 112"/>
                <a:gd name="T69" fmla="*/ 80 h 112"/>
                <a:gd name="T70" fmla="*/ 108 w 112"/>
                <a:gd name="T71" fmla="*/ 70 h 112"/>
                <a:gd name="T72" fmla="*/ 104 w 112"/>
                <a:gd name="T73" fmla="*/ 61 h 112"/>
                <a:gd name="T74" fmla="*/ 100 w 112"/>
                <a:gd name="T75" fmla="*/ 53 h 112"/>
                <a:gd name="T76" fmla="*/ 95 w 112"/>
                <a:gd name="T77" fmla="*/ 45 h 112"/>
                <a:gd name="T78" fmla="*/ 89 w 112"/>
                <a:gd name="T79" fmla="*/ 37 h 112"/>
                <a:gd name="T80" fmla="*/ 82 w 112"/>
                <a:gd name="T81" fmla="*/ 30 h 112"/>
                <a:gd name="T82" fmla="*/ 76 w 112"/>
                <a:gd name="T83" fmla="*/ 23 h 112"/>
                <a:gd name="T84" fmla="*/ 68 w 112"/>
                <a:gd name="T85" fmla="*/ 17 h 112"/>
                <a:gd name="T86" fmla="*/ 59 w 112"/>
                <a:gd name="T87" fmla="*/ 13 h 112"/>
                <a:gd name="T88" fmla="*/ 50 w 112"/>
                <a:gd name="T89" fmla="*/ 8 h 112"/>
                <a:gd name="T90" fmla="*/ 41 w 112"/>
                <a:gd name="T91" fmla="*/ 5 h 112"/>
                <a:gd name="T92" fmla="*/ 32 w 112"/>
                <a:gd name="T93" fmla="*/ 2 h 112"/>
                <a:gd name="T94" fmla="*/ 22 w 112"/>
                <a:gd name="T95" fmla="*/ 1 h 112"/>
                <a:gd name="T96" fmla="*/ 13 w 112"/>
                <a:gd name="T97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" h="112">
                  <a:moveTo>
                    <a:pt x="13" y="0"/>
                  </a:moveTo>
                  <a:lnTo>
                    <a:pt x="7" y="1"/>
                  </a:lnTo>
                  <a:lnTo>
                    <a:pt x="3" y="3"/>
                  </a:lnTo>
                  <a:lnTo>
                    <a:pt x="1" y="8"/>
                  </a:lnTo>
                  <a:lnTo>
                    <a:pt x="0" y="13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19" y="24"/>
                  </a:lnTo>
                  <a:lnTo>
                    <a:pt x="27" y="25"/>
                  </a:lnTo>
                  <a:lnTo>
                    <a:pt x="34" y="27"/>
                  </a:lnTo>
                  <a:lnTo>
                    <a:pt x="41" y="30"/>
                  </a:lnTo>
                  <a:lnTo>
                    <a:pt x="48" y="33"/>
                  </a:lnTo>
                  <a:lnTo>
                    <a:pt x="55" y="37"/>
                  </a:lnTo>
                  <a:lnTo>
                    <a:pt x="61" y="41"/>
                  </a:lnTo>
                  <a:lnTo>
                    <a:pt x="65" y="47"/>
                  </a:lnTo>
                  <a:lnTo>
                    <a:pt x="71" y="51"/>
                  </a:lnTo>
                  <a:lnTo>
                    <a:pt x="76" y="57"/>
                  </a:lnTo>
                  <a:lnTo>
                    <a:pt x="79" y="64"/>
                  </a:lnTo>
                  <a:lnTo>
                    <a:pt x="82" y="71"/>
                  </a:lnTo>
                  <a:lnTo>
                    <a:pt x="85" y="78"/>
                  </a:lnTo>
                  <a:lnTo>
                    <a:pt x="87" y="85"/>
                  </a:lnTo>
                  <a:lnTo>
                    <a:pt x="88" y="93"/>
                  </a:lnTo>
                  <a:lnTo>
                    <a:pt x="88" y="100"/>
                  </a:lnTo>
                  <a:lnTo>
                    <a:pt x="89" y="104"/>
                  </a:lnTo>
                  <a:lnTo>
                    <a:pt x="92" y="109"/>
                  </a:lnTo>
                  <a:lnTo>
                    <a:pt x="95" y="111"/>
                  </a:lnTo>
                  <a:lnTo>
                    <a:pt x="100" y="112"/>
                  </a:lnTo>
                  <a:lnTo>
                    <a:pt x="104" y="111"/>
                  </a:lnTo>
                  <a:lnTo>
                    <a:pt x="109" y="109"/>
                  </a:lnTo>
                  <a:lnTo>
                    <a:pt x="111" y="104"/>
                  </a:lnTo>
                  <a:lnTo>
                    <a:pt x="112" y="100"/>
                  </a:lnTo>
                  <a:lnTo>
                    <a:pt x="111" y="89"/>
                  </a:lnTo>
                  <a:lnTo>
                    <a:pt x="110" y="80"/>
                  </a:lnTo>
                  <a:lnTo>
                    <a:pt x="108" y="70"/>
                  </a:lnTo>
                  <a:lnTo>
                    <a:pt x="104" y="61"/>
                  </a:lnTo>
                  <a:lnTo>
                    <a:pt x="100" y="53"/>
                  </a:lnTo>
                  <a:lnTo>
                    <a:pt x="95" y="45"/>
                  </a:lnTo>
                  <a:lnTo>
                    <a:pt x="89" y="37"/>
                  </a:lnTo>
                  <a:lnTo>
                    <a:pt x="82" y="30"/>
                  </a:lnTo>
                  <a:lnTo>
                    <a:pt x="76" y="23"/>
                  </a:lnTo>
                  <a:lnTo>
                    <a:pt x="68" y="17"/>
                  </a:lnTo>
                  <a:lnTo>
                    <a:pt x="59" y="13"/>
                  </a:lnTo>
                  <a:lnTo>
                    <a:pt x="50" y="8"/>
                  </a:lnTo>
                  <a:lnTo>
                    <a:pt x="41" y="5"/>
                  </a:lnTo>
                  <a:lnTo>
                    <a:pt x="32" y="2"/>
                  </a:lnTo>
                  <a:lnTo>
                    <a:pt x="22" y="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206EB5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69"/>
            <p:cNvSpPr>
              <a:spLocks/>
            </p:cNvSpPr>
            <p:nvPr/>
          </p:nvSpPr>
          <p:spPr bwMode="auto">
            <a:xfrm>
              <a:off x="5862638" y="1293813"/>
              <a:ext cx="161925" cy="160338"/>
            </a:xfrm>
            <a:custGeom>
              <a:avLst/>
              <a:gdLst>
                <a:gd name="T0" fmla="*/ 7 w 405"/>
                <a:gd name="T1" fmla="*/ 1 h 405"/>
                <a:gd name="T2" fmla="*/ 1 w 405"/>
                <a:gd name="T3" fmla="*/ 7 h 405"/>
                <a:gd name="T4" fmla="*/ 1 w 405"/>
                <a:gd name="T5" fmla="*/ 17 h 405"/>
                <a:gd name="T6" fmla="*/ 7 w 405"/>
                <a:gd name="T7" fmla="*/ 23 h 405"/>
                <a:gd name="T8" fmla="*/ 31 w 405"/>
                <a:gd name="T9" fmla="*/ 24 h 405"/>
                <a:gd name="T10" fmla="*/ 69 w 405"/>
                <a:gd name="T11" fmla="*/ 28 h 405"/>
                <a:gd name="T12" fmla="*/ 104 w 405"/>
                <a:gd name="T13" fmla="*/ 35 h 405"/>
                <a:gd name="T14" fmla="*/ 138 w 405"/>
                <a:gd name="T15" fmla="*/ 47 h 405"/>
                <a:gd name="T16" fmla="*/ 172 w 405"/>
                <a:gd name="T17" fmla="*/ 61 h 405"/>
                <a:gd name="T18" fmla="*/ 204 w 405"/>
                <a:gd name="T19" fmla="*/ 78 h 405"/>
                <a:gd name="T20" fmla="*/ 232 w 405"/>
                <a:gd name="T21" fmla="*/ 97 h 405"/>
                <a:gd name="T22" fmla="*/ 260 w 405"/>
                <a:gd name="T23" fmla="*/ 120 h 405"/>
                <a:gd name="T24" fmla="*/ 285 w 405"/>
                <a:gd name="T25" fmla="*/ 145 h 405"/>
                <a:gd name="T26" fmla="*/ 308 w 405"/>
                <a:gd name="T27" fmla="*/ 173 h 405"/>
                <a:gd name="T28" fmla="*/ 327 w 405"/>
                <a:gd name="T29" fmla="*/ 201 h 405"/>
                <a:gd name="T30" fmla="*/ 345 w 405"/>
                <a:gd name="T31" fmla="*/ 233 h 405"/>
                <a:gd name="T32" fmla="*/ 358 w 405"/>
                <a:gd name="T33" fmla="*/ 267 h 405"/>
                <a:gd name="T34" fmla="*/ 370 w 405"/>
                <a:gd name="T35" fmla="*/ 301 h 405"/>
                <a:gd name="T36" fmla="*/ 377 w 405"/>
                <a:gd name="T37" fmla="*/ 336 h 405"/>
                <a:gd name="T38" fmla="*/ 381 w 405"/>
                <a:gd name="T39" fmla="*/ 374 h 405"/>
                <a:gd name="T40" fmla="*/ 382 w 405"/>
                <a:gd name="T41" fmla="*/ 397 h 405"/>
                <a:gd name="T42" fmla="*/ 388 w 405"/>
                <a:gd name="T43" fmla="*/ 404 h 405"/>
                <a:gd name="T44" fmla="*/ 398 w 405"/>
                <a:gd name="T45" fmla="*/ 404 h 405"/>
                <a:gd name="T46" fmla="*/ 404 w 405"/>
                <a:gd name="T47" fmla="*/ 397 h 405"/>
                <a:gd name="T48" fmla="*/ 404 w 405"/>
                <a:gd name="T49" fmla="*/ 373 h 405"/>
                <a:gd name="T50" fmla="*/ 401 w 405"/>
                <a:gd name="T51" fmla="*/ 333 h 405"/>
                <a:gd name="T52" fmla="*/ 393 w 405"/>
                <a:gd name="T53" fmla="*/ 295 h 405"/>
                <a:gd name="T54" fmla="*/ 381 w 405"/>
                <a:gd name="T55" fmla="*/ 257 h 405"/>
                <a:gd name="T56" fmla="*/ 366 w 405"/>
                <a:gd name="T57" fmla="*/ 223 h 405"/>
                <a:gd name="T58" fmla="*/ 348 w 405"/>
                <a:gd name="T59" fmla="*/ 189 h 405"/>
                <a:gd name="T60" fmla="*/ 327 w 405"/>
                <a:gd name="T61" fmla="*/ 158 h 405"/>
                <a:gd name="T62" fmla="*/ 303 w 405"/>
                <a:gd name="T63" fmla="*/ 129 h 405"/>
                <a:gd name="T64" fmla="*/ 276 w 405"/>
                <a:gd name="T65" fmla="*/ 102 h 405"/>
                <a:gd name="T66" fmla="*/ 247 w 405"/>
                <a:gd name="T67" fmla="*/ 78 h 405"/>
                <a:gd name="T68" fmla="*/ 215 w 405"/>
                <a:gd name="T69" fmla="*/ 57 h 405"/>
                <a:gd name="T70" fmla="*/ 182 w 405"/>
                <a:gd name="T71" fmla="*/ 39 h 405"/>
                <a:gd name="T72" fmla="*/ 147 w 405"/>
                <a:gd name="T73" fmla="*/ 24 h 405"/>
                <a:gd name="T74" fmla="*/ 110 w 405"/>
                <a:gd name="T75" fmla="*/ 12 h 405"/>
                <a:gd name="T76" fmla="*/ 72 w 405"/>
                <a:gd name="T77" fmla="*/ 4 h 405"/>
                <a:gd name="T78" fmla="*/ 32 w 405"/>
                <a:gd name="T79" fmla="*/ 1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" h="405">
                  <a:moveTo>
                    <a:pt x="13" y="0"/>
                  </a:move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31" y="24"/>
                  </a:lnTo>
                  <a:lnTo>
                    <a:pt x="49" y="26"/>
                  </a:lnTo>
                  <a:lnTo>
                    <a:pt x="69" y="28"/>
                  </a:lnTo>
                  <a:lnTo>
                    <a:pt x="86" y="32"/>
                  </a:lnTo>
                  <a:lnTo>
                    <a:pt x="104" y="35"/>
                  </a:lnTo>
                  <a:lnTo>
                    <a:pt x="121" y="41"/>
                  </a:lnTo>
                  <a:lnTo>
                    <a:pt x="138" y="47"/>
                  </a:lnTo>
                  <a:lnTo>
                    <a:pt x="156" y="53"/>
                  </a:lnTo>
                  <a:lnTo>
                    <a:pt x="172" y="61"/>
                  </a:lnTo>
                  <a:lnTo>
                    <a:pt x="188" y="69"/>
                  </a:lnTo>
                  <a:lnTo>
                    <a:pt x="204" y="78"/>
                  </a:lnTo>
                  <a:lnTo>
                    <a:pt x="219" y="87"/>
                  </a:lnTo>
                  <a:lnTo>
                    <a:pt x="232" y="97"/>
                  </a:lnTo>
                  <a:lnTo>
                    <a:pt x="247" y="109"/>
                  </a:lnTo>
                  <a:lnTo>
                    <a:pt x="260" y="120"/>
                  </a:lnTo>
                  <a:lnTo>
                    <a:pt x="272" y="132"/>
                  </a:lnTo>
                  <a:lnTo>
                    <a:pt x="285" y="145"/>
                  </a:lnTo>
                  <a:lnTo>
                    <a:pt x="297" y="158"/>
                  </a:lnTo>
                  <a:lnTo>
                    <a:pt x="308" y="173"/>
                  </a:lnTo>
                  <a:lnTo>
                    <a:pt x="318" y="186"/>
                  </a:lnTo>
                  <a:lnTo>
                    <a:pt x="327" y="201"/>
                  </a:lnTo>
                  <a:lnTo>
                    <a:pt x="337" y="217"/>
                  </a:lnTo>
                  <a:lnTo>
                    <a:pt x="345" y="233"/>
                  </a:lnTo>
                  <a:lnTo>
                    <a:pt x="353" y="249"/>
                  </a:lnTo>
                  <a:lnTo>
                    <a:pt x="358" y="267"/>
                  </a:lnTo>
                  <a:lnTo>
                    <a:pt x="364" y="284"/>
                  </a:lnTo>
                  <a:lnTo>
                    <a:pt x="370" y="301"/>
                  </a:lnTo>
                  <a:lnTo>
                    <a:pt x="373" y="318"/>
                  </a:lnTo>
                  <a:lnTo>
                    <a:pt x="377" y="336"/>
                  </a:lnTo>
                  <a:lnTo>
                    <a:pt x="379" y="355"/>
                  </a:lnTo>
                  <a:lnTo>
                    <a:pt x="381" y="374"/>
                  </a:lnTo>
                  <a:lnTo>
                    <a:pt x="381" y="393"/>
                  </a:lnTo>
                  <a:lnTo>
                    <a:pt x="382" y="397"/>
                  </a:lnTo>
                  <a:lnTo>
                    <a:pt x="385" y="402"/>
                  </a:lnTo>
                  <a:lnTo>
                    <a:pt x="388" y="404"/>
                  </a:lnTo>
                  <a:lnTo>
                    <a:pt x="393" y="405"/>
                  </a:lnTo>
                  <a:lnTo>
                    <a:pt x="398" y="404"/>
                  </a:lnTo>
                  <a:lnTo>
                    <a:pt x="402" y="402"/>
                  </a:lnTo>
                  <a:lnTo>
                    <a:pt x="404" y="397"/>
                  </a:lnTo>
                  <a:lnTo>
                    <a:pt x="405" y="393"/>
                  </a:lnTo>
                  <a:lnTo>
                    <a:pt x="404" y="373"/>
                  </a:lnTo>
                  <a:lnTo>
                    <a:pt x="403" y="352"/>
                  </a:lnTo>
                  <a:lnTo>
                    <a:pt x="401" y="333"/>
                  </a:lnTo>
                  <a:lnTo>
                    <a:pt x="397" y="314"/>
                  </a:lnTo>
                  <a:lnTo>
                    <a:pt x="393" y="295"/>
                  </a:lnTo>
                  <a:lnTo>
                    <a:pt x="387" y="276"/>
                  </a:lnTo>
                  <a:lnTo>
                    <a:pt x="381" y="257"/>
                  </a:lnTo>
                  <a:lnTo>
                    <a:pt x="374" y="240"/>
                  </a:lnTo>
                  <a:lnTo>
                    <a:pt x="366" y="223"/>
                  </a:lnTo>
                  <a:lnTo>
                    <a:pt x="357" y="206"/>
                  </a:lnTo>
                  <a:lnTo>
                    <a:pt x="348" y="189"/>
                  </a:lnTo>
                  <a:lnTo>
                    <a:pt x="338" y="174"/>
                  </a:lnTo>
                  <a:lnTo>
                    <a:pt x="327" y="158"/>
                  </a:lnTo>
                  <a:lnTo>
                    <a:pt x="315" y="143"/>
                  </a:lnTo>
                  <a:lnTo>
                    <a:pt x="303" y="129"/>
                  </a:lnTo>
                  <a:lnTo>
                    <a:pt x="290" y="115"/>
                  </a:lnTo>
                  <a:lnTo>
                    <a:pt x="276" y="102"/>
                  </a:lnTo>
                  <a:lnTo>
                    <a:pt x="262" y="90"/>
                  </a:lnTo>
                  <a:lnTo>
                    <a:pt x="247" y="78"/>
                  </a:lnTo>
                  <a:lnTo>
                    <a:pt x="231" y="67"/>
                  </a:lnTo>
                  <a:lnTo>
                    <a:pt x="215" y="57"/>
                  </a:lnTo>
                  <a:lnTo>
                    <a:pt x="199" y="48"/>
                  </a:lnTo>
                  <a:lnTo>
                    <a:pt x="182" y="39"/>
                  </a:lnTo>
                  <a:lnTo>
                    <a:pt x="165" y="31"/>
                  </a:lnTo>
                  <a:lnTo>
                    <a:pt x="147" y="24"/>
                  </a:lnTo>
                  <a:lnTo>
                    <a:pt x="129" y="18"/>
                  </a:lnTo>
                  <a:lnTo>
                    <a:pt x="110" y="12"/>
                  </a:lnTo>
                  <a:lnTo>
                    <a:pt x="92" y="8"/>
                  </a:lnTo>
                  <a:lnTo>
                    <a:pt x="72" y="4"/>
                  </a:lnTo>
                  <a:lnTo>
                    <a:pt x="53" y="2"/>
                  </a:lnTo>
                  <a:lnTo>
                    <a:pt x="32" y="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206EB5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70"/>
            <p:cNvSpPr>
              <a:spLocks/>
            </p:cNvSpPr>
            <p:nvPr/>
          </p:nvSpPr>
          <p:spPr bwMode="auto">
            <a:xfrm>
              <a:off x="5862638" y="1352551"/>
              <a:ext cx="103188" cy="101600"/>
            </a:xfrm>
            <a:custGeom>
              <a:avLst/>
              <a:gdLst>
                <a:gd name="T0" fmla="*/ 13 w 259"/>
                <a:gd name="T1" fmla="*/ 0 h 259"/>
                <a:gd name="T2" fmla="*/ 7 w 259"/>
                <a:gd name="T3" fmla="*/ 2 h 259"/>
                <a:gd name="T4" fmla="*/ 3 w 259"/>
                <a:gd name="T5" fmla="*/ 4 h 259"/>
                <a:gd name="T6" fmla="*/ 1 w 259"/>
                <a:gd name="T7" fmla="*/ 7 h 259"/>
                <a:gd name="T8" fmla="*/ 0 w 259"/>
                <a:gd name="T9" fmla="*/ 12 h 259"/>
                <a:gd name="T10" fmla="*/ 1 w 259"/>
                <a:gd name="T11" fmla="*/ 18 h 259"/>
                <a:gd name="T12" fmla="*/ 3 w 259"/>
                <a:gd name="T13" fmla="*/ 21 h 259"/>
                <a:gd name="T14" fmla="*/ 7 w 259"/>
                <a:gd name="T15" fmla="*/ 23 h 259"/>
                <a:gd name="T16" fmla="*/ 13 w 259"/>
                <a:gd name="T17" fmla="*/ 24 h 259"/>
                <a:gd name="T18" fmla="*/ 34 w 259"/>
                <a:gd name="T19" fmla="*/ 26 h 259"/>
                <a:gd name="T20" fmla="*/ 57 w 259"/>
                <a:gd name="T21" fmla="*/ 29 h 259"/>
                <a:gd name="T22" fmla="*/ 78 w 259"/>
                <a:gd name="T23" fmla="*/ 35 h 259"/>
                <a:gd name="T24" fmla="*/ 98 w 259"/>
                <a:gd name="T25" fmla="*/ 42 h 259"/>
                <a:gd name="T26" fmla="*/ 118 w 259"/>
                <a:gd name="T27" fmla="*/ 52 h 259"/>
                <a:gd name="T28" fmla="*/ 136 w 259"/>
                <a:gd name="T29" fmla="*/ 62 h 259"/>
                <a:gd name="T30" fmla="*/ 153 w 259"/>
                <a:gd name="T31" fmla="*/ 75 h 259"/>
                <a:gd name="T32" fmla="*/ 169 w 259"/>
                <a:gd name="T33" fmla="*/ 90 h 259"/>
                <a:gd name="T34" fmla="*/ 183 w 259"/>
                <a:gd name="T35" fmla="*/ 106 h 259"/>
                <a:gd name="T36" fmla="*/ 197 w 259"/>
                <a:gd name="T37" fmla="*/ 123 h 259"/>
                <a:gd name="T38" fmla="*/ 207 w 259"/>
                <a:gd name="T39" fmla="*/ 141 h 259"/>
                <a:gd name="T40" fmla="*/ 217 w 259"/>
                <a:gd name="T41" fmla="*/ 161 h 259"/>
                <a:gd name="T42" fmla="*/ 224 w 259"/>
                <a:gd name="T43" fmla="*/ 181 h 259"/>
                <a:gd name="T44" fmla="*/ 230 w 259"/>
                <a:gd name="T45" fmla="*/ 202 h 259"/>
                <a:gd name="T46" fmla="*/ 234 w 259"/>
                <a:gd name="T47" fmla="*/ 224 h 259"/>
                <a:gd name="T48" fmla="*/ 235 w 259"/>
                <a:gd name="T49" fmla="*/ 247 h 259"/>
                <a:gd name="T50" fmla="*/ 236 w 259"/>
                <a:gd name="T51" fmla="*/ 251 h 259"/>
                <a:gd name="T52" fmla="*/ 238 w 259"/>
                <a:gd name="T53" fmla="*/ 256 h 259"/>
                <a:gd name="T54" fmla="*/ 242 w 259"/>
                <a:gd name="T55" fmla="*/ 258 h 259"/>
                <a:gd name="T56" fmla="*/ 246 w 259"/>
                <a:gd name="T57" fmla="*/ 259 h 259"/>
                <a:gd name="T58" fmla="*/ 251 w 259"/>
                <a:gd name="T59" fmla="*/ 258 h 259"/>
                <a:gd name="T60" fmla="*/ 255 w 259"/>
                <a:gd name="T61" fmla="*/ 256 h 259"/>
                <a:gd name="T62" fmla="*/ 258 w 259"/>
                <a:gd name="T63" fmla="*/ 251 h 259"/>
                <a:gd name="T64" fmla="*/ 259 w 259"/>
                <a:gd name="T65" fmla="*/ 247 h 259"/>
                <a:gd name="T66" fmla="*/ 259 w 259"/>
                <a:gd name="T67" fmla="*/ 234 h 259"/>
                <a:gd name="T68" fmla="*/ 258 w 259"/>
                <a:gd name="T69" fmla="*/ 221 h 259"/>
                <a:gd name="T70" fmla="*/ 255 w 259"/>
                <a:gd name="T71" fmla="*/ 210 h 259"/>
                <a:gd name="T72" fmla="*/ 254 w 259"/>
                <a:gd name="T73" fmla="*/ 197 h 259"/>
                <a:gd name="T74" fmla="*/ 251 w 259"/>
                <a:gd name="T75" fmla="*/ 186 h 259"/>
                <a:gd name="T76" fmla="*/ 247 w 259"/>
                <a:gd name="T77" fmla="*/ 173 h 259"/>
                <a:gd name="T78" fmla="*/ 244 w 259"/>
                <a:gd name="T79" fmla="*/ 162 h 259"/>
                <a:gd name="T80" fmla="*/ 239 w 259"/>
                <a:gd name="T81" fmla="*/ 152 h 259"/>
                <a:gd name="T82" fmla="*/ 235 w 259"/>
                <a:gd name="T83" fmla="*/ 140 h 259"/>
                <a:gd name="T84" fmla="*/ 229 w 259"/>
                <a:gd name="T85" fmla="*/ 130 h 259"/>
                <a:gd name="T86" fmla="*/ 223 w 259"/>
                <a:gd name="T87" fmla="*/ 119 h 259"/>
                <a:gd name="T88" fmla="*/ 216 w 259"/>
                <a:gd name="T89" fmla="*/ 109 h 259"/>
                <a:gd name="T90" fmla="*/ 203 w 259"/>
                <a:gd name="T91" fmla="*/ 91 h 259"/>
                <a:gd name="T92" fmla="*/ 187 w 259"/>
                <a:gd name="T93" fmla="*/ 73 h 259"/>
                <a:gd name="T94" fmla="*/ 168 w 259"/>
                <a:gd name="T95" fmla="*/ 56 h 259"/>
                <a:gd name="T96" fmla="*/ 150 w 259"/>
                <a:gd name="T97" fmla="*/ 43 h 259"/>
                <a:gd name="T98" fmla="*/ 140 w 259"/>
                <a:gd name="T99" fmla="*/ 36 h 259"/>
                <a:gd name="T100" fmla="*/ 129 w 259"/>
                <a:gd name="T101" fmla="*/ 30 h 259"/>
                <a:gd name="T102" fmla="*/ 119 w 259"/>
                <a:gd name="T103" fmla="*/ 24 h 259"/>
                <a:gd name="T104" fmla="*/ 108 w 259"/>
                <a:gd name="T105" fmla="*/ 20 h 259"/>
                <a:gd name="T106" fmla="*/ 96 w 259"/>
                <a:gd name="T107" fmla="*/ 15 h 259"/>
                <a:gd name="T108" fmla="*/ 85 w 259"/>
                <a:gd name="T109" fmla="*/ 12 h 259"/>
                <a:gd name="T110" fmla="*/ 73 w 259"/>
                <a:gd name="T111" fmla="*/ 8 h 259"/>
                <a:gd name="T112" fmla="*/ 62 w 259"/>
                <a:gd name="T113" fmla="*/ 5 h 259"/>
                <a:gd name="T114" fmla="*/ 49 w 259"/>
                <a:gd name="T115" fmla="*/ 4 h 259"/>
                <a:gd name="T116" fmla="*/ 38 w 259"/>
                <a:gd name="T117" fmla="*/ 2 h 259"/>
                <a:gd name="T118" fmla="*/ 25 w 259"/>
                <a:gd name="T119" fmla="*/ 0 h 259"/>
                <a:gd name="T120" fmla="*/ 13 w 259"/>
                <a:gd name="T12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259">
                  <a:moveTo>
                    <a:pt x="13" y="0"/>
                  </a:moveTo>
                  <a:lnTo>
                    <a:pt x="7" y="2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34" y="26"/>
                  </a:lnTo>
                  <a:lnTo>
                    <a:pt x="57" y="29"/>
                  </a:lnTo>
                  <a:lnTo>
                    <a:pt x="78" y="35"/>
                  </a:lnTo>
                  <a:lnTo>
                    <a:pt x="98" y="42"/>
                  </a:lnTo>
                  <a:lnTo>
                    <a:pt x="118" y="52"/>
                  </a:lnTo>
                  <a:lnTo>
                    <a:pt x="136" y="62"/>
                  </a:lnTo>
                  <a:lnTo>
                    <a:pt x="153" y="75"/>
                  </a:lnTo>
                  <a:lnTo>
                    <a:pt x="169" y="90"/>
                  </a:lnTo>
                  <a:lnTo>
                    <a:pt x="183" y="106"/>
                  </a:lnTo>
                  <a:lnTo>
                    <a:pt x="197" y="123"/>
                  </a:lnTo>
                  <a:lnTo>
                    <a:pt x="207" y="141"/>
                  </a:lnTo>
                  <a:lnTo>
                    <a:pt x="217" y="161"/>
                  </a:lnTo>
                  <a:lnTo>
                    <a:pt x="224" y="181"/>
                  </a:lnTo>
                  <a:lnTo>
                    <a:pt x="230" y="202"/>
                  </a:lnTo>
                  <a:lnTo>
                    <a:pt x="234" y="224"/>
                  </a:lnTo>
                  <a:lnTo>
                    <a:pt x="235" y="247"/>
                  </a:lnTo>
                  <a:lnTo>
                    <a:pt x="236" y="251"/>
                  </a:lnTo>
                  <a:lnTo>
                    <a:pt x="238" y="256"/>
                  </a:lnTo>
                  <a:lnTo>
                    <a:pt x="242" y="258"/>
                  </a:lnTo>
                  <a:lnTo>
                    <a:pt x="246" y="259"/>
                  </a:lnTo>
                  <a:lnTo>
                    <a:pt x="251" y="258"/>
                  </a:lnTo>
                  <a:lnTo>
                    <a:pt x="255" y="256"/>
                  </a:lnTo>
                  <a:lnTo>
                    <a:pt x="258" y="251"/>
                  </a:lnTo>
                  <a:lnTo>
                    <a:pt x="259" y="247"/>
                  </a:lnTo>
                  <a:lnTo>
                    <a:pt x="259" y="234"/>
                  </a:lnTo>
                  <a:lnTo>
                    <a:pt x="258" y="221"/>
                  </a:lnTo>
                  <a:lnTo>
                    <a:pt x="255" y="210"/>
                  </a:lnTo>
                  <a:lnTo>
                    <a:pt x="254" y="197"/>
                  </a:lnTo>
                  <a:lnTo>
                    <a:pt x="251" y="186"/>
                  </a:lnTo>
                  <a:lnTo>
                    <a:pt x="247" y="173"/>
                  </a:lnTo>
                  <a:lnTo>
                    <a:pt x="244" y="162"/>
                  </a:lnTo>
                  <a:lnTo>
                    <a:pt x="239" y="152"/>
                  </a:lnTo>
                  <a:lnTo>
                    <a:pt x="235" y="140"/>
                  </a:lnTo>
                  <a:lnTo>
                    <a:pt x="229" y="130"/>
                  </a:lnTo>
                  <a:lnTo>
                    <a:pt x="223" y="119"/>
                  </a:lnTo>
                  <a:lnTo>
                    <a:pt x="216" y="109"/>
                  </a:lnTo>
                  <a:lnTo>
                    <a:pt x="203" y="91"/>
                  </a:lnTo>
                  <a:lnTo>
                    <a:pt x="187" y="73"/>
                  </a:lnTo>
                  <a:lnTo>
                    <a:pt x="168" y="56"/>
                  </a:lnTo>
                  <a:lnTo>
                    <a:pt x="150" y="43"/>
                  </a:lnTo>
                  <a:lnTo>
                    <a:pt x="140" y="36"/>
                  </a:lnTo>
                  <a:lnTo>
                    <a:pt x="129" y="30"/>
                  </a:lnTo>
                  <a:lnTo>
                    <a:pt x="119" y="24"/>
                  </a:lnTo>
                  <a:lnTo>
                    <a:pt x="108" y="20"/>
                  </a:lnTo>
                  <a:lnTo>
                    <a:pt x="96" y="15"/>
                  </a:lnTo>
                  <a:lnTo>
                    <a:pt x="85" y="12"/>
                  </a:lnTo>
                  <a:lnTo>
                    <a:pt x="73" y="8"/>
                  </a:lnTo>
                  <a:lnTo>
                    <a:pt x="62" y="5"/>
                  </a:lnTo>
                  <a:lnTo>
                    <a:pt x="49" y="4"/>
                  </a:lnTo>
                  <a:lnTo>
                    <a:pt x="38" y="2"/>
                  </a:lnTo>
                  <a:lnTo>
                    <a:pt x="25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206EB5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1" name="Овал 110"/>
          <p:cNvSpPr/>
          <p:nvPr/>
        </p:nvSpPr>
        <p:spPr>
          <a:xfrm>
            <a:off x="646483" y="2610693"/>
            <a:ext cx="416788" cy="418783"/>
          </a:xfrm>
          <a:prstGeom prst="ellipse">
            <a:avLst/>
          </a:prstGeom>
          <a:noFill/>
          <a:ln w="12700">
            <a:solidFill>
              <a:srgbClr val="545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2" name="Группа 111"/>
          <p:cNvGrpSpPr/>
          <p:nvPr/>
        </p:nvGrpSpPr>
        <p:grpSpPr>
          <a:xfrm>
            <a:off x="1442746" y="2708619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113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5" name="engineer"/>
          <p:cNvGrpSpPr>
            <a:grpSpLocks noChangeAspect="1"/>
          </p:cNvGrpSpPr>
          <p:nvPr/>
        </p:nvGrpSpPr>
        <p:grpSpPr>
          <a:xfrm>
            <a:off x="775577" y="3162523"/>
            <a:ext cx="158601" cy="335589"/>
            <a:chOff x="784225" y="1839913"/>
            <a:chExt cx="328613" cy="695325"/>
          </a:xfrm>
        </p:grpSpPr>
        <p:sp>
          <p:nvSpPr>
            <p:cNvPr id="116" name="Freeform 115"/>
            <p:cNvSpPr>
              <a:spLocks noEditPoints="1"/>
            </p:cNvSpPr>
            <p:nvPr/>
          </p:nvSpPr>
          <p:spPr bwMode="auto">
            <a:xfrm>
              <a:off x="827088" y="1909763"/>
              <a:ext cx="242888" cy="142875"/>
            </a:xfrm>
            <a:custGeom>
              <a:avLst/>
              <a:gdLst>
                <a:gd name="T0" fmla="*/ 287 w 610"/>
                <a:gd name="T1" fmla="*/ 356 h 362"/>
                <a:gd name="T2" fmla="*/ 275 w 610"/>
                <a:gd name="T3" fmla="*/ 362 h 362"/>
                <a:gd name="T4" fmla="*/ 264 w 610"/>
                <a:gd name="T5" fmla="*/ 353 h 362"/>
                <a:gd name="T6" fmla="*/ 245 w 610"/>
                <a:gd name="T7" fmla="*/ 245 h 362"/>
                <a:gd name="T8" fmla="*/ 183 w 610"/>
                <a:gd name="T9" fmla="*/ 237 h 362"/>
                <a:gd name="T10" fmla="*/ 94 w 610"/>
                <a:gd name="T11" fmla="*/ 267 h 362"/>
                <a:gd name="T12" fmla="*/ 40 w 610"/>
                <a:gd name="T13" fmla="*/ 299 h 362"/>
                <a:gd name="T14" fmla="*/ 18 w 610"/>
                <a:gd name="T15" fmla="*/ 324 h 362"/>
                <a:gd name="T16" fmla="*/ 6 w 610"/>
                <a:gd name="T17" fmla="*/ 324 h 362"/>
                <a:gd name="T18" fmla="*/ 2 w 610"/>
                <a:gd name="T19" fmla="*/ 308 h 362"/>
                <a:gd name="T20" fmla="*/ 46 w 610"/>
                <a:gd name="T21" fmla="*/ 266 h 362"/>
                <a:gd name="T22" fmla="*/ 106 w 610"/>
                <a:gd name="T23" fmla="*/ 236 h 362"/>
                <a:gd name="T24" fmla="*/ 211 w 610"/>
                <a:gd name="T25" fmla="*/ 206 h 362"/>
                <a:gd name="T26" fmla="*/ 196 w 610"/>
                <a:gd name="T27" fmla="*/ 118 h 362"/>
                <a:gd name="T28" fmla="*/ 174 w 610"/>
                <a:gd name="T29" fmla="*/ 87 h 362"/>
                <a:gd name="T30" fmla="*/ 178 w 610"/>
                <a:gd name="T31" fmla="*/ 61 h 362"/>
                <a:gd name="T32" fmla="*/ 178 w 610"/>
                <a:gd name="T33" fmla="*/ 26 h 362"/>
                <a:gd name="T34" fmla="*/ 184 w 610"/>
                <a:gd name="T35" fmla="*/ 1 h 362"/>
                <a:gd name="T36" fmla="*/ 200 w 610"/>
                <a:gd name="T37" fmla="*/ 6 h 362"/>
                <a:gd name="T38" fmla="*/ 205 w 610"/>
                <a:gd name="T39" fmla="*/ 54 h 362"/>
                <a:gd name="T40" fmla="*/ 203 w 610"/>
                <a:gd name="T41" fmla="*/ 67 h 362"/>
                <a:gd name="T42" fmla="*/ 197 w 610"/>
                <a:gd name="T43" fmla="*/ 76 h 362"/>
                <a:gd name="T44" fmla="*/ 203 w 610"/>
                <a:gd name="T45" fmla="*/ 92 h 362"/>
                <a:gd name="T46" fmla="*/ 225 w 610"/>
                <a:gd name="T47" fmla="*/ 113 h 362"/>
                <a:gd name="T48" fmla="*/ 235 w 610"/>
                <a:gd name="T49" fmla="*/ 139 h 362"/>
                <a:gd name="T50" fmla="*/ 259 w 610"/>
                <a:gd name="T51" fmla="*/ 169 h 362"/>
                <a:gd name="T52" fmla="*/ 292 w 610"/>
                <a:gd name="T53" fmla="*/ 184 h 362"/>
                <a:gd name="T54" fmla="*/ 330 w 610"/>
                <a:gd name="T55" fmla="*/ 178 h 362"/>
                <a:gd name="T56" fmla="*/ 356 w 610"/>
                <a:gd name="T57" fmla="*/ 157 h 362"/>
                <a:gd name="T58" fmla="*/ 374 w 610"/>
                <a:gd name="T59" fmla="*/ 121 h 362"/>
                <a:gd name="T60" fmla="*/ 386 w 610"/>
                <a:gd name="T61" fmla="*/ 104 h 362"/>
                <a:gd name="T62" fmla="*/ 403 w 610"/>
                <a:gd name="T63" fmla="*/ 83 h 362"/>
                <a:gd name="T64" fmla="*/ 402 w 610"/>
                <a:gd name="T65" fmla="*/ 71 h 362"/>
                <a:gd name="T66" fmla="*/ 396 w 610"/>
                <a:gd name="T67" fmla="*/ 61 h 362"/>
                <a:gd name="T68" fmla="*/ 400 w 610"/>
                <a:gd name="T69" fmla="*/ 31 h 362"/>
                <a:gd name="T70" fmla="*/ 408 w 610"/>
                <a:gd name="T71" fmla="*/ 2 h 362"/>
                <a:gd name="T72" fmla="*/ 424 w 610"/>
                <a:gd name="T73" fmla="*/ 8 h 362"/>
                <a:gd name="T74" fmla="*/ 421 w 610"/>
                <a:gd name="T75" fmla="*/ 48 h 362"/>
                <a:gd name="T76" fmla="*/ 427 w 610"/>
                <a:gd name="T77" fmla="*/ 72 h 362"/>
                <a:gd name="T78" fmla="*/ 420 w 610"/>
                <a:gd name="T79" fmla="*/ 101 h 362"/>
                <a:gd name="T80" fmla="*/ 397 w 610"/>
                <a:gd name="T81" fmla="*/ 129 h 362"/>
                <a:gd name="T82" fmla="*/ 395 w 610"/>
                <a:gd name="T83" fmla="*/ 206 h 362"/>
                <a:gd name="T84" fmla="*/ 501 w 610"/>
                <a:gd name="T85" fmla="*/ 236 h 362"/>
                <a:gd name="T86" fmla="*/ 564 w 610"/>
                <a:gd name="T87" fmla="*/ 266 h 362"/>
                <a:gd name="T88" fmla="*/ 609 w 610"/>
                <a:gd name="T89" fmla="*/ 308 h 362"/>
                <a:gd name="T90" fmla="*/ 605 w 610"/>
                <a:gd name="T91" fmla="*/ 324 h 362"/>
                <a:gd name="T92" fmla="*/ 588 w 610"/>
                <a:gd name="T93" fmla="*/ 319 h 362"/>
                <a:gd name="T94" fmla="*/ 546 w 610"/>
                <a:gd name="T95" fmla="*/ 282 h 362"/>
                <a:gd name="T96" fmla="*/ 484 w 610"/>
                <a:gd name="T97" fmla="*/ 255 h 362"/>
                <a:gd name="T98" fmla="*/ 385 w 610"/>
                <a:gd name="T99" fmla="*/ 230 h 362"/>
                <a:gd name="T100" fmla="*/ 343 w 610"/>
                <a:gd name="T101" fmla="*/ 305 h 362"/>
                <a:gd name="T102" fmla="*/ 340 w 610"/>
                <a:gd name="T103" fmla="*/ 361 h 362"/>
                <a:gd name="T104" fmla="*/ 330 w 610"/>
                <a:gd name="T105" fmla="*/ 361 h 362"/>
                <a:gd name="T106" fmla="*/ 320 w 610"/>
                <a:gd name="T107" fmla="*/ 315 h 362"/>
                <a:gd name="T108" fmla="*/ 334 w 610"/>
                <a:gd name="T109" fmla="*/ 262 h 362"/>
                <a:gd name="T110" fmla="*/ 303 w 610"/>
                <a:gd name="T111" fmla="*/ 278 h 362"/>
                <a:gd name="T112" fmla="*/ 305 w 610"/>
                <a:gd name="T113" fmla="*/ 252 h 362"/>
                <a:gd name="T114" fmla="*/ 358 w 610"/>
                <a:gd name="T115" fmla="*/ 190 h 362"/>
                <a:gd name="T116" fmla="*/ 324 w 610"/>
                <a:gd name="T117" fmla="*/ 207 h 362"/>
                <a:gd name="T118" fmla="*/ 282 w 610"/>
                <a:gd name="T119" fmla="*/ 207 h 362"/>
                <a:gd name="T120" fmla="*/ 247 w 610"/>
                <a:gd name="T121" fmla="*/ 191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10" h="362">
                  <a:moveTo>
                    <a:pt x="320" y="315"/>
                  </a:moveTo>
                  <a:lnTo>
                    <a:pt x="291" y="315"/>
                  </a:lnTo>
                  <a:lnTo>
                    <a:pt x="288" y="351"/>
                  </a:lnTo>
                  <a:lnTo>
                    <a:pt x="287" y="356"/>
                  </a:lnTo>
                  <a:lnTo>
                    <a:pt x="283" y="359"/>
                  </a:lnTo>
                  <a:lnTo>
                    <a:pt x="280" y="361"/>
                  </a:lnTo>
                  <a:lnTo>
                    <a:pt x="276" y="362"/>
                  </a:lnTo>
                  <a:lnTo>
                    <a:pt x="275" y="362"/>
                  </a:lnTo>
                  <a:lnTo>
                    <a:pt x="275" y="362"/>
                  </a:lnTo>
                  <a:lnTo>
                    <a:pt x="270" y="361"/>
                  </a:lnTo>
                  <a:lnTo>
                    <a:pt x="266" y="358"/>
                  </a:lnTo>
                  <a:lnTo>
                    <a:pt x="264" y="353"/>
                  </a:lnTo>
                  <a:lnTo>
                    <a:pt x="264" y="348"/>
                  </a:lnTo>
                  <a:lnTo>
                    <a:pt x="268" y="305"/>
                  </a:lnTo>
                  <a:lnTo>
                    <a:pt x="246" y="247"/>
                  </a:lnTo>
                  <a:lnTo>
                    <a:pt x="245" y="245"/>
                  </a:lnTo>
                  <a:lnTo>
                    <a:pt x="245" y="244"/>
                  </a:lnTo>
                  <a:lnTo>
                    <a:pt x="220" y="230"/>
                  </a:lnTo>
                  <a:lnTo>
                    <a:pt x="206" y="232"/>
                  </a:lnTo>
                  <a:lnTo>
                    <a:pt x="183" y="237"/>
                  </a:lnTo>
                  <a:lnTo>
                    <a:pt x="155" y="244"/>
                  </a:lnTo>
                  <a:lnTo>
                    <a:pt x="125" y="255"/>
                  </a:lnTo>
                  <a:lnTo>
                    <a:pt x="109" y="261"/>
                  </a:lnTo>
                  <a:lnTo>
                    <a:pt x="94" y="267"/>
                  </a:lnTo>
                  <a:lnTo>
                    <a:pt x="79" y="275"/>
                  </a:lnTo>
                  <a:lnTo>
                    <a:pt x="65" y="282"/>
                  </a:lnTo>
                  <a:lnTo>
                    <a:pt x="52" y="290"/>
                  </a:lnTo>
                  <a:lnTo>
                    <a:pt x="40" y="299"/>
                  </a:lnTo>
                  <a:lnTo>
                    <a:pt x="30" y="308"/>
                  </a:lnTo>
                  <a:lnTo>
                    <a:pt x="23" y="319"/>
                  </a:lnTo>
                  <a:lnTo>
                    <a:pt x="20" y="322"/>
                  </a:lnTo>
                  <a:lnTo>
                    <a:pt x="18" y="324"/>
                  </a:lnTo>
                  <a:lnTo>
                    <a:pt x="16" y="325"/>
                  </a:lnTo>
                  <a:lnTo>
                    <a:pt x="12" y="325"/>
                  </a:lnTo>
                  <a:lnTo>
                    <a:pt x="10" y="325"/>
                  </a:lnTo>
                  <a:lnTo>
                    <a:pt x="6" y="324"/>
                  </a:lnTo>
                  <a:lnTo>
                    <a:pt x="2" y="321"/>
                  </a:lnTo>
                  <a:lnTo>
                    <a:pt x="1" y="317"/>
                  </a:lnTo>
                  <a:lnTo>
                    <a:pt x="0" y="312"/>
                  </a:lnTo>
                  <a:lnTo>
                    <a:pt x="2" y="308"/>
                  </a:lnTo>
                  <a:lnTo>
                    <a:pt x="11" y="296"/>
                  </a:lnTo>
                  <a:lnTo>
                    <a:pt x="20" y="285"/>
                  </a:lnTo>
                  <a:lnTo>
                    <a:pt x="33" y="276"/>
                  </a:lnTo>
                  <a:lnTo>
                    <a:pt x="46" y="266"/>
                  </a:lnTo>
                  <a:lnTo>
                    <a:pt x="60" y="258"/>
                  </a:lnTo>
                  <a:lnTo>
                    <a:pt x="75" y="250"/>
                  </a:lnTo>
                  <a:lnTo>
                    <a:pt x="91" y="243"/>
                  </a:lnTo>
                  <a:lnTo>
                    <a:pt x="106" y="236"/>
                  </a:lnTo>
                  <a:lnTo>
                    <a:pt x="138" y="225"/>
                  </a:lnTo>
                  <a:lnTo>
                    <a:pt x="167" y="216"/>
                  </a:lnTo>
                  <a:lnTo>
                    <a:pt x="192" y="210"/>
                  </a:lnTo>
                  <a:lnTo>
                    <a:pt x="211" y="206"/>
                  </a:lnTo>
                  <a:lnTo>
                    <a:pt x="209" y="140"/>
                  </a:lnTo>
                  <a:lnTo>
                    <a:pt x="206" y="133"/>
                  </a:lnTo>
                  <a:lnTo>
                    <a:pt x="203" y="126"/>
                  </a:lnTo>
                  <a:lnTo>
                    <a:pt x="196" y="118"/>
                  </a:lnTo>
                  <a:lnTo>
                    <a:pt x="185" y="107"/>
                  </a:lnTo>
                  <a:lnTo>
                    <a:pt x="182" y="101"/>
                  </a:lnTo>
                  <a:lnTo>
                    <a:pt x="177" y="94"/>
                  </a:lnTo>
                  <a:lnTo>
                    <a:pt x="174" y="87"/>
                  </a:lnTo>
                  <a:lnTo>
                    <a:pt x="173" y="78"/>
                  </a:lnTo>
                  <a:lnTo>
                    <a:pt x="173" y="72"/>
                  </a:lnTo>
                  <a:lnTo>
                    <a:pt x="175" y="66"/>
                  </a:lnTo>
                  <a:lnTo>
                    <a:pt x="178" y="61"/>
                  </a:lnTo>
                  <a:lnTo>
                    <a:pt x="180" y="55"/>
                  </a:lnTo>
                  <a:lnTo>
                    <a:pt x="179" y="48"/>
                  </a:lnTo>
                  <a:lnTo>
                    <a:pt x="178" y="38"/>
                  </a:lnTo>
                  <a:lnTo>
                    <a:pt x="178" y="26"/>
                  </a:lnTo>
                  <a:lnTo>
                    <a:pt x="177" y="13"/>
                  </a:lnTo>
                  <a:lnTo>
                    <a:pt x="178" y="8"/>
                  </a:lnTo>
                  <a:lnTo>
                    <a:pt x="180" y="3"/>
                  </a:lnTo>
                  <a:lnTo>
                    <a:pt x="184" y="1"/>
                  </a:lnTo>
                  <a:lnTo>
                    <a:pt x="189" y="0"/>
                  </a:lnTo>
                  <a:lnTo>
                    <a:pt x="192" y="1"/>
                  </a:lnTo>
                  <a:lnTo>
                    <a:pt x="196" y="3"/>
                  </a:lnTo>
                  <a:lnTo>
                    <a:pt x="200" y="6"/>
                  </a:lnTo>
                  <a:lnTo>
                    <a:pt x="201" y="11"/>
                  </a:lnTo>
                  <a:lnTo>
                    <a:pt x="202" y="29"/>
                  </a:lnTo>
                  <a:lnTo>
                    <a:pt x="203" y="43"/>
                  </a:lnTo>
                  <a:lnTo>
                    <a:pt x="205" y="54"/>
                  </a:lnTo>
                  <a:lnTo>
                    <a:pt x="205" y="58"/>
                  </a:lnTo>
                  <a:lnTo>
                    <a:pt x="206" y="61"/>
                  </a:lnTo>
                  <a:lnTo>
                    <a:pt x="205" y="65"/>
                  </a:lnTo>
                  <a:lnTo>
                    <a:pt x="203" y="67"/>
                  </a:lnTo>
                  <a:lnTo>
                    <a:pt x="201" y="70"/>
                  </a:lnTo>
                  <a:lnTo>
                    <a:pt x="200" y="71"/>
                  </a:lnTo>
                  <a:lnTo>
                    <a:pt x="198" y="73"/>
                  </a:lnTo>
                  <a:lnTo>
                    <a:pt x="197" y="76"/>
                  </a:lnTo>
                  <a:lnTo>
                    <a:pt x="197" y="78"/>
                  </a:lnTo>
                  <a:lnTo>
                    <a:pt x="198" y="83"/>
                  </a:lnTo>
                  <a:lnTo>
                    <a:pt x="200" y="87"/>
                  </a:lnTo>
                  <a:lnTo>
                    <a:pt x="203" y="92"/>
                  </a:lnTo>
                  <a:lnTo>
                    <a:pt x="207" y="95"/>
                  </a:lnTo>
                  <a:lnTo>
                    <a:pt x="214" y="104"/>
                  </a:lnTo>
                  <a:lnTo>
                    <a:pt x="222" y="110"/>
                  </a:lnTo>
                  <a:lnTo>
                    <a:pt x="225" y="113"/>
                  </a:lnTo>
                  <a:lnTo>
                    <a:pt x="226" y="117"/>
                  </a:lnTo>
                  <a:lnTo>
                    <a:pt x="228" y="121"/>
                  </a:lnTo>
                  <a:lnTo>
                    <a:pt x="230" y="128"/>
                  </a:lnTo>
                  <a:lnTo>
                    <a:pt x="235" y="139"/>
                  </a:lnTo>
                  <a:lnTo>
                    <a:pt x="242" y="151"/>
                  </a:lnTo>
                  <a:lnTo>
                    <a:pt x="247" y="157"/>
                  </a:lnTo>
                  <a:lnTo>
                    <a:pt x="253" y="163"/>
                  </a:lnTo>
                  <a:lnTo>
                    <a:pt x="259" y="169"/>
                  </a:lnTo>
                  <a:lnTo>
                    <a:pt x="266" y="174"/>
                  </a:lnTo>
                  <a:lnTo>
                    <a:pt x="274" y="178"/>
                  </a:lnTo>
                  <a:lnTo>
                    <a:pt x="282" y="181"/>
                  </a:lnTo>
                  <a:lnTo>
                    <a:pt x="292" y="184"/>
                  </a:lnTo>
                  <a:lnTo>
                    <a:pt x="303" y="184"/>
                  </a:lnTo>
                  <a:lnTo>
                    <a:pt x="314" y="184"/>
                  </a:lnTo>
                  <a:lnTo>
                    <a:pt x="322" y="181"/>
                  </a:lnTo>
                  <a:lnTo>
                    <a:pt x="330" y="178"/>
                  </a:lnTo>
                  <a:lnTo>
                    <a:pt x="339" y="174"/>
                  </a:lnTo>
                  <a:lnTo>
                    <a:pt x="345" y="169"/>
                  </a:lnTo>
                  <a:lnTo>
                    <a:pt x="351" y="163"/>
                  </a:lnTo>
                  <a:lnTo>
                    <a:pt x="356" y="157"/>
                  </a:lnTo>
                  <a:lnTo>
                    <a:pt x="361" y="151"/>
                  </a:lnTo>
                  <a:lnTo>
                    <a:pt x="368" y="139"/>
                  </a:lnTo>
                  <a:lnTo>
                    <a:pt x="372" y="128"/>
                  </a:lnTo>
                  <a:lnTo>
                    <a:pt x="374" y="121"/>
                  </a:lnTo>
                  <a:lnTo>
                    <a:pt x="375" y="117"/>
                  </a:lnTo>
                  <a:lnTo>
                    <a:pt x="377" y="113"/>
                  </a:lnTo>
                  <a:lnTo>
                    <a:pt x="380" y="110"/>
                  </a:lnTo>
                  <a:lnTo>
                    <a:pt x="386" y="104"/>
                  </a:lnTo>
                  <a:lnTo>
                    <a:pt x="395" y="95"/>
                  </a:lnTo>
                  <a:lnTo>
                    <a:pt x="398" y="92"/>
                  </a:lnTo>
                  <a:lnTo>
                    <a:pt x="401" y="87"/>
                  </a:lnTo>
                  <a:lnTo>
                    <a:pt x="403" y="83"/>
                  </a:lnTo>
                  <a:lnTo>
                    <a:pt x="404" y="78"/>
                  </a:lnTo>
                  <a:lnTo>
                    <a:pt x="404" y="76"/>
                  </a:lnTo>
                  <a:lnTo>
                    <a:pt x="403" y="73"/>
                  </a:lnTo>
                  <a:lnTo>
                    <a:pt x="402" y="71"/>
                  </a:lnTo>
                  <a:lnTo>
                    <a:pt x="400" y="70"/>
                  </a:lnTo>
                  <a:lnTo>
                    <a:pt x="398" y="67"/>
                  </a:lnTo>
                  <a:lnTo>
                    <a:pt x="397" y="65"/>
                  </a:lnTo>
                  <a:lnTo>
                    <a:pt x="396" y="61"/>
                  </a:lnTo>
                  <a:lnTo>
                    <a:pt x="396" y="58"/>
                  </a:lnTo>
                  <a:lnTo>
                    <a:pt x="397" y="54"/>
                  </a:lnTo>
                  <a:lnTo>
                    <a:pt x="398" y="44"/>
                  </a:lnTo>
                  <a:lnTo>
                    <a:pt x="400" y="31"/>
                  </a:lnTo>
                  <a:lnTo>
                    <a:pt x="401" y="13"/>
                  </a:lnTo>
                  <a:lnTo>
                    <a:pt x="402" y="8"/>
                  </a:lnTo>
                  <a:lnTo>
                    <a:pt x="404" y="4"/>
                  </a:lnTo>
                  <a:lnTo>
                    <a:pt x="408" y="2"/>
                  </a:lnTo>
                  <a:lnTo>
                    <a:pt x="413" y="2"/>
                  </a:lnTo>
                  <a:lnTo>
                    <a:pt x="418" y="2"/>
                  </a:lnTo>
                  <a:lnTo>
                    <a:pt x="421" y="4"/>
                  </a:lnTo>
                  <a:lnTo>
                    <a:pt x="424" y="8"/>
                  </a:lnTo>
                  <a:lnTo>
                    <a:pt x="424" y="13"/>
                  </a:lnTo>
                  <a:lnTo>
                    <a:pt x="424" y="26"/>
                  </a:lnTo>
                  <a:lnTo>
                    <a:pt x="423" y="38"/>
                  </a:lnTo>
                  <a:lnTo>
                    <a:pt x="421" y="48"/>
                  </a:lnTo>
                  <a:lnTo>
                    <a:pt x="420" y="55"/>
                  </a:lnTo>
                  <a:lnTo>
                    <a:pt x="424" y="61"/>
                  </a:lnTo>
                  <a:lnTo>
                    <a:pt x="426" y="66"/>
                  </a:lnTo>
                  <a:lnTo>
                    <a:pt x="427" y="72"/>
                  </a:lnTo>
                  <a:lnTo>
                    <a:pt x="429" y="78"/>
                  </a:lnTo>
                  <a:lnTo>
                    <a:pt x="427" y="87"/>
                  </a:lnTo>
                  <a:lnTo>
                    <a:pt x="424" y="94"/>
                  </a:lnTo>
                  <a:lnTo>
                    <a:pt x="420" y="101"/>
                  </a:lnTo>
                  <a:lnTo>
                    <a:pt x="416" y="107"/>
                  </a:lnTo>
                  <a:lnTo>
                    <a:pt x="406" y="118"/>
                  </a:lnTo>
                  <a:lnTo>
                    <a:pt x="397" y="126"/>
                  </a:lnTo>
                  <a:lnTo>
                    <a:pt x="397" y="129"/>
                  </a:lnTo>
                  <a:lnTo>
                    <a:pt x="396" y="133"/>
                  </a:lnTo>
                  <a:lnTo>
                    <a:pt x="396" y="135"/>
                  </a:lnTo>
                  <a:lnTo>
                    <a:pt x="396" y="136"/>
                  </a:lnTo>
                  <a:lnTo>
                    <a:pt x="395" y="206"/>
                  </a:lnTo>
                  <a:lnTo>
                    <a:pt x="413" y="209"/>
                  </a:lnTo>
                  <a:lnTo>
                    <a:pt x="438" y="216"/>
                  </a:lnTo>
                  <a:lnTo>
                    <a:pt x="469" y="225"/>
                  </a:lnTo>
                  <a:lnTo>
                    <a:pt x="501" y="236"/>
                  </a:lnTo>
                  <a:lnTo>
                    <a:pt x="518" y="243"/>
                  </a:lnTo>
                  <a:lnTo>
                    <a:pt x="534" y="250"/>
                  </a:lnTo>
                  <a:lnTo>
                    <a:pt x="550" y="258"/>
                  </a:lnTo>
                  <a:lnTo>
                    <a:pt x="564" y="266"/>
                  </a:lnTo>
                  <a:lnTo>
                    <a:pt x="578" y="276"/>
                  </a:lnTo>
                  <a:lnTo>
                    <a:pt x="590" y="285"/>
                  </a:lnTo>
                  <a:lnTo>
                    <a:pt x="601" y="296"/>
                  </a:lnTo>
                  <a:lnTo>
                    <a:pt x="609" y="308"/>
                  </a:lnTo>
                  <a:lnTo>
                    <a:pt x="610" y="312"/>
                  </a:lnTo>
                  <a:lnTo>
                    <a:pt x="610" y="317"/>
                  </a:lnTo>
                  <a:lnTo>
                    <a:pt x="609" y="321"/>
                  </a:lnTo>
                  <a:lnTo>
                    <a:pt x="605" y="324"/>
                  </a:lnTo>
                  <a:lnTo>
                    <a:pt x="601" y="325"/>
                  </a:lnTo>
                  <a:lnTo>
                    <a:pt x="596" y="325"/>
                  </a:lnTo>
                  <a:lnTo>
                    <a:pt x="592" y="323"/>
                  </a:lnTo>
                  <a:lnTo>
                    <a:pt x="588" y="319"/>
                  </a:lnTo>
                  <a:lnTo>
                    <a:pt x="581" y="308"/>
                  </a:lnTo>
                  <a:lnTo>
                    <a:pt x="571" y="299"/>
                  </a:lnTo>
                  <a:lnTo>
                    <a:pt x="559" y="290"/>
                  </a:lnTo>
                  <a:lnTo>
                    <a:pt x="546" y="282"/>
                  </a:lnTo>
                  <a:lnTo>
                    <a:pt x="532" y="275"/>
                  </a:lnTo>
                  <a:lnTo>
                    <a:pt x="516" y="267"/>
                  </a:lnTo>
                  <a:lnTo>
                    <a:pt x="500" y="261"/>
                  </a:lnTo>
                  <a:lnTo>
                    <a:pt x="484" y="255"/>
                  </a:lnTo>
                  <a:lnTo>
                    <a:pt x="452" y="244"/>
                  </a:lnTo>
                  <a:lnTo>
                    <a:pt x="424" y="237"/>
                  </a:lnTo>
                  <a:lnTo>
                    <a:pt x="401" y="232"/>
                  </a:lnTo>
                  <a:lnTo>
                    <a:pt x="385" y="230"/>
                  </a:lnTo>
                  <a:lnTo>
                    <a:pt x="367" y="241"/>
                  </a:lnTo>
                  <a:lnTo>
                    <a:pt x="367" y="244"/>
                  </a:lnTo>
                  <a:lnTo>
                    <a:pt x="366" y="247"/>
                  </a:lnTo>
                  <a:lnTo>
                    <a:pt x="343" y="305"/>
                  </a:lnTo>
                  <a:lnTo>
                    <a:pt x="346" y="348"/>
                  </a:lnTo>
                  <a:lnTo>
                    <a:pt x="346" y="353"/>
                  </a:lnTo>
                  <a:lnTo>
                    <a:pt x="344" y="358"/>
                  </a:lnTo>
                  <a:lnTo>
                    <a:pt x="340" y="361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4" y="362"/>
                  </a:lnTo>
                  <a:lnTo>
                    <a:pt x="330" y="361"/>
                  </a:lnTo>
                  <a:lnTo>
                    <a:pt x="327" y="359"/>
                  </a:lnTo>
                  <a:lnTo>
                    <a:pt x="323" y="356"/>
                  </a:lnTo>
                  <a:lnTo>
                    <a:pt x="322" y="351"/>
                  </a:lnTo>
                  <a:lnTo>
                    <a:pt x="320" y="315"/>
                  </a:lnTo>
                  <a:close/>
                  <a:moveTo>
                    <a:pt x="277" y="262"/>
                  </a:moveTo>
                  <a:lnTo>
                    <a:pt x="288" y="293"/>
                  </a:lnTo>
                  <a:lnTo>
                    <a:pt x="323" y="293"/>
                  </a:lnTo>
                  <a:lnTo>
                    <a:pt x="334" y="262"/>
                  </a:lnTo>
                  <a:lnTo>
                    <a:pt x="312" y="277"/>
                  </a:lnTo>
                  <a:lnTo>
                    <a:pt x="309" y="278"/>
                  </a:lnTo>
                  <a:lnTo>
                    <a:pt x="306" y="278"/>
                  </a:lnTo>
                  <a:lnTo>
                    <a:pt x="303" y="278"/>
                  </a:lnTo>
                  <a:lnTo>
                    <a:pt x="299" y="277"/>
                  </a:lnTo>
                  <a:lnTo>
                    <a:pt x="277" y="262"/>
                  </a:lnTo>
                  <a:close/>
                  <a:moveTo>
                    <a:pt x="235" y="208"/>
                  </a:moveTo>
                  <a:lnTo>
                    <a:pt x="305" y="252"/>
                  </a:lnTo>
                  <a:lnTo>
                    <a:pt x="370" y="208"/>
                  </a:lnTo>
                  <a:lnTo>
                    <a:pt x="372" y="178"/>
                  </a:lnTo>
                  <a:lnTo>
                    <a:pt x="366" y="184"/>
                  </a:lnTo>
                  <a:lnTo>
                    <a:pt x="358" y="190"/>
                  </a:lnTo>
                  <a:lnTo>
                    <a:pt x="351" y="195"/>
                  </a:lnTo>
                  <a:lnTo>
                    <a:pt x="343" y="199"/>
                  </a:lnTo>
                  <a:lnTo>
                    <a:pt x="334" y="203"/>
                  </a:lnTo>
                  <a:lnTo>
                    <a:pt x="324" y="207"/>
                  </a:lnTo>
                  <a:lnTo>
                    <a:pt x="314" y="208"/>
                  </a:lnTo>
                  <a:lnTo>
                    <a:pt x="303" y="209"/>
                  </a:lnTo>
                  <a:lnTo>
                    <a:pt x="292" y="208"/>
                  </a:lnTo>
                  <a:lnTo>
                    <a:pt x="282" y="207"/>
                  </a:lnTo>
                  <a:lnTo>
                    <a:pt x="272" y="204"/>
                  </a:lnTo>
                  <a:lnTo>
                    <a:pt x="263" y="201"/>
                  </a:lnTo>
                  <a:lnTo>
                    <a:pt x="254" y="196"/>
                  </a:lnTo>
                  <a:lnTo>
                    <a:pt x="247" y="191"/>
                  </a:lnTo>
                  <a:lnTo>
                    <a:pt x="240" y="185"/>
                  </a:lnTo>
                  <a:lnTo>
                    <a:pt x="234" y="179"/>
                  </a:lnTo>
                  <a:lnTo>
                    <a:pt x="235" y="208"/>
                  </a:lnTo>
                  <a:close/>
                </a:path>
              </a:pathLst>
            </a:custGeom>
            <a:solidFill>
              <a:srgbClr val="004077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116"/>
            <p:cNvSpPr>
              <a:spLocks noEditPoints="1"/>
            </p:cNvSpPr>
            <p:nvPr/>
          </p:nvSpPr>
          <p:spPr bwMode="auto">
            <a:xfrm>
              <a:off x="871538" y="2235201"/>
              <a:ext cx="152400" cy="271463"/>
            </a:xfrm>
            <a:custGeom>
              <a:avLst/>
              <a:gdLst>
                <a:gd name="T0" fmla="*/ 261 w 382"/>
                <a:gd name="T1" fmla="*/ 657 h 682"/>
                <a:gd name="T2" fmla="*/ 322 w 382"/>
                <a:gd name="T3" fmla="*/ 657 h 682"/>
                <a:gd name="T4" fmla="*/ 358 w 382"/>
                <a:gd name="T5" fmla="*/ 25 h 682"/>
                <a:gd name="T6" fmla="*/ 24 w 382"/>
                <a:gd name="T7" fmla="*/ 25 h 682"/>
                <a:gd name="T8" fmla="*/ 59 w 382"/>
                <a:gd name="T9" fmla="*/ 657 h 682"/>
                <a:gd name="T10" fmla="*/ 121 w 382"/>
                <a:gd name="T11" fmla="*/ 657 h 682"/>
                <a:gd name="T12" fmla="*/ 147 w 382"/>
                <a:gd name="T13" fmla="*/ 72 h 682"/>
                <a:gd name="T14" fmla="*/ 149 w 382"/>
                <a:gd name="T15" fmla="*/ 68 h 682"/>
                <a:gd name="T16" fmla="*/ 151 w 382"/>
                <a:gd name="T17" fmla="*/ 64 h 682"/>
                <a:gd name="T18" fmla="*/ 155 w 382"/>
                <a:gd name="T19" fmla="*/ 62 h 682"/>
                <a:gd name="T20" fmla="*/ 158 w 382"/>
                <a:gd name="T21" fmla="*/ 60 h 682"/>
                <a:gd name="T22" fmla="*/ 158 w 382"/>
                <a:gd name="T23" fmla="*/ 60 h 682"/>
                <a:gd name="T24" fmla="*/ 160 w 382"/>
                <a:gd name="T25" fmla="*/ 60 h 682"/>
                <a:gd name="T26" fmla="*/ 223 w 382"/>
                <a:gd name="T27" fmla="*/ 60 h 682"/>
                <a:gd name="T28" fmla="*/ 227 w 382"/>
                <a:gd name="T29" fmla="*/ 62 h 682"/>
                <a:gd name="T30" fmla="*/ 231 w 382"/>
                <a:gd name="T31" fmla="*/ 64 h 682"/>
                <a:gd name="T32" fmla="*/ 233 w 382"/>
                <a:gd name="T33" fmla="*/ 68 h 682"/>
                <a:gd name="T34" fmla="*/ 235 w 382"/>
                <a:gd name="T35" fmla="*/ 72 h 682"/>
                <a:gd name="T36" fmla="*/ 261 w 382"/>
                <a:gd name="T37" fmla="*/ 657 h 682"/>
                <a:gd name="T38" fmla="*/ 334 w 382"/>
                <a:gd name="T39" fmla="*/ 682 h 682"/>
                <a:gd name="T40" fmla="*/ 249 w 382"/>
                <a:gd name="T41" fmla="*/ 682 h 682"/>
                <a:gd name="T42" fmla="*/ 244 w 382"/>
                <a:gd name="T43" fmla="*/ 680 h 682"/>
                <a:gd name="T44" fmla="*/ 241 w 382"/>
                <a:gd name="T45" fmla="*/ 678 h 682"/>
                <a:gd name="T46" fmla="*/ 238 w 382"/>
                <a:gd name="T47" fmla="*/ 673 h 682"/>
                <a:gd name="T48" fmla="*/ 237 w 382"/>
                <a:gd name="T49" fmla="*/ 668 h 682"/>
                <a:gd name="T50" fmla="*/ 212 w 382"/>
                <a:gd name="T51" fmla="*/ 83 h 682"/>
                <a:gd name="T52" fmla="*/ 170 w 382"/>
                <a:gd name="T53" fmla="*/ 83 h 682"/>
                <a:gd name="T54" fmla="*/ 145 w 382"/>
                <a:gd name="T55" fmla="*/ 668 h 682"/>
                <a:gd name="T56" fmla="*/ 144 w 382"/>
                <a:gd name="T57" fmla="*/ 673 h 682"/>
                <a:gd name="T58" fmla="*/ 141 w 382"/>
                <a:gd name="T59" fmla="*/ 678 h 682"/>
                <a:gd name="T60" fmla="*/ 138 w 382"/>
                <a:gd name="T61" fmla="*/ 680 h 682"/>
                <a:gd name="T62" fmla="*/ 133 w 382"/>
                <a:gd name="T63" fmla="*/ 682 h 682"/>
                <a:gd name="T64" fmla="*/ 48 w 382"/>
                <a:gd name="T65" fmla="*/ 682 h 682"/>
                <a:gd name="T66" fmla="*/ 43 w 382"/>
                <a:gd name="T67" fmla="*/ 680 h 682"/>
                <a:gd name="T68" fmla="*/ 40 w 382"/>
                <a:gd name="T69" fmla="*/ 678 h 682"/>
                <a:gd name="T70" fmla="*/ 37 w 382"/>
                <a:gd name="T71" fmla="*/ 674 h 682"/>
                <a:gd name="T72" fmla="*/ 36 w 382"/>
                <a:gd name="T73" fmla="*/ 671 h 682"/>
                <a:gd name="T74" fmla="*/ 0 w 382"/>
                <a:gd name="T75" fmla="*/ 13 h 682"/>
                <a:gd name="T76" fmla="*/ 0 w 382"/>
                <a:gd name="T77" fmla="*/ 11 h 682"/>
                <a:gd name="T78" fmla="*/ 0 w 382"/>
                <a:gd name="T79" fmla="*/ 8 h 682"/>
                <a:gd name="T80" fmla="*/ 1 w 382"/>
                <a:gd name="T81" fmla="*/ 6 h 682"/>
                <a:gd name="T82" fmla="*/ 2 w 382"/>
                <a:gd name="T83" fmla="*/ 5 h 682"/>
                <a:gd name="T84" fmla="*/ 6 w 382"/>
                <a:gd name="T85" fmla="*/ 1 h 682"/>
                <a:gd name="T86" fmla="*/ 11 w 382"/>
                <a:gd name="T87" fmla="*/ 0 h 682"/>
                <a:gd name="T88" fmla="*/ 11 w 382"/>
                <a:gd name="T89" fmla="*/ 0 h 682"/>
                <a:gd name="T90" fmla="*/ 370 w 382"/>
                <a:gd name="T91" fmla="*/ 0 h 682"/>
                <a:gd name="T92" fmla="*/ 375 w 382"/>
                <a:gd name="T93" fmla="*/ 1 h 682"/>
                <a:gd name="T94" fmla="*/ 379 w 382"/>
                <a:gd name="T95" fmla="*/ 5 h 682"/>
                <a:gd name="T96" fmla="*/ 382 w 382"/>
                <a:gd name="T97" fmla="*/ 8 h 682"/>
                <a:gd name="T98" fmla="*/ 382 w 382"/>
                <a:gd name="T99" fmla="*/ 13 h 682"/>
                <a:gd name="T100" fmla="*/ 346 w 382"/>
                <a:gd name="T101" fmla="*/ 671 h 682"/>
                <a:gd name="T102" fmla="*/ 345 w 382"/>
                <a:gd name="T103" fmla="*/ 674 h 682"/>
                <a:gd name="T104" fmla="*/ 342 w 382"/>
                <a:gd name="T105" fmla="*/ 678 h 682"/>
                <a:gd name="T106" fmla="*/ 339 w 382"/>
                <a:gd name="T107" fmla="*/ 680 h 682"/>
                <a:gd name="T108" fmla="*/ 334 w 382"/>
                <a:gd name="T109" fmla="*/ 68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682">
                  <a:moveTo>
                    <a:pt x="261" y="657"/>
                  </a:moveTo>
                  <a:lnTo>
                    <a:pt x="322" y="657"/>
                  </a:lnTo>
                  <a:lnTo>
                    <a:pt x="358" y="25"/>
                  </a:lnTo>
                  <a:lnTo>
                    <a:pt x="24" y="25"/>
                  </a:lnTo>
                  <a:lnTo>
                    <a:pt x="59" y="657"/>
                  </a:lnTo>
                  <a:lnTo>
                    <a:pt x="121" y="657"/>
                  </a:lnTo>
                  <a:lnTo>
                    <a:pt x="147" y="72"/>
                  </a:lnTo>
                  <a:lnTo>
                    <a:pt x="149" y="68"/>
                  </a:lnTo>
                  <a:lnTo>
                    <a:pt x="151" y="64"/>
                  </a:lnTo>
                  <a:lnTo>
                    <a:pt x="155" y="62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60" y="60"/>
                  </a:lnTo>
                  <a:lnTo>
                    <a:pt x="223" y="60"/>
                  </a:lnTo>
                  <a:lnTo>
                    <a:pt x="227" y="62"/>
                  </a:lnTo>
                  <a:lnTo>
                    <a:pt x="231" y="64"/>
                  </a:lnTo>
                  <a:lnTo>
                    <a:pt x="233" y="68"/>
                  </a:lnTo>
                  <a:lnTo>
                    <a:pt x="235" y="72"/>
                  </a:lnTo>
                  <a:lnTo>
                    <a:pt x="261" y="657"/>
                  </a:lnTo>
                  <a:close/>
                  <a:moveTo>
                    <a:pt x="334" y="682"/>
                  </a:moveTo>
                  <a:lnTo>
                    <a:pt x="249" y="682"/>
                  </a:lnTo>
                  <a:lnTo>
                    <a:pt x="244" y="680"/>
                  </a:lnTo>
                  <a:lnTo>
                    <a:pt x="241" y="678"/>
                  </a:lnTo>
                  <a:lnTo>
                    <a:pt x="238" y="673"/>
                  </a:lnTo>
                  <a:lnTo>
                    <a:pt x="237" y="668"/>
                  </a:lnTo>
                  <a:lnTo>
                    <a:pt x="212" y="83"/>
                  </a:lnTo>
                  <a:lnTo>
                    <a:pt x="170" y="83"/>
                  </a:lnTo>
                  <a:lnTo>
                    <a:pt x="145" y="668"/>
                  </a:lnTo>
                  <a:lnTo>
                    <a:pt x="144" y="673"/>
                  </a:lnTo>
                  <a:lnTo>
                    <a:pt x="141" y="678"/>
                  </a:lnTo>
                  <a:lnTo>
                    <a:pt x="138" y="680"/>
                  </a:lnTo>
                  <a:lnTo>
                    <a:pt x="133" y="682"/>
                  </a:lnTo>
                  <a:lnTo>
                    <a:pt x="48" y="682"/>
                  </a:lnTo>
                  <a:lnTo>
                    <a:pt x="43" y="680"/>
                  </a:lnTo>
                  <a:lnTo>
                    <a:pt x="40" y="678"/>
                  </a:lnTo>
                  <a:lnTo>
                    <a:pt x="37" y="674"/>
                  </a:lnTo>
                  <a:lnTo>
                    <a:pt x="36" y="671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8"/>
                  </a:lnTo>
                  <a:lnTo>
                    <a:pt x="1" y="6"/>
                  </a:lnTo>
                  <a:lnTo>
                    <a:pt x="2" y="5"/>
                  </a:lnTo>
                  <a:lnTo>
                    <a:pt x="6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370" y="0"/>
                  </a:lnTo>
                  <a:lnTo>
                    <a:pt x="375" y="1"/>
                  </a:lnTo>
                  <a:lnTo>
                    <a:pt x="379" y="5"/>
                  </a:lnTo>
                  <a:lnTo>
                    <a:pt x="382" y="8"/>
                  </a:lnTo>
                  <a:lnTo>
                    <a:pt x="382" y="13"/>
                  </a:lnTo>
                  <a:lnTo>
                    <a:pt x="346" y="671"/>
                  </a:lnTo>
                  <a:lnTo>
                    <a:pt x="345" y="674"/>
                  </a:lnTo>
                  <a:lnTo>
                    <a:pt x="342" y="678"/>
                  </a:lnTo>
                  <a:lnTo>
                    <a:pt x="339" y="680"/>
                  </a:lnTo>
                  <a:lnTo>
                    <a:pt x="334" y="682"/>
                  </a:lnTo>
                  <a:close/>
                </a:path>
              </a:pathLst>
            </a:custGeom>
            <a:solidFill>
              <a:srgbClr val="004077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 117"/>
            <p:cNvSpPr>
              <a:spLocks noEditPoints="1"/>
            </p:cNvSpPr>
            <p:nvPr/>
          </p:nvSpPr>
          <p:spPr bwMode="auto">
            <a:xfrm>
              <a:off x="854075" y="2497138"/>
              <a:ext cx="76200" cy="38100"/>
            </a:xfrm>
            <a:custGeom>
              <a:avLst/>
              <a:gdLst>
                <a:gd name="T0" fmla="*/ 33 w 190"/>
                <a:gd name="T1" fmla="*/ 74 h 100"/>
                <a:gd name="T2" fmla="*/ 166 w 190"/>
                <a:gd name="T3" fmla="*/ 74 h 100"/>
                <a:gd name="T4" fmla="*/ 166 w 190"/>
                <a:gd name="T5" fmla="*/ 25 h 100"/>
                <a:gd name="T6" fmla="*/ 96 w 190"/>
                <a:gd name="T7" fmla="*/ 25 h 100"/>
                <a:gd name="T8" fmla="*/ 86 w 190"/>
                <a:gd name="T9" fmla="*/ 29 h 100"/>
                <a:gd name="T10" fmla="*/ 77 w 190"/>
                <a:gd name="T11" fmla="*/ 34 h 100"/>
                <a:gd name="T12" fmla="*/ 69 w 190"/>
                <a:gd name="T13" fmla="*/ 39 h 100"/>
                <a:gd name="T14" fmla="*/ 60 w 190"/>
                <a:gd name="T15" fmla="*/ 45 h 100"/>
                <a:gd name="T16" fmla="*/ 53 w 190"/>
                <a:gd name="T17" fmla="*/ 52 h 100"/>
                <a:gd name="T18" fmla="*/ 46 w 190"/>
                <a:gd name="T19" fmla="*/ 59 h 100"/>
                <a:gd name="T20" fmla="*/ 40 w 190"/>
                <a:gd name="T21" fmla="*/ 67 h 100"/>
                <a:gd name="T22" fmla="*/ 33 w 190"/>
                <a:gd name="T23" fmla="*/ 74 h 100"/>
                <a:gd name="T24" fmla="*/ 178 w 190"/>
                <a:gd name="T25" fmla="*/ 100 h 100"/>
                <a:gd name="T26" fmla="*/ 11 w 190"/>
                <a:gd name="T27" fmla="*/ 100 h 100"/>
                <a:gd name="T28" fmla="*/ 8 w 190"/>
                <a:gd name="T29" fmla="*/ 99 h 100"/>
                <a:gd name="T30" fmla="*/ 6 w 190"/>
                <a:gd name="T31" fmla="*/ 97 h 100"/>
                <a:gd name="T32" fmla="*/ 4 w 190"/>
                <a:gd name="T33" fmla="*/ 96 h 100"/>
                <a:gd name="T34" fmla="*/ 1 w 190"/>
                <a:gd name="T35" fmla="*/ 92 h 100"/>
                <a:gd name="T36" fmla="*/ 0 w 190"/>
                <a:gd name="T37" fmla="*/ 90 h 100"/>
                <a:gd name="T38" fmla="*/ 0 w 190"/>
                <a:gd name="T39" fmla="*/ 88 h 100"/>
                <a:gd name="T40" fmla="*/ 0 w 190"/>
                <a:gd name="T41" fmla="*/ 85 h 100"/>
                <a:gd name="T42" fmla="*/ 1 w 190"/>
                <a:gd name="T43" fmla="*/ 82 h 100"/>
                <a:gd name="T44" fmla="*/ 10 w 190"/>
                <a:gd name="T45" fmla="*/ 68 h 100"/>
                <a:gd name="T46" fmla="*/ 18 w 190"/>
                <a:gd name="T47" fmla="*/ 56 h 100"/>
                <a:gd name="T48" fmla="*/ 28 w 190"/>
                <a:gd name="T49" fmla="*/ 44 h 100"/>
                <a:gd name="T50" fmla="*/ 39 w 190"/>
                <a:gd name="T51" fmla="*/ 33 h 100"/>
                <a:gd name="T52" fmla="*/ 50 w 190"/>
                <a:gd name="T53" fmla="*/ 23 h 100"/>
                <a:gd name="T54" fmla="*/ 62 w 190"/>
                <a:gd name="T55" fmla="*/ 15 h 100"/>
                <a:gd name="T56" fmla="*/ 75 w 190"/>
                <a:gd name="T57" fmla="*/ 6 h 100"/>
                <a:gd name="T58" fmla="*/ 88 w 190"/>
                <a:gd name="T59" fmla="*/ 0 h 100"/>
                <a:gd name="T60" fmla="*/ 91 w 190"/>
                <a:gd name="T61" fmla="*/ 0 h 100"/>
                <a:gd name="T62" fmla="*/ 93 w 190"/>
                <a:gd name="T63" fmla="*/ 0 h 100"/>
                <a:gd name="T64" fmla="*/ 178 w 190"/>
                <a:gd name="T65" fmla="*/ 0 h 100"/>
                <a:gd name="T66" fmla="*/ 183 w 190"/>
                <a:gd name="T67" fmla="*/ 2 h 100"/>
                <a:gd name="T68" fmla="*/ 186 w 190"/>
                <a:gd name="T69" fmla="*/ 3 h 100"/>
                <a:gd name="T70" fmla="*/ 189 w 190"/>
                <a:gd name="T71" fmla="*/ 6 h 100"/>
                <a:gd name="T72" fmla="*/ 190 w 190"/>
                <a:gd name="T73" fmla="*/ 11 h 100"/>
                <a:gd name="T74" fmla="*/ 190 w 190"/>
                <a:gd name="T75" fmla="*/ 88 h 100"/>
                <a:gd name="T76" fmla="*/ 189 w 190"/>
                <a:gd name="T77" fmla="*/ 92 h 100"/>
                <a:gd name="T78" fmla="*/ 186 w 190"/>
                <a:gd name="T79" fmla="*/ 96 h 100"/>
                <a:gd name="T80" fmla="*/ 183 w 190"/>
                <a:gd name="T81" fmla="*/ 99 h 100"/>
                <a:gd name="T82" fmla="*/ 178 w 190"/>
                <a:gd name="T8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100">
                  <a:moveTo>
                    <a:pt x="33" y="74"/>
                  </a:moveTo>
                  <a:lnTo>
                    <a:pt x="166" y="74"/>
                  </a:lnTo>
                  <a:lnTo>
                    <a:pt x="166" y="25"/>
                  </a:lnTo>
                  <a:lnTo>
                    <a:pt x="96" y="25"/>
                  </a:lnTo>
                  <a:lnTo>
                    <a:pt x="86" y="29"/>
                  </a:lnTo>
                  <a:lnTo>
                    <a:pt x="77" y="34"/>
                  </a:lnTo>
                  <a:lnTo>
                    <a:pt x="69" y="39"/>
                  </a:lnTo>
                  <a:lnTo>
                    <a:pt x="60" y="45"/>
                  </a:lnTo>
                  <a:lnTo>
                    <a:pt x="53" y="52"/>
                  </a:lnTo>
                  <a:lnTo>
                    <a:pt x="46" y="59"/>
                  </a:lnTo>
                  <a:lnTo>
                    <a:pt x="40" y="67"/>
                  </a:lnTo>
                  <a:lnTo>
                    <a:pt x="33" y="74"/>
                  </a:lnTo>
                  <a:close/>
                  <a:moveTo>
                    <a:pt x="178" y="100"/>
                  </a:moveTo>
                  <a:lnTo>
                    <a:pt x="11" y="100"/>
                  </a:lnTo>
                  <a:lnTo>
                    <a:pt x="8" y="99"/>
                  </a:lnTo>
                  <a:lnTo>
                    <a:pt x="6" y="97"/>
                  </a:lnTo>
                  <a:lnTo>
                    <a:pt x="4" y="96"/>
                  </a:lnTo>
                  <a:lnTo>
                    <a:pt x="1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1" y="82"/>
                  </a:lnTo>
                  <a:lnTo>
                    <a:pt x="10" y="68"/>
                  </a:lnTo>
                  <a:lnTo>
                    <a:pt x="18" y="56"/>
                  </a:lnTo>
                  <a:lnTo>
                    <a:pt x="28" y="44"/>
                  </a:lnTo>
                  <a:lnTo>
                    <a:pt x="39" y="33"/>
                  </a:lnTo>
                  <a:lnTo>
                    <a:pt x="50" y="23"/>
                  </a:lnTo>
                  <a:lnTo>
                    <a:pt x="62" y="15"/>
                  </a:lnTo>
                  <a:lnTo>
                    <a:pt x="75" y="6"/>
                  </a:lnTo>
                  <a:lnTo>
                    <a:pt x="88" y="0"/>
                  </a:lnTo>
                  <a:lnTo>
                    <a:pt x="91" y="0"/>
                  </a:lnTo>
                  <a:lnTo>
                    <a:pt x="93" y="0"/>
                  </a:lnTo>
                  <a:lnTo>
                    <a:pt x="178" y="0"/>
                  </a:lnTo>
                  <a:lnTo>
                    <a:pt x="183" y="2"/>
                  </a:lnTo>
                  <a:lnTo>
                    <a:pt x="186" y="3"/>
                  </a:lnTo>
                  <a:lnTo>
                    <a:pt x="189" y="6"/>
                  </a:lnTo>
                  <a:lnTo>
                    <a:pt x="190" y="11"/>
                  </a:lnTo>
                  <a:lnTo>
                    <a:pt x="190" y="88"/>
                  </a:lnTo>
                  <a:lnTo>
                    <a:pt x="189" y="92"/>
                  </a:lnTo>
                  <a:lnTo>
                    <a:pt x="186" y="96"/>
                  </a:lnTo>
                  <a:lnTo>
                    <a:pt x="183" y="99"/>
                  </a:lnTo>
                  <a:lnTo>
                    <a:pt x="178" y="100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 118"/>
            <p:cNvSpPr>
              <a:spLocks noEditPoints="1"/>
            </p:cNvSpPr>
            <p:nvPr/>
          </p:nvSpPr>
          <p:spPr bwMode="auto">
            <a:xfrm>
              <a:off x="966788" y="2497138"/>
              <a:ext cx="74613" cy="38100"/>
            </a:xfrm>
            <a:custGeom>
              <a:avLst/>
              <a:gdLst>
                <a:gd name="T0" fmla="*/ 24 w 190"/>
                <a:gd name="T1" fmla="*/ 74 h 100"/>
                <a:gd name="T2" fmla="*/ 156 w 190"/>
                <a:gd name="T3" fmla="*/ 74 h 100"/>
                <a:gd name="T4" fmla="*/ 150 w 190"/>
                <a:gd name="T5" fmla="*/ 67 h 100"/>
                <a:gd name="T6" fmla="*/ 143 w 190"/>
                <a:gd name="T7" fmla="*/ 59 h 100"/>
                <a:gd name="T8" fmla="*/ 136 w 190"/>
                <a:gd name="T9" fmla="*/ 52 h 100"/>
                <a:gd name="T10" fmla="*/ 128 w 190"/>
                <a:gd name="T11" fmla="*/ 45 h 100"/>
                <a:gd name="T12" fmla="*/ 121 w 190"/>
                <a:gd name="T13" fmla="*/ 39 h 100"/>
                <a:gd name="T14" fmla="*/ 113 w 190"/>
                <a:gd name="T15" fmla="*/ 34 h 100"/>
                <a:gd name="T16" fmla="*/ 103 w 190"/>
                <a:gd name="T17" fmla="*/ 29 h 100"/>
                <a:gd name="T18" fmla="*/ 95 w 190"/>
                <a:gd name="T19" fmla="*/ 25 h 100"/>
                <a:gd name="T20" fmla="*/ 24 w 190"/>
                <a:gd name="T21" fmla="*/ 25 h 100"/>
                <a:gd name="T22" fmla="*/ 24 w 190"/>
                <a:gd name="T23" fmla="*/ 74 h 100"/>
                <a:gd name="T24" fmla="*/ 178 w 190"/>
                <a:gd name="T25" fmla="*/ 100 h 100"/>
                <a:gd name="T26" fmla="*/ 12 w 190"/>
                <a:gd name="T27" fmla="*/ 100 h 100"/>
                <a:gd name="T28" fmla="*/ 7 w 190"/>
                <a:gd name="T29" fmla="*/ 99 h 100"/>
                <a:gd name="T30" fmla="*/ 4 w 190"/>
                <a:gd name="T31" fmla="*/ 96 h 100"/>
                <a:gd name="T32" fmla="*/ 1 w 190"/>
                <a:gd name="T33" fmla="*/ 92 h 100"/>
                <a:gd name="T34" fmla="*/ 0 w 190"/>
                <a:gd name="T35" fmla="*/ 88 h 100"/>
                <a:gd name="T36" fmla="*/ 0 w 190"/>
                <a:gd name="T37" fmla="*/ 11 h 100"/>
                <a:gd name="T38" fmla="*/ 1 w 190"/>
                <a:gd name="T39" fmla="*/ 6 h 100"/>
                <a:gd name="T40" fmla="*/ 4 w 190"/>
                <a:gd name="T41" fmla="*/ 3 h 100"/>
                <a:gd name="T42" fmla="*/ 7 w 190"/>
                <a:gd name="T43" fmla="*/ 2 h 100"/>
                <a:gd name="T44" fmla="*/ 12 w 190"/>
                <a:gd name="T45" fmla="*/ 0 h 100"/>
                <a:gd name="T46" fmla="*/ 97 w 190"/>
                <a:gd name="T47" fmla="*/ 0 h 100"/>
                <a:gd name="T48" fmla="*/ 99 w 190"/>
                <a:gd name="T49" fmla="*/ 0 h 100"/>
                <a:gd name="T50" fmla="*/ 102 w 190"/>
                <a:gd name="T51" fmla="*/ 0 h 100"/>
                <a:gd name="T52" fmla="*/ 115 w 190"/>
                <a:gd name="T53" fmla="*/ 6 h 100"/>
                <a:gd name="T54" fmla="*/ 128 w 190"/>
                <a:gd name="T55" fmla="*/ 15 h 100"/>
                <a:gd name="T56" fmla="*/ 141 w 190"/>
                <a:gd name="T57" fmla="*/ 23 h 100"/>
                <a:gd name="T58" fmla="*/ 151 w 190"/>
                <a:gd name="T59" fmla="*/ 33 h 100"/>
                <a:gd name="T60" fmla="*/ 162 w 190"/>
                <a:gd name="T61" fmla="*/ 44 h 100"/>
                <a:gd name="T62" fmla="*/ 172 w 190"/>
                <a:gd name="T63" fmla="*/ 56 h 100"/>
                <a:gd name="T64" fmla="*/ 181 w 190"/>
                <a:gd name="T65" fmla="*/ 68 h 100"/>
                <a:gd name="T66" fmla="*/ 189 w 190"/>
                <a:gd name="T67" fmla="*/ 82 h 100"/>
                <a:gd name="T68" fmla="*/ 190 w 190"/>
                <a:gd name="T69" fmla="*/ 85 h 100"/>
                <a:gd name="T70" fmla="*/ 190 w 190"/>
                <a:gd name="T71" fmla="*/ 88 h 100"/>
                <a:gd name="T72" fmla="*/ 190 w 190"/>
                <a:gd name="T73" fmla="*/ 90 h 100"/>
                <a:gd name="T74" fmla="*/ 189 w 190"/>
                <a:gd name="T75" fmla="*/ 92 h 100"/>
                <a:gd name="T76" fmla="*/ 187 w 190"/>
                <a:gd name="T77" fmla="*/ 96 h 100"/>
                <a:gd name="T78" fmla="*/ 184 w 190"/>
                <a:gd name="T79" fmla="*/ 97 h 100"/>
                <a:gd name="T80" fmla="*/ 182 w 190"/>
                <a:gd name="T81" fmla="*/ 99 h 100"/>
                <a:gd name="T82" fmla="*/ 178 w 190"/>
                <a:gd name="T8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100">
                  <a:moveTo>
                    <a:pt x="24" y="74"/>
                  </a:moveTo>
                  <a:lnTo>
                    <a:pt x="156" y="74"/>
                  </a:lnTo>
                  <a:lnTo>
                    <a:pt x="150" y="67"/>
                  </a:lnTo>
                  <a:lnTo>
                    <a:pt x="143" y="59"/>
                  </a:lnTo>
                  <a:lnTo>
                    <a:pt x="136" y="52"/>
                  </a:lnTo>
                  <a:lnTo>
                    <a:pt x="128" y="45"/>
                  </a:lnTo>
                  <a:lnTo>
                    <a:pt x="121" y="39"/>
                  </a:lnTo>
                  <a:lnTo>
                    <a:pt x="113" y="34"/>
                  </a:lnTo>
                  <a:lnTo>
                    <a:pt x="103" y="29"/>
                  </a:lnTo>
                  <a:lnTo>
                    <a:pt x="95" y="25"/>
                  </a:lnTo>
                  <a:lnTo>
                    <a:pt x="24" y="25"/>
                  </a:lnTo>
                  <a:lnTo>
                    <a:pt x="24" y="74"/>
                  </a:lnTo>
                  <a:close/>
                  <a:moveTo>
                    <a:pt x="178" y="100"/>
                  </a:moveTo>
                  <a:lnTo>
                    <a:pt x="12" y="100"/>
                  </a:lnTo>
                  <a:lnTo>
                    <a:pt x="7" y="99"/>
                  </a:lnTo>
                  <a:lnTo>
                    <a:pt x="4" y="96"/>
                  </a:lnTo>
                  <a:lnTo>
                    <a:pt x="1" y="92"/>
                  </a:lnTo>
                  <a:lnTo>
                    <a:pt x="0" y="88"/>
                  </a:lnTo>
                  <a:lnTo>
                    <a:pt x="0" y="11"/>
                  </a:lnTo>
                  <a:lnTo>
                    <a:pt x="1" y="6"/>
                  </a:lnTo>
                  <a:lnTo>
                    <a:pt x="4" y="3"/>
                  </a:lnTo>
                  <a:lnTo>
                    <a:pt x="7" y="2"/>
                  </a:lnTo>
                  <a:lnTo>
                    <a:pt x="12" y="0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102" y="0"/>
                  </a:lnTo>
                  <a:lnTo>
                    <a:pt x="115" y="6"/>
                  </a:lnTo>
                  <a:lnTo>
                    <a:pt x="128" y="15"/>
                  </a:lnTo>
                  <a:lnTo>
                    <a:pt x="141" y="23"/>
                  </a:lnTo>
                  <a:lnTo>
                    <a:pt x="151" y="33"/>
                  </a:lnTo>
                  <a:lnTo>
                    <a:pt x="162" y="44"/>
                  </a:lnTo>
                  <a:lnTo>
                    <a:pt x="172" y="56"/>
                  </a:lnTo>
                  <a:lnTo>
                    <a:pt x="181" y="68"/>
                  </a:lnTo>
                  <a:lnTo>
                    <a:pt x="189" y="82"/>
                  </a:lnTo>
                  <a:lnTo>
                    <a:pt x="190" y="85"/>
                  </a:lnTo>
                  <a:lnTo>
                    <a:pt x="190" y="88"/>
                  </a:lnTo>
                  <a:lnTo>
                    <a:pt x="190" y="90"/>
                  </a:lnTo>
                  <a:lnTo>
                    <a:pt x="189" y="92"/>
                  </a:lnTo>
                  <a:lnTo>
                    <a:pt x="187" y="96"/>
                  </a:lnTo>
                  <a:lnTo>
                    <a:pt x="184" y="97"/>
                  </a:lnTo>
                  <a:lnTo>
                    <a:pt x="182" y="99"/>
                  </a:lnTo>
                  <a:lnTo>
                    <a:pt x="178" y="100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 119"/>
            <p:cNvSpPr>
              <a:spLocks noEditPoints="1"/>
            </p:cNvSpPr>
            <p:nvPr/>
          </p:nvSpPr>
          <p:spPr bwMode="auto">
            <a:xfrm>
              <a:off x="885825" y="1839913"/>
              <a:ext cx="120650" cy="79375"/>
            </a:xfrm>
            <a:custGeom>
              <a:avLst/>
              <a:gdLst>
                <a:gd name="T0" fmla="*/ 29 w 304"/>
                <a:gd name="T1" fmla="*/ 200 h 200"/>
                <a:gd name="T2" fmla="*/ 12 w 304"/>
                <a:gd name="T3" fmla="*/ 200 h 200"/>
                <a:gd name="T4" fmla="*/ 3 w 304"/>
                <a:gd name="T5" fmla="*/ 196 h 200"/>
                <a:gd name="T6" fmla="*/ 0 w 304"/>
                <a:gd name="T7" fmla="*/ 187 h 200"/>
                <a:gd name="T8" fmla="*/ 3 w 304"/>
                <a:gd name="T9" fmla="*/ 179 h 200"/>
                <a:gd name="T10" fmla="*/ 12 w 304"/>
                <a:gd name="T11" fmla="*/ 176 h 200"/>
                <a:gd name="T12" fmla="*/ 17 w 304"/>
                <a:gd name="T13" fmla="*/ 164 h 200"/>
                <a:gd name="T14" fmla="*/ 19 w 304"/>
                <a:gd name="T15" fmla="*/ 140 h 200"/>
                <a:gd name="T16" fmla="*/ 28 w 304"/>
                <a:gd name="T17" fmla="*/ 111 h 200"/>
                <a:gd name="T18" fmla="*/ 46 w 304"/>
                <a:gd name="T19" fmla="*/ 80 h 200"/>
                <a:gd name="T20" fmla="*/ 70 w 304"/>
                <a:gd name="T21" fmla="*/ 55 h 200"/>
                <a:gd name="T22" fmla="*/ 99 w 304"/>
                <a:gd name="T23" fmla="*/ 38 h 200"/>
                <a:gd name="T24" fmla="*/ 115 w 304"/>
                <a:gd name="T25" fmla="*/ 13 h 200"/>
                <a:gd name="T26" fmla="*/ 117 w 304"/>
                <a:gd name="T27" fmla="*/ 5 h 200"/>
                <a:gd name="T28" fmla="*/ 127 w 304"/>
                <a:gd name="T29" fmla="*/ 0 h 200"/>
                <a:gd name="T30" fmla="*/ 181 w 304"/>
                <a:gd name="T31" fmla="*/ 1 h 200"/>
                <a:gd name="T32" fmla="*/ 188 w 304"/>
                <a:gd name="T33" fmla="*/ 8 h 200"/>
                <a:gd name="T34" fmla="*/ 188 w 304"/>
                <a:gd name="T35" fmla="*/ 31 h 200"/>
                <a:gd name="T36" fmla="*/ 207 w 304"/>
                <a:gd name="T37" fmla="*/ 39 h 200"/>
                <a:gd name="T38" fmla="*/ 225 w 304"/>
                <a:gd name="T39" fmla="*/ 48 h 200"/>
                <a:gd name="T40" fmla="*/ 241 w 304"/>
                <a:gd name="T41" fmla="*/ 61 h 200"/>
                <a:gd name="T42" fmla="*/ 255 w 304"/>
                <a:gd name="T43" fmla="*/ 76 h 200"/>
                <a:gd name="T44" fmla="*/ 272 w 304"/>
                <a:gd name="T45" fmla="*/ 107 h 200"/>
                <a:gd name="T46" fmla="*/ 282 w 304"/>
                <a:gd name="T47" fmla="*/ 139 h 200"/>
                <a:gd name="T48" fmla="*/ 284 w 304"/>
                <a:gd name="T49" fmla="*/ 162 h 200"/>
                <a:gd name="T50" fmla="*/ 292 w 304"/>
                <a:gd name="T51" fmla="*/ 176 h 200"/>
                <a:gd name="T52" fmla="*/ 300 w 304"/>
                <a:gd name="T53" fmla="*/ 179 h 200"/>
                <a:gd name="T54" fmla="*/ 304 w 304"/>
                <a:gd name="T55" fmla="*/ 187 h 200"/>
                <a:gd name="T56" fmla="*/ 300 w 304"/>
                <a:gd name="T57" fmla="*/ 196 h 200"/>
                <a:gd name="T58" fmla="*/ 292 w 304"/>
                <a:gd name="T59" fmla="*/ 200 h 200"/>
                <a:gd name="T60" fmla="*/ 274 w 304"/>
                <a:gd name="T61" fmla="*/ 200 h 200"/>
                <a:gd name="T62" fmla="*/ 140 w 304"/>
                <a:gd name="T63" fmla="*/ 39 h 200"/>
                <a:gd name="T64" fmla="*/ 142 w 304"/>
                <a:gd name="T65" fmla="*/ 40 h 200"/>
                <a:gd name="T66" fmla="*/ 158 w 304"/>
                <a:gd name="T67" fmla="*/ 87 h 200"/>
                <a:gd name="T68" fmla="*/ 140 w 304"/>
                <a:gd name="T69" fmla="*/ 24 h 200"/>
                <a:gd name="T70" fmla="*/ 119 w 304"/>
                <a:gd name="T71" fmla="*/ 57 h 200"/>
                <a:gd name="T72" fmla="*/ 93 w 304"/>
                <a:gd name="T73" fmla="*/ 68 h 200"/>
                <a:gd name="T74" fmla="*/ 73 w 304"/>
                <a:gd name="T75" fmla="*/ 85 h 200"/>
                <a:gd name="T76" fmla="*/ 57 w 304"/>
                <a:gd name="T77" fmla="*/ 108 h 200"/>
                <a:gd name="T78" fmla="*/ 46 w 304"/>
                <a:gd name="T79" fmla="*/ 136 h 200"/>
                <a:gd name="T80" fmla="*/ 42 w 304"/>
                <a:gd name="T81" fmla="*/ 155 h 200"/>
                <a:gd name="T82" fmla="*/ 40 w 304"/>
                <a:gd name="T83" fmla="*/ 176 h 200"/>
                <a:gd name="T84" fmla="*/ 261 w 304"/>
                <a:gd name="T85" fmla="*/ 165 h 200"/>
                <a:gd name="T86" fmla="*/ 258 w 304"/>
                <a:gd name="T87" fmla="*/ 142 h 200"/>
                <a:gd name="T88" fmla="*/ 251 w 304"/>
                <a:gd name="T89" fmla="*/ 115 h 200"/>
                <a:gd name="T90" fmla="*/ 236 w 304"/>
                <a:gd name="T91" fmla="*/ 90 h 200"/>
                <a:gd name="T92" fmla="*/ 213 w 304"/>
                <a:gd name="T93" fmla="*/ 70 h 200"/>
                <a:gd name="T94" fmla="*/ 185 w 304"/>
                <a:gd name="T95" fmla="*/ 57 h 200"/>
                <a:gd name="T96" fmla="*/ 180 w 304"/>
                <a:gd name="T97" fmla="*/ 104 h 200"/>
                <a:gd name="T98" fmla="*/ 174 w 304"/>
                <a:gd name="T99" fmla="*/ 109 h 200"/>
                <a:gd name="T100" fmla="*/ 134 w 304"/>
                <a:gd name="T101" fmla="*/ 110 h 200"/>
                <a:gd name="T102" fmla="*/ 126 w 304"/>
                <a:gd name="T103" fmla="*/ 108 h 200"/>
                <a:gd name="T104" fmla="*/ 122 w 304"/>
                <a:gd name="T105" fmla="*/ 10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4" h="200">
                  <a:moveTo>
                    <a:pt x="274" y="200"/>
                  </a:moveTo>
                  <a:lnTo>
                    <a:pt x="29" y="200"/>
                  </a:lnTo>
                  <a:lnTo>
                    <a:pt x="29" y="200"/>
                  </a:lnTo>
                  <a:lnTo>
                    <a:pt x="12" y="200"/>
                  </a:lnTo>
                  <a:lnTo>
                    <a:pt x="7" y="199"/>
                  </a:lnTo>
                  <a:lnTo>
                    <a:pt x="3" y="196"/>
                  </a:lnTo>
                  <a:lnTo>
                    <a:pt x="1" y="191"/>
                  </a:lnTo>
                  <a:lnTo>
                    <a:pt x="0" y="187"/>
                  </a:lnTo>
                  <a:lnTo>
                    <a:pt x="1" y="183"/>
                  </a:lnTo>
                  <a:lnTo>
                    <a:pt x="3" y="179"/>
                  </a:lnTo>
                  <a:lnTo>
                    <a:pt x="7" y="177"/>
                  </a:lnTo>
                  <a:lnTo>
                    <a:pt x="12" y="176"/>
                  </a:lnTo>
                  <a:lnTo>
                    <a:pt x="17" y="176"/>
                  </a:lnTo>
                  <a:lnTo>
                    <a:pt x="17" y="164"/>
                  </a:lnTo>
                  <a:lnTo>
                    <a:pt x="18" y="151"/>
                  </a:lnTo>
                  <a:lnTo>
                    <a:pt x="19" y="140"/>
                  </a:lnTo>
                  <a:lnTo>
                    <a:pt x="23" y="128"/>
                  </a:lnTo>
                  <a:lnTo>
                    <a:pt x="28" y="111"/>
                  </a:lnTo>
                  <a:lnTo>
                    <a:pt x="36" y="94"/>
                  </a:lnTo>
                  <a:lnTo>
                    <a:pt x="46" y="80"/>
                  </a:lnTo>
                  <a:lnTo>
                    <a:pt x="57" y="67"/>
                  </a:lnTo>
                  <a:lnTo>
                    <a:pt x="70" y="55"/>
                  </a:lnTo>
                  <a:lnTo>
                    <a:pt x="83" y="45"/>
                  </a:lnTo>
                  <a:lnTo>
                    <a:pt x="99" y="38"/>
                  </a:lnTo>
                  <a:lnTo>
                    <a:pt x="116" y="31"/>
                  </a:lnTo>
                  <a:lnTo>
                    <a:pt x="115" y="13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2" y="1"/>
                  </a:lnTo>
                  <a:lnTo>
                    <a:pt x="127" y="0"/>
                  </a:lnTo>
                  <a:lnTo>
                    <a:pt x="177" y="0"/>
                  </a:lnTo>
                  <a:lnTo>
                    <a:pt x="181" y="1"/>
                  </a:lnTo>
                  <a:lnTo>
                    <a:pt x="185" y="5"/>
                  </a:lnTo>
                  <a:lnTo>
                    <a:pt x="188" y="8"/>
                  </a:lnTo>
                  <a:lnTo>
                    <a:pt x="189" y="13"/>
                  </a:lnTo>
                  <a:lnTo>
                    <a:pt x="188" y="31"/>
                  </a:lnTo>
                  <a:lnTo>
                    <a:pt x="197" y="34"/>
                  </a:lnTo>
                  <a:lnTo>
                    <a:pt x="207" y="39"/>
                  </a:lnTo>
                  <a:lnTo>
                    <a:pt x="215" y="44"/>
                  </a:lnTo>
                  <a:lnTo>
                    <a:pt x="225" y="48"/>
                  </a:lnTo>
                  <a:lnTo>
                    <a:pt x="234" y="55"/>
                  </a:lnTo>
                  <a:lnTo>
                    <a:pt x="241" y="61"/>
                  </a:lnTo>
                  <a:lnTo>
                    <a:pt x="248" y="68"/>
                  </a:lnTo>
                  <a:lnTo>
                    <a:pt x="255" y="76"/>
                  </a:lnTo>
                  <a:lnTo>
                    <a:pt x="265" y="91"/>
                  </a:lnTo>
                  <a:lnTo>
                    <a:pt x="272" y="107"/>
                  </a:lnTo>
                  <a:lnTo>
                    <a:pt x="278" y="122"/>
                  </a:lnTo>
                  <a:lnTo>
                    <a:pt x="282" y="139"/>
                  </a:lnTo>
                  <a:lnTo>
                    <a:pt x="282" y="144"/>
                  </a:lnTo>
                  <a:lnTo>
                    <a:pt x="284" y="162"/>
                  </a:lnTo>
                  <a:lnTo>
                    <a:pt x="287" y="176"/>
                  </a:lnTo>
                  <a:lnTo>
                    <a:pt x="292" y="176"/>
                  </a:lnTo>
                  <a:lnTo>
                    <a:pt x="297" y="177"/>
                  </a:lnTo>
                  <a:lnTo>
                    <a:pt x="300" y="179"/>
                  </a:lnTo>
                  <a:lnTo>
                    <a:pt x="303" y="183"/>
                  </a:lnTo>
                  <a:lnTo>
                    <a:pt x="304" y="187"/>
                  </a:lnTo>
                  <a:lnTo>
                    <a:pt x="303" y="191"/>
                  </a:lnTo>
                  <a:lnTo>
                    <a:pt x="300" y="196"/>
                  </a:lnTo>
                  <a:lnTo>
                    <a:pt x="297" y="199"/>
                  </a:lnTo>
                  <a:lnTo>
                    <a:pt x="292" y="200"/>
                  </a:lnTo>
                  <a:lnTo>
                    <a:pt x="274" y="200"/>
                  </a:lnTo>
                  <a:lnTo>
                    <a:pt x="274" y="200"/>
                  </a:lnTo>
                  <a:close/>
                  <a:moveTo>
                    <a:pt x="140" y="38"/>
                  </a:moveTo>
                  <a:lnTo>
                    <a:pt x="140" y="39"/>
                  </a:lnTo>
                  <a:lnTo>
                    <a:pt x="142" y="40"/>
                  </a:lnTo>
                  <a:lnTo>
                    <a:pt x="142" y="40"/>
                  </a:lnTo>
                  <a:lnTo>
                    <a:pt x="145" y="87"/>
                  </a:lnTo>
                  <a:lnTo>
                    <a:pt x="158" y="87"/>
                  </a:lnTo>
                  <a:lnTo>
                    <a:pt x="163" y="24"/>
                  </a:lnTo>
                  <a:lnTo>
                    <a:pt x="140" y="24"/>
                  </a:lnTo>
                  <a:lnTo>
                    <a:pt x="140" y="38"/>
                  </a:lnTo>
                  <a:close/>
                  <a:moveTo>
                    <a:pt x="119" y="57"/>
                  </a:moveTo>
                  <a:lnTo>
                    <a:pt x="105" y="62"/>
                  </a:lnTo>
                  <a:lnTo>
                    <a:pt x="93" y="68"/>
                  </a:lnTo>
                  <a:lnTo>
                    <a:pt x="82" y="75"/>
                  </a:lnTo>
                  <a:lnTo>
                    <a:pt x="73" y="85"/>
                  </a:lnTo>
                  <a:lnTo>
                    <a:pt x="64" y="96"/>
                  </a:lnTo>
                  <a:lnTo>
                    <a:pt x="57" y="108"/>
                  </a:lnTo>
                  <a:lnTo>
                    <a:pt x="51" y="121"/>
                  </a:lnTo>
                  <a:lnTo>
                    <a:pt x="46" y="136"/>
                  </a:lnTo>
                  <a:lnTo>
                    <a:pt x="43" y="145"/>
                  </a:lnTo>
                  <a:lnTo>
                    <a:pt x="42" y="155"/>
                  </a:lnTo>
                  <a:lnTo>
                    <a:pt x="41" y="166"/>
                  </a:lnTo>
                  <a:lnTo>
                    <a:pt x="40" y="176"/>
                  </a:lnTo>
                  <a:lnTo>
                    <a:pt x="263" y="176"/>
                  </a:lnTo>
                  <a:lnTo>
                    <a:pt x="261" y="165"/>
                  </a:lnTo>
                  <a:lnTo>
                    <a:pt x="259" y="147"/>
                  </a:lnTo>
                  <a:lnTo>
                    <a:pt x="258" y="142"/>
                  </a:lnTo>
                  <a:lnTo>
                    <a:pt x="255" y="128"/>
                  </a:lnTo>
                  <a:lnTo>
                    <a:pt x="251" y="115"/>
                  </a:lnTo>
                  <a:lnTo>
                    <a:pt x="244" y="102"/>
                  </a:lnTo>
                  <a:lnTo>
                    <a:pt x="236" y="90"/>
                  </a:lnTo>
                  <a:lnTo>
                    <a:pt x="225" y="79"/>
                  </a:lnTo>
                  <a:lnTo>
                    <a:pt x="213" y="70"/>
                  </a:lnTo>
                  <a:lnTo>
                    <a:pt x="200" y="62"/>
                  </a:lnTo>
                  <a:lnTo>
                    <a:pt x="185" y="57"/>
                  </a:lnTo>
                  <a:lnTo>
                    <a:pt x="181" y="99"/>
                  </a:lnTo>
                  <a:lnTo>
                    <a:pt x="180" y="104"/>
                  </a:lnTo>
                  <a:lnTo>
                    <a:pt x="178" y="108"/>
                  </a:lnTo>
                  <a:lnTo>
                    <a:pt x="174" y="109"/>
                  </a:lnTo>
                  <a:lnTo>
                    <a:pt x="169" y="110"/>
                  </a:lnTo>
                  <a:lnTo>
                    <a:pt x="134" y="110"/>
                  </a:lnTo>
                  <a:lnTo>
                    <a:pt x="129" y="109"/>
                  </a:lnTo>
                  <a:lnTo>
                    <a:pt x="126" y="108"/>
                  </a:lnTo>
                  <a:lnTo>
                    <a:pt x="123" y="104"/>
                  </a:lnTo>
                  <a:lnTo>
                    <a:pt x="122" y="102"/>
                  </a:lnTo>
                  <a:lnTo>
                    <a:pt x="119" y="57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 120"/>
            <p:cNvSpPr>
              <a:spLocks/>
            </p:cNvSpPr>
            <p:nvPr/>
          </p:nvSpPr>
          <p:spPr bwMode="auto">
            <a:xfrm>
              <a:off x="798513" y="2025651"/>
              <a:ext cx="9525" cy="73025"/>
            </a:xfrm>
            <a:custGeom>
              <a:avLst/>
              <a:gdLst>
                <a:gd name="T0" fmla="*/ 12 w 24"/>
                <a:gd name="T1" fmla="*/ 180 h 180"/>
                <a:gd name="T2" fmla="*/ 7 w 24"/>
                <a:gd name="T3" fmla="*/ 179 h 180"/>
                <a:gd name="T4" fmla="*/ 4 w 24"/>
                <a:gd name="T5" fmla="*/ 177 h 180"/>
                <a:gd name="T6" fmla="*/ 1 w 24"/>
                <a:gd name="T7" fmla="*/ 172 h 180"/>
                <a:gd name="T8" fmla="*/ 0 w 24"/>
                <a:gd name="T9" fmla="*/ 167 h 180"/>
                <a:gd name="T10" fmla="*/ 0 w 24"/>
                <a:gd name="T11" fmla="*/ 14 h 180"/>
                <a:gd name="T12" fmla="*/ 1 w 24"/>
                <a:gd name="T13" fmla="*/ 8 h 180"/>
                <a:gd name="T14" fmla="*/ 4 w 24"/>
                <a:gd name="T15" fmla="*/ 5 h 180"/>
                <a:gd name="T16" fmla="*/ 7 w 24"/>
                <a:gd name="T17" fmla="*/ 1 h 180"/>
                <a:gd name="T18" fmla="*/ 12 w 24"/>
                <a:gd name="T19" fmla="*/ 0 h 180"/>
                <a:gd name="T20" fmla="*/ 17 w 24"/>
                <a:gd name="T21" fmla="*/ 1 h 180"/>
                <a:gd name="T22" fmla="*/ 21 w 24"/>
                <a:gd name="T23" fmla="*/ 5 h 180"/>
                <a:gd name="T24" fmla="*/ 23 w 24"/>
                <a:gd name="T25" fmla="*/ 8 h 180"/>
                <a:gd name="T26" fmla="*/ 24 w 24"/>
                <a:gd name="T27" fmla="*/ 14 h 180"/>
                <a:gd name="T28" fmla="*/ 24 w 24"/>
                <a:gd name="T29" fmla="*/ 167 h 180"/>
                <a:gd name="T30" fmla="*/ 23 w 24"/>
                <a:gd name="T31" fmla="*/ 172 h 180"/>
                <a:gd name="T32" fmla="*/ 21 w 24"/>
                <a:gd name="T33" fmla="*/ 177 h 180"/>
                <a:gd name="T34" fmla="*/ 17 w 24"/>
                <a:gd name="T35" fmla="*/ 179 h 180"/>
                <a:gd name="T36" fmla="*/ 12 w 24"/>
                <a:gd name="T3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80">
                  <a:moveTo>
                    <a:pt x="12" y="180"/>
                  </a:moveTo>
                  <a:lnTo>
                    <a:pt x="7" y="179"/>
                  </a:lnTo>
                  <a:lnTo>
                    <a:pt x="4" y="177"/>
                  </a:lnTo>
                  <a:lnTo>
                    <a:pt x="1" y="172"/>
                  </a:lnTo>
                  <a:lnTo>
                    <a:pt x="0" y="167"/>
                  </a:lnTo>
                  <a:lnTo>
                    <a:pt x="0" y="14"/>
                  </a:lnTo>
                  <a:lnTo>
                    <a:pt x="1" y="8"/>
                  </a:lnTo>
                  <a:lnTo>
                    <a:pt x="4" y="5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5"/>
                  </a:lnTo>
                  <a:lnTo>
                    <a:pt x="23" y="8"/>
                  </a:lnTo>
                  <a:lnTo>
                    <a:pt x="24" y="14"/>
                  </a:lnTo>
                  <a:lnTo>
                    <a:pt x="24" y="167"/>
                  </a:lnTo>
                  <a:lnTo>
                    <a:pt x="23" y="172"/>
                  </a:lnTo>
                  <a:lnTo>
                    <a:pt x="21" y="177"/>
                  </a:lnTo>
                  <a:lnTo>
                    <a:pt x="17" y="179"/>
                  </a:lnTo>
                  <a:lnTo>
                    <a:pt x="12" y="180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121"/>
            <p:cNvSpPr>
              <a:spLocks noEditPoints="1"/>
            </p:cNvSpPr>
            <p:nvPr/>
          </p:nvSpPr>
          <p:spPr bwMode="auto">
            <a:xfrm>
              <a:off x="798513" y="2009776"/>
              <a:ext cx="300038" cy="236538"/>
            </a:xfrm>
            <a:custGeom>
              <a:avLst/>
              <a:gdLst>
                <a:gd name="T0" fmla="*/ 44 w 759"/>
                <a:gd name="T1" fmla="*/ 591 h 592"/>
                <a:gd name="T2" fmla="*/ 16 w 759"/>
                <a:gd name="T3" fmla="*/ 575 h 592"/>
                <a:gd name="T4" fmla="*/ 1 w 759"/>
                <a:gd name="T5" fmla="*/ 549 h 592"/>
                <a:gd name="T6" fmla="*/ 1 w 759"/>
                <a:gd name="T7" fmla="*/ 308 h 592"/>
                <a:gd name="T8" fmla="*/ 12 w 759"/>
                <a:gd name="T9" fmla="*/ 302 h 592"/>
                <a:gd name="T10" fmla="*/ 23 w 759"/>
                <a:gd name="T11" fmla="*/ 308 h 592"/>
                <a:gd name="T12" fmla="*/ 25 w 759"/>
                <a:gd name="T13" fmla="*/ 544 h 592"/>
                <a:gd name="T14" fmla="*/ 33 w 759"/>
                <a:gd name="T15" fmla="*/ 558 h 592"/>
                <a:gd name="T16" fmla="*/ 48 w 759"/>
                <a:gd name="T17" fmla="*/ 567 h 592"/>
                <a:gd name="T18" fmla="*/ 711 w 759"/>
                <a:gd name="T19" fmla="*/ 567 h 592"/>
                <a:gd name="T20" fmla="*/ 727 w 759"/>
                <a:gd name="T21" fmla="*/ 558 h 592"/>
                <a:gd name="T22" fmla="*/ 734 w 759"/>
                <a:gd name="T23" fmla="*/ 544 h 592"/>
                <a:gd name="T24" fmla="*/ 736 w 759"/>
                <a:gd name="T25" fmla="*/ 309 h 592"/>
                <a:gd name="T26" fmla="*/ 747 w 759"/>
                <a:gd name="T27" fmla="*/ 302 h 592"/>
                <a:gd name="T28" fmla="*/ 758 w 759"/>
                <a:gd name="T29" fmla="*/ 309 h 592"/>
                <a:gd name="T30" fmla="*/ 758 w 759"/>
                <a:gd name="T31" fmla="*/ 549 h 592"/>
                <a:gd name="T32" fmla="*/ 744 w 759"/>
                <a:gd name="T33" fmla="*/ 575 h 592"/>
                <a:gd name="T34" fmla="*/ 716 w 759"/>
                <a:gd name="T35" fmla="*/ 591 h 592"/>
                <a:gd name="T36" fmla="*/ 705 w 759"/>
                <a:gd name="T37" fmla="*/ 84 h 592"/>
                <a:gd name="T38" fmla="*/ 722 w 759"/>
                <a:gd name="T39" fmla="*/ 77 h 592"/>
                <a:gd name="T40" fmla="*/ 733 w 759"/>
                <a:gd name="T41" fmla="*/ 65 h 592"/>
                <a:gd name="T42" fmla="*/ 734 w 759"/>
                <a:gd name="T43" fmla="*/ 47 h 592"/>
                <a:gd name="T44" fmla="*/ 727 w 759"/>
                <a:gd name="T45" fmla="*/ 31 h 592"/>
                <a:gd name="T46" fmla="*/ 711 w 759"/>
                <a:gd name="T47" fmla="*/ 23 h 592"/>
                <a:gd name="T48" fmla="*/ 685 w 759"/>
                <a:gd name="T49" fmla="*/ 84 h 592"/>
                <a:gd name="T50" fmla="*/ 42 w 759"/>
                <a:gd name="T51" fmla="*/ 25 h 592"/>
                <a:gd name="T52" fmla="*/ 29 w 759"/>
                <a:gd name="T53" fmla="*/ 36 h 592"/>
                <a:gd name="T54" fmla="*/ 24 w 759"/>
                <a:gd name="T55" fmla="*/ 54 h 592"/>
                <a:gd name="T56" fmla="*/ 29 w 759"/>
                <a:gd name="T57" fmla="*/ 70 h 592"/>
                <a:gd name="T58" fmla="*/ 42 w 759"/>
                <a:gd name="T59" fmla="*/ 81 h 592"/>
                <a:gd name="T60" fmla="*/ 74 w 759"/>
                <a:gd name="T61" fmla="*/ 84 h 592"/>
                <a:gd name="T62" fmla="*/ 245 w 759"/>
                <a:gd name="T63" fmla="*/ 108 h 592"/>
                <a:gd name="T64" fmla="*/ 34 w 759"/>
                <a:gd name="T65" fmla="*/ 104 h 592"/>
                <a:gd name="T66" fmla="*/ 10 w 759"/>
                <a:gd name="T67" fmla="*/ 84 h 592"/>
                <a:gd name="T68" fmla="*/ 0 w 759"/>
                <a:gd name="T69" fmla="*/ 54 h 592"/>
                <a:gd name="T70" fmla="*/ 10 w 759"/>
                <a:gd name="T71" fmla="*/ 23 h 592"/>
                <a:gd name="T72" fmla="*/ 34 w 759"/>
                <a:gd name="T73" fmla="*/ 4 h 592"/>
                <a:gd name="T74" fmla="*/ 85 w 759"/>
                <a:gd name="T75" fmla="*/ 0 h 592"/>
                <a:gd name="T76" fmla="*/ 96 w 759"/>
                <a:gd name="T77" fmla="*/ 6 h 592"/>
                <a:gd name="T78" fmla="*/ 245 w 759"/>
                <a:gd name="T79" fmla="*/ 84 h 592"/>
                <a:gd name="T80" fmla="*/ 664 w 759"/>
                <a:gd name="T81" fmla="*/ 6 h 592"/>
                <a:gd name="T82" fmla="*/ 675 w 759"/>
                <a:gd name="T83" fmla="*/ 0 h 592"/>
                <a:gd name="T84" fmla="*/ 725 w 759"/>
                <a:gd name="T85" fmla="*/ 4 h 592"/>
                <a:gd name="T86" fmla="*/ 750 w 759"/>
                <a:gd name="T87" fmla="*/ 23 h 592"/>
                <a:gd name="T88" fmla="*/ 759 w 759"/>
                <a:gd name="T89" fmla="*/ 53 h 592"/>
                <a:gd name="T90" fmla="*/ 758 w 759"/>
                <a:gd name="T91" fmla="*/ 212 h 592"/>
                <a:gd name="T92" fmla="*/ 747 w 759"/>
                <a:gd name="T93" fmla="*/ 220 h 592"/>
                <a:gd name="T94" fmla="*/ 736 w 759"/>
                <a:gd name="T95" fmla="*/ 212 h 592"/>
                <a:gd name="T96" fmla="*/ 728 w 759"/>
                <a:gd name="T97" fmla="*/ 103 h 592"/>
                <a:gd name="T98" fmla="*/ 705 w 759"/>
                <a:gd name="T99" fmla="*/ 10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59" h="592">
                  <a:moveTo>
                    <a:pt x="705" y="592"/>
                  </a:moveTo>
                  <a:lnTo>
                    <a:pt x="55" y="592"/>
                  </a:lnTo>
                  <a:lnTo>
                    <a:pt x="44" y="591"/>
                  </a:lnTo>
                  <a:lnTo>
                    <a:pt x="34" y="587"/>
                  </a:lnTo>
                  <a:lnTo>
                    <a:pt x="24" y="583"/>
                  </a:lnTo>
                  <a:lnTo>
                    <a:pt x="16" y="575"/>
                  </a:lnTo>
                  <a:lnTo>
                    <a:pt x="10" y="568"/>
                  </a:lnTo>
                  <a:lnTo>
                    <a:pt x="5" y="558"/>
                  </a:lnTo>
                  <a:lnTo>
                    <a:pt x="1" y="549"/>
                  </a:lnTo>
                  <a:lnTo>
                    <a:pt x="0" y="538"/>
                  </a:lnTo>
                  <a:lnTo>
                    <a:pt x="0" y="312"/>
                  </a:lnTo>
                  <a:lnTo>
                    <a:pt x="1" y="308"/>
                  </a:lnTo>
                  <a:lnTo>
                    <a:pt x="4" y="305"/>
                  </a:lnTo>
                  <a:lnTo>
                    <a:pt x="7" y="303"/>
                  </a:lnTo>
                  <a:lnTo>
                    <a:pt x="12" y="302"/>
                  </a:lnTo>
                  <a:lnTo>
                    <a:pt x="17" y="303"/>
                  </a:lnTo>
                  <a:lnTo>
                    <a:pt x="21" y="305"/>
                  </a:lnTo>
                  <a:lnTo>
                    <a:pt x="23" y="308"/>
                  </a:lnTo>
                  <a:lnTo>
                    <a:pt x="24" y="312"/>
                  </a:lnTo>
                  <a:lnTo>
                    <a:pt x="24" y="538"/>
                  </a:lnTo>
                  <a:lnTo>
                    <a:pt x="25" y="544"/>
                  </a:lnTo>
                  <a:lnTo>
                    <a:pt x="27" y="549"/>
                  </a:lnTo>
                  <a:lnTo>
                    <a:pt x="29" y="553"/>
                  </a:lnTo>
                  <a:lnTo>
                    <a:pt x="33" y="558"/>
                  </a:lnTo>
                  <a:lnTo>
                    <a:pt x="38" y="562"/>
                  </a:lnTo>
                  <a:lnTo>
                    <a:pt x="42" y="564"/>
                  </a:lnTo>
                  <a:lnTo>
                    <a:pt x="48" y="567"/>
                  </a:lnTo>
                  <a:lnTo>
                    <a:pt x="55" y="567"/>
                  </a:lnTo>
                  <a:lnTo>
                    <a:pt x="705" y="567"/>
                  </a:lnTo>
                  <a:lnTo>
                    <a:pt x="711" y="567"/>
                  </a:lnTo>
                  <a:lnTo>
                    <a:pt x="717" y="564"/>
                  </a:lnTo>
                  <a:lnTo>
                    <a:pt x="722" y="562"/>
                  </a:lnTo>
                  <a:lnTo>
                    <a:pt x="727" y="558"/>
                  </a:lnTo>
                  <a:lnTo>
                    <a:pt x="730" y="553"/>
                  </a:lnTo>
                  <a:lnTo>
                    <a:pt x="733" y="549"/>
                  </a:lnTo>
                  <a:lnTo>
                    <a:pt x="734" y="544"/>
                  </a:lnTo>
                  <a:lnTo>
                    <a:pt x="735" y="538"/>
                  </a:lnTo>
                  <a:lnTo>
                    <a:pt x="735" y="312"/>
                  </a:lnTo>
                  <a:lnTo>
                    <a:pt x="736" y="309"/>
                  </a:lnTo>
                  <a:lnTo>
                    <a:pt x="739" y="305"/>
                  </a:lnTo>
                  <a:lnTo>
                    <a:pt x="742" y="303"/>
                  </a:lnTo>
                  <a:lnTo>
                    <a:pt x="747" y="302"/>
                  </a:lnTo>
                  <a:lnTo>
                    <a:pt x="752" y="303"/>
                  </a:lnTo>
                  <a:lnTo>
                    <a:pt x="756" y="305"/>
                  </a:lnTo>
                  <a:lnTo>
                    <a:pt x="758" y="309"/>
                  </a:lnTo>
                  <a:lnTo>
                    <a:pt x="759" y="312"/>
                  </a:lnTo>
                  <a:lnTo>
                    <a:pt x="759" y="538"/>
                  </a:lnTo>
                  <a:lnTo>
                    <a:pt x="758" y="549"/>
                  </a:lnTo>
                  <a:lnTo>
                    <a:pt x="754" y="558"/>
                  </a:lnTo>
                  <a:lnTo>
                    <a:pt x="750" y="568"/>
                  </a:lnTo>
                  <a:lnTo>
                    <a:pt x="744" y="575"/>
                  </a:lnTo>
                  <a:lnTo>
                    <a:pt x="735" y="583"/>
                  </a:lnTo>
                  <a:lnTo>
                    <a:pt x="725" y="587"/>
                  </a:lnTo>
                  <a:lnTo>
                    <a:pt x="716" y="591"/>
                  </a:lnTo>
                  <a:lnTo>
                    <a:pt x="705" y="592"/>
                  </a:lnTo>
                  <a:close/>
                  <a:moveTo>
                    <a:pt x="685" y="84"/>
                  </a:moveTo>
                  <a:lnTo>
                    <a:pt x="705" y="84"/>
                  </a:lnTo>
                  <a:lnTo>
                    <a:pt x="711" y="82"/>
                  </a:lnTo>
                  <a:lnTo>
                    <a:pt x="717" y="81"/>
                  </a:lnTo>
                  <a:lnTo>
                    <a:pt x="722" y="77"/>
                  </a:lnTo>
                  <a:lnTo>
                    <a:pt x="727" y="75"/>
                  </a:lnTo>
                  <a:lnTo>
                    <a:pt x="730" y="70"/>
                  </a:lnTo>
                  <a:lnTo>
                    <a:pt x="733" y="65"/>
                  </a:lnTo>
                  <a:lnTo>
                    <a:pt x="734" y="59"/>
                  </a:lnTo>
                  <a:lnTo>
                    <a:pt x="735" y="54"/>
                  </a:lnTo>
                  <a:lnTo>
                    <a:pt x="734" y="47"/>
                  </a:lnTo>
                  <a:lnTo>
                    <a:pt x="733" y="41"/>
                  </a:lnTo>
                  <a:lnTo>
                    <a:pt x="730" y="36"/>
                  </a:lnTo>
                  <a:lnTo>
                    <a:pt x="727" y="31"/>
                  </a:lnTo>
                  <a:lnTo>
                    <a:pt x="722" y="28"/>
                  </a:lnTo>
                  <a:lnTo>
                    <a:pt x="717" y="25"/>
                  </a:lnTo>
                  <a:lnTo>
                    <a:pt x="711" y="23"/>
                  </a:lnTo>
                  <a:lnTo>
                    <a:pt x="705" y="23"/>
                  </a:lnTo>
                  <a:lnTo>
                    <a:pt x="687" y="23"/>
                  </a:lnTo>
                  <a:lnTo>
                    <a:pt x="685" y="84"/>
                  </a:lnTo>
                  <a:close/>
                  <a:moveTo>
                    <a:pt x="55" y="23"/>
                  </a:moveTo>
                  <a:lnTo>
                    <a:pt x="48" y="23"/>
                  </a:lnTo>
                  <a:lnTo>
                    <a:pt x="42" y="25"/>
                  </a:lnTo>
                  <a:lnTo>
                    <a:pt x="38" y="28"/>
                  </a:lnTo>
                  <a:lnTo>
                    <a:pt x="33" y="31"/>
                  </a:lnTo>
                  <a:lnTo>
                    <a:pt x="29" y="36"/>
                  </a:lnTo>
                  <a:lnTo>
                    <a:pt x="27" y="41"/>
                  </a:lnTo>
                  <a:lnTo>
                    <a:pt x="25" y="47"/>
                  </a:lnTo>
                  <a:lnTo>
                    <a:pt x="24" y="54"/>
                  </a:lnTo>
                  <a:lnTo>
                    <a:pt x="25" y="59"/>
                  </a:lnTo>
                  <a:lnTo>
                    <a:pt x="27" y="65"/>
                  </a:lnTo>
                  <a:lnTo>
                    <a:pt x="29" y="70"/>
                  </a:lnTo>
                  <a:lnTo>
                    <a:pt x="33" y="75"/>
                  </a:lnTo>
                  <a:lnTo>
                    <a:pt x="38" y="77"/>
                  </a:lnTo>
                  <a:lnTo>
                    <a:pt x="42" y="81"/>
                  </a:lnTo>
                  <a:lnTo>
                    <a:pt x="48" y="82"/>
                  </a:lnTo>
                  <a:lnTo>
                    <a:pt x="55" y="84"/>
                  </a:lnTo>
                  <a:lnTo>
                    <a:pt x="74" y="84"/>
                  </a:lnTo>
                  <a:lnTo>
                    <a:pt x="73" y="23"/>
                  </a:lnTo>
                  <a:lnTo>
                    <a:pt x="55" y="23"/>
                  </a:lnTo>
                  <a:close/>
                  <a:moveTo>
                    <a:pt x="245" y="108"/>
                  </a:moveTo>
                  <a:lnTo>
                    <a:pt x="55" y="108"/>
                  </a:lnTo>
                  <a:lnTo>
                    <a:pt x="44" y="107"/>
                  </a:lnTo>
                  <a:lnTo>
                    <a:pt x="34" y="104"/>
                  </a:lnTo>
                  <a:lnTo>
                    <a:pt x="24" y="98"/>
                  </a:lnTo>
                  <a:lnTo>
                    <a:pt x="16" y="92"/>
                  </a:lnTo>
                  <a:lnTo>
                    <a:pt x="10" y="84"/>
                  </a:lnTo>
                  <a:lnTo>
                    <a:pt x="5" y="75"/>
                  </a:lnTo>
                  <a:lnTo>
                    <a:pt x="1" y="64"/>
                  </a:lnTo>
                  <a:lnTo>
                    <a:pt x="0" y="54"/>
                  </a:lnTo>
                  <a:lnTo>
                    <a:pt x="1" y="42"/>
                  </a:lnTo>
                  <a:lnTo>
                    <a:pt x="5" y="33"/>
                  </a:lnTo>
                  <a:lnTo>
                    <a:pt x="10" y="23"/>
                  </a:lnTo>
                  <a:lnTo>
                    <a:pt x="16" y="14"/>
                  </a:lnTo>
                  <a:lnTo>
                    <a:pt x="24" y="8"/>
                  </a:lnTo>
                  <a:lnTo>
                    <a:pt x="34" y="4"/>
                  </a:lnTo>
                  <a:lnTo>
                    <a:pt x="44" y="1"/>
                  </a:lnTo>
                  <a:lnTo>
                    <a:pt x="55" y="0"/>
                  </a:lnTo>
                  <a:lnTo>
                    <a:pt x="85" y="0"/>
                  </a:lnTo>
                  <a:lnTo>
                    <a:pt x="90" y="1"/>
                  </a:lnTo>
                  <a:lnTo>
                    <a:pt x="93" y="2"/>
                  </a:lnTo>
                  <a:lnTo>
                    <a:pt x="96" y="6"/>
                  </a:lnTo>
                  <a:lnTo>
                    <a:pt x="97" y="11"/>
                  </a:lnTo>
                  <a:lnTo>
                    <a:pt x="98" y="84"/>
                  </a:lnTo>
                  <a:lnTo>
                    <a:pt x="245" y="84"/>
                  </a:lnTo>
                  <a:lnTo>
                    <a:pt x="661" y="84"/>
                  </a:lnTo>
                  <a:lnTo>
                    <a:pt x="662" y="11"/>
                  </a:lnTo>
                  <a:lnTo>
                    <a:pt x="664" y="6"/>
                  </a:lnTo>
                  <a:lnTo>
                    <a:pt x="666" y="2"/>
                  </a:lnTo>
                  <a:lnTo>
                    <a:pt x="670" y="1"/>
                  </a:lnTo>
                  <a:lnTo>
                    <a:pt x="675" y="0"/>
                  </a:lnTo>
                  <a:lnTo>
                    <a:pt x="705" y="0"/>
                  </a:lnTo>
                  <a:lnTo>
                    <a:pt x="716" y="1"/>
                  </a:lnTo>
                  <a:lnTo>
                    <a:pt x="725" y="4"/>
                  </a:lnTo>
                  <a:lnTo>
                    <a:pt x="735" y="8"/>
                  </a:lnTo>
                  <a:lnTo>
                    <a:pt x="744" y="14"/>
                  </a:lnTo>
                  <a:lnTo>
                    <a:pt x="750" y="23"/>
                  </a:lnTo>
                  <a:lnTo>
                    <a:pt x="754" y="31"/>
                  </a:lnTo>
                  <a:lnTo>
                    <a:pt x="758" y="42"/>
                  </a:lnTo>
                  <a:lnTo>
                    <a:pt x="759" y="53"/>
                  </a:lnTo>
                  <a:lnTo>
                    <a:pt x="759" y="54"/>
                  </a:lnTo>
                  <a:lnTo>
                    <a:pt x="759" y="207"/>
                  </a:lnTo>
                  <a:lnTo>
                    <a:pt x="758" y="212"/>
                  </a:lnTo>
                  <a:lnTo>
                    <a:pt x="756" y="217"/>
                  </a:lnTo>
                  <a:lnTo>
                    <a:pt x="752" y="219"/>
                  </a:lnTo>
                  <a:lnTo>
                    <a:pt x="747" y="220"/>
                  </a:lnTo>
                  <a:lnTo>
                    <a:pt x="742" y="219"/>
                  </a:lnTo>
                  <a:lnTo>
                    <a:pt x="739" y="217"/>
                  </a:lnTo>
                  <a:lnTo>
                    <a:pt x="736" y="212"/>
                  </a:lnTo>
                  <a:lnTo>
                    <a:pt x="735" y="207"/>
                  </a:lnTo>
                  <a:lnTo>
                    <a:pt x="735" y="98"/>
                  </a:lnTo>
                  <a:lnTo>
                    <a:pt x="728" y="103"/>
                  </a:lnTo>
                  <a:lnTo>
                    <a:pt x="721" y="105"/>
                  </a:lnTo>
                  <a:lnTo>
                    <a:pt x="713" y="108"/>
                  </a:lnTo>
                  <a:lnTo>
                    <a:pt x="705" y="108"/>
                  </a:lnTo>
                  <a:lnTo>
                    <a:pt x="245" y="108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 122"/>
            <p:cNvSpPr>
              <a:spLocks noEditPoints="1"/>
            </p:cNvSpPr>
            <p:nvPr/>
          </p:nvSpPr>
          <p:spPr bwMode="auto">
            <a:xfrm>
              <a:off x="784225" y="2085976"/>
              <a:ext cx="328613" cy="55563"/>
            </a:xfrm>
            <a:custGeom>
              <a:avLst/>
              <a:gdLst>
                <a:gd name="T0" fmla="*/ 28 w 825"/>
                <a:gd name="T1" fmla="*/ 45 h 139"/>
                <a:gd name="T2" fmla="*/ 25 w 825"/>
                <a:gd name="T3" fmla="*/ 85 h 139"/>
                <a:gd name="T4" fmla="*/ 27 w 825"/>
                <a:gd name="T5" fmla="*/ 115 h 139"/>
                <a:gd name="T6" fmla="*/ 65 w 825"/>
                <a:gd name="T7" fmla="*/ 108 h 139"/>
                <a:gd name="T8" fmla="*/ 79 w 825"/>
                <a:gd name="T9" fmla="*/ 97 h 139"/>
                <a:gd name="T10" fmla="*/ 77 w 825"/>
                <a:gd name="T11" fmla="*/ 68 h 139"/>
                <a:gd name="T12" fmla="*/ 60 w 825"/>
                <a:gd name="T13" fmla="*/ 40 h 139"/>
                <a:gd name="T14" fmla="*/ 792 w 825"/>
                <a:gd name="T15" fmla="*/ 27 h 139"/>
                <a:gd name="T16" fmla="*/ 760 w 825"/>
                <a:gd name="T17" fmla="*/ 46 h 139"/>
                <a:gd name="T18" fmla="*/ 750 w 825"/>
                <a:gd name="T19" fmla="*/ 68 h 139"/>
                <a:gd name="T20" fmla="*/ 746 w 825"/>
                <a:gd name="T21" fmla="*/ 91 h 139"/>
                <a:gd name="T22" fmla="*/ 750 w 825"/>
                <a:gd name="T23" fmla="*/ 104 h 139"/>
                <a:gd name="T24" fmla="*/ 787 w 825"/>
                <a:gd name="T25" fmla="*/ 113 h 139"/>
                <a:gd name="T26" fmla="*/ 801 w 825"/>
                <a:gd name="T27" fmla="*/ 97 h 139"/>
                <a:gd name="T28" fmla="*/ 800 w 825"/>
                <a:gd name="T29" fmla="*/ 58 h 139"/>
                <a:gd name="T30" fmla="*/ 792 w 825"/>
                <a:gd name="T31" fmla="*/ 27 h 139"/>
                <a:gd name="T32" fmla="*/ 778 w 825"/>
                <a:gd name="T33" fmla="*/ 136 h 139"/>
                <a:gd name="T34" fmla="*/ 748 w 825"/>
                <a:gd name="T35" fmla="*/ 127 h 139"/>
                <a:gd name="T36" fmla="*/ 729 w 825"/>
                <a:gd name="T37" fmla="*/ 116 h 139"/>
                <a:gd name="T38" fmla="*/ 723 w 825"/>
                <a:gd name="T39" fmla="*/ 102 h 139"/>
                <a:gd name="T40" fmla="*/ 722 w 825"/>
                <a:gd name="T41" fmla="*/ 83 h 139"/>
                <a:gd name="T42" fmla="*/ 731 w 825"/>
                <a:gd name="T43" fmla="*/ 50 h 139"/>
                <a:gd name="T44" fmla="*/ 741 w 825"/>
                <a:gd name="T45" fmla="*/ 29 h 139"/>
                <a:gd name="T46" fmla="*/ 772 w 825"/>
                <a:gd name="T47" fmla="*/ 10 h 139"/>
                <a:gd name="T48" fmla="*/ 792 w 825"/>
                <a:gd name="T49" fmla="*/ 0 h 139"/>
                <a:gd name="T50" fmla="*/ 808 w 825"/>
                <a:gd name="T51" fmla="*/ 8 h 139"/>
                <a:gd name="T52" fmla="*/ 819 w 825"/>
                <a:gd name="T53" fmla="*/ 33 h 139"/>
                <a:gd name="T54" fmla="*/ 824 w 825"/>
                <a:gd name="T55" fmla="*/ 70 h 139"/>
                <a:gd name="T56" fmla="*/ 824 w 825"/>
                <a:gd name="T57" fmla="*/ 109 h 139"/>
                <a:gd name="T58" fmla="*/ 815 w 825"/>
                <a:gd name="T59" fmla="*/ 133 h 139"/>
                <a:gd name="T60" fmla="*/ 804 w 825"/>
                <a:gd name="T61" fmla="*/ 139 h 139"/>
                <a:gd name="T62" fmla="*/ 12 w 825"/>
                <a:gd name="T63" fmla="*/ 134 h 139"/>
                <a:gd name="T64" fmla="*/ 3 w 825"/>
                <a:gd name="T65" fmla="*/ 115 h 139"/>
                <a:gd name="T66" fmla="*/ 0 w 825"/>
                <a:gd name="T67" fmla="*/ 83 h 139"/>
                <a:gd name="T68" fmla="*/ 4 w 825"/>
                <a:gd name="T69" fmla="*/ 45 h 139"/>
                <a:gd name="T70" fmla="*/ 14 w 825"/>
                <a:gd name="T71" fmla="*/ 14 h 139"/>
                <a:gd name="T72" fmla="*/ 27 w 825"/>
                <a:gd name="T73" fmla="*/ 1 h 139"/>
                <a:gd name="T74" fmla="*/ 37 w 825"/>
                <a:gd name="T75" fmla="*/ 2 h 139"/>
                <a:gd name="T76" fmla="*/ 54 w 825"/>
                <a:gd name="T77" fmla="*/ 10 h 139"/>
                <a:gd name="T78" fmla="*/ 84 w 825"/>
                <a:gd name="T79" fmla="*/ 29 h 139"/>
                <a:gd name="T80" fmla="*/ 96 w 825"/>
                <a:gd name="T81" fmla="*/ 50 h 139"/>
                <a:gd name="T82" fmla="*/ 103 w 825"/>
                <a:gd name="T83" fmla="*/ 83 h 139"/>
                <a:gd name="T84" fmla="*/ 98 w 825"/>
                <a:gd name="T85" fmla="*/ 113 h 139"/>
                <a:gd name="T86" fmla="*/ 86 w 825"/>
                <a:gd name="T87" fmla="*/ 123 h 139"/>
                <a:gd name="T88" fmla="*/ 57 w 825"/>
                <a:gd name="T89" fmla="*/ 133 h 139"/>
                <a:gd name="T90" fmla="*/ 25 w 825"/>
                <a:gd name="T9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25" h="139">
                  <a:moveTo>
                    <a:pt x="34" y="27"/>
                  </a:moveTo>
                  <a:lnTo>
                    <a:pt x="31" y="35"/>
                  </a:lnTo>
                  <a:lnTo>
                    <a:pt x="28" y="45"/>
                  </a:lnTo>
                  <a:lnTo>
                    <a:pt x="27" y="58"/>
                  </a:lnTo>
                  <a:lnTo>
                    <a:pt x="26" y="71"/>
                  </a:lnTo>
                  <a:lnTo>
                    <a:pt x="25" y="85"/>
                  </a:lnTo>
                  <a:lnTo>
                    <a:pt x="25" y="97"/>
                  </a:lnTo>
                  <a:lnTo>
                    <a:pt x="26" y="108"/>
                  </a:lnTo>
                  <a:lnTo>
                    <a:pt x="27" y="115"/>
                  </a:lnTo>
                  <a:lnTo>
                    <a:pt x="38" y="114"/>
                  </a:lnTo>
                  <a:lnTo>
                    <a:pt x="50" y="111"/>
                  </a:lnTo>
                  <a:lnTo>
                    <a:pt x="65" y="108"/>
                  </a:lnTo>
                  <a:lnTo>
                    <a:pt x="75" y="104"/>
                  </a:lnTo>
                  <a:lnTo>
                    <a:pt x="78" y="100"/>
                  </a:lnTo>
                  <a:lnTo>
                    <a:pt x="79" y="97"/>
                  </a:lnTo>
                  <a:lnTo>
                    <a:pt x="79" y="91"/>
                  </a:lnTo>
                  <a:lnTo>
                    <a:pt x="79" y="85"/>
                  </a:lnTo>
                  <a:lnTo>
                    <a:pt x="77" y="68"/>
                  </a:lnTo>
                  <a:lnTo>
                    <a:pt x="71" y="50"/>
                  </a:lnTo>
                  <a:lnTo>
                    <a:pt x="67" y="46"/>
                  </a:lnTo>
                  <a:lnTo>
                    <a:pt x="60" y="40"/>
                  </a:lnTo>
                  <a:lnTo>
                    <a:pt x="49" y="34"/>
                  </a:lnTo>
                  <a:lnTo>
                    <a:pt x="34" y="27"/>
                  </a:lnTo>
                  <a:close/>
                  <a:moveTo>
                    <a:pt x="792" y="27"/>
                  </a:moveTo>
                  <a:lnTo>
                    <a:pt x="778" y="34"/>
                  </a:lnTo>
                  <a:lnTo>
                    <a:pt x="767" y="40"/>
                  </a:lnTo>
                  <a:lnTo>
                    <a:pt x="760" y="46"/>
                  </a:lnTo>
                  <a:lnTo>
                    <a:pt x="756" y="50"/>
                  </a:lnTo>
                  <a:lnTo>
                    <a:pt x="752" y="59"/>
                  </a:lnTo>
                  <a:lnTo>
                    <a:pt x="750" y="68"/>
                  </a:lnTo>
                  <a:lnTo>
                    <a:pt x="748" y="76"/>
                  </a:lnTo>
                  <a:lnTo>
                    <a:pt x="746" y="85"/>
                  </a:lnTo>
                  <a:lnTo>
                    <a:pt x="746" y="91"/>
                  </a:lnTo>
                  <a:lnTo>
                    <a:pt x="746" y="97"/>
                  </a:lnTo>
                  <a:lnTo>
                    <a:pt x="748" y="100"/>
                  </a:lnTo>
                  <a:lnTo>
                    <a:pt x="750" y="104"/>
                  </a:lnTo>
                  <a:lnTo>
                    <a:pt x="761" y="108"/>
                  </a:lnTo>
                  <a:lnTo>
                    <a:pt x="774" y="111"/>
                  </a:lnTo>
                  <a:lnTo>
                    <a:pt x="787" y="113"/>
                  </a:lnTo>
                  <a:lnTo>
                    <a:pt x="798" y="115"/>
                  </a:lnTo>
                  <a:lnTo>
                    <a:pt x="800" y="108"/>
                  </a:lnTo>
                  <a:lnTo>
                    <a:pt x="801" y="97"/>
                  </a:lnTo>
                  <a:lnTo>
                    <a:pt x="801" y="85"/>
                  </a:lnTo>
                  <a:lnTo>
                    <a:pt x="801" y="71"/>
                  </a:lnTo>
                  <a:lnTo>
                    <a:pt x="800" y="58"/>
                  </a:lnTo>
                  <a:lnTo>
                    <a:pt x="797" y="45"/>
                  </a:lnTo>
                  <a:lnTo>
                    <a:pt x="795" y="35"/>
                  </a:lnTo>
                  <a:lnTo>
                    <a:pt x="792" y="27"/>
                  </a:lnTo>
                  <a:close/>
                  <a:moveTo>
                    <a:pt x="804" y="139"/>
                  </a:moveTo>
                  <a:lnTo>
                    <a:pt x="795" y="139"/>
                  </a:lnTo>
                  <a:lnTo>
                    <a:pt x="778" y="136"/>
                  </a:lnTo>
                  <a:lnTo>
                    <a:pt x="768" y="133"/>
                  </a:lnTo>
                  <a:lnTo>
                    <a:pt x="757" y="131"/>
                  </a:lnTo>
                  <a:lnTo>
                    <a:pt x="748" y="127"/>
                  </a:lnTo>
                  <a:lnTo>
                    <a:pt x="739" y="123"/>
                  </a:lnTo>
                  <a:lnTo>
                    <a:pt x="734" y="121"/>
                  </a:lnTo>
                  <a:lnTo>
                    <a:pt x="729" y="116"/>
                  </a:lnTo>
                  <a:lnTo>
                    <a:pt x="727" y="113"/>
                  </a:lnTo>
                  <a:lnTo>
                    <a:pt x="724" y="106"/>
                  </a:lnTo>
                  <a:lnTo>
                    <a:pt x="723" y="102"/>
                  </a:lnTo>
                  <a:lnTo>
                    <a:pt x="722" y="96"/>
                  </a:lnTo>
                  <a:lnTo>
                    <a:pt x="722" y="90"/>
                  </a:lnTo>
                  <a:lnTo>
                    <a:pt x="722" y="83"/>
                  </a:lnTo>
                  <a:lnTo>
                    <a:pt x="724" y="71"/>
                  </a:lnTo>
                  <a:lnTo>
                    <a:pt x="727" y="59"/>
                  </a:lnTo>
                  <a:lnTo>
                    <a:pt x="731" y="50"/>
                  </a:lnTo>
                  <a:lnTo>
                    <a:pt x="733" y="40"/>
                  </a:lnTo>
                  <a:lnTo>
                    <a:pt x="737" y="35"/>
                  </a:lnTo>
                  <a:lnTo>
                    <a:pt x="741" y="29"/>
                  </a:lnTo>
                  <a:lnTo>
                    <a:pt x="748" y="24"/>
                  </a:lnTo>
                  <a:lnTo>
                    <a:pt x="755" y="19"/>
                  </a:lnTo>
                  <a:lnTo>
                    <a:pt x="772" y="10"/>
                  </a:lnTo>
                  <a:lnTo>
                    <a:pt x="789" y="2"/>
                  </a:lnTo>
                  <a:lnTo>
                    <a:pt x="790" y="0"/>
                  </a:lnTo>
                  <a:lnTo>
                    <a:pt x="792" y="0"/>
                  </a:lnTo>
                  <a:lnTo>
                    <a:pt x="798" y="1"/>
                  </a:lnTo>
                  <a:lnTo>
                    <a:pt x="803" y="4"/>
                  </a:lnTo>
                  <a:lnTo>
                    <a:pt x="808" y="8"/>
                  </a:lnTo>
                  <a:lnTo>
                    <a:pt x="812" y="14"/>
                  </a:lnTo>
                  <a:lnTo>
                    <a:pt x="815" y="22"/>
                  </a:lnTo>
                  <a:lnTo>
                    <a:pt x="819" y="33"/>
                  </a:lnTo>
                  <a:lnTo>
                    <a:pt x="821" y="45"/>
                  </a:lnTo>
                  <a:lnTo>
                    <a:pt x="823" y="58"/>
                  </a:lnTo>
                  <a:lnTo>
                    <a:pt x="824" y="70"/>
                  </a:lnTo>
                  <a:lnTo>
                    <a:pt x="825" y="83"/>
                  </a:lnTo>
                  <a:lnTo>
                    <a:pt x="825" y="97"/>
                  </a:lnTo>
                  <a:lnTo>
                    <a:pt x="824" y="109"/>
                  </a:lnTo>
                  <a:lnTo>
                    <a:pt x="821" y="121"/>
                  </a:lnTo>
                  <a:lnTo>
                    <a:pt x="818" y="129"/>
                  </a:lnTo>
                  <a:lnTo>
                    <a:pt x="815" y="133"/>
                  </a:lnTo>
                  <a:lnTo>
                    <a:pt x="812" y="137"/>
                  </a:lnTo>
                  <a:lnTo>
                    <a:pt x="808" y="138"/>
                  </a:lnTo>
                  <a:lnTo>
                    <a:pt x="804" y="139"/>
                  </a:lnTo>
                  <a:close/>
                  <a:moveTo>
                    <a:pt x="25" y="139"/>
                  </a:moveTo>
                  <a:lnTo>
                    <a:pt x="17" y="138"/>
                  </a:lnTo>
                  <a:lnTo>
                    <a:pt x="12" y="134"/>
                  </a:lnTo>
                  <a:lnTo>
                    <a:pt x="9" y="131"/>
                  </a:lnTo>
                  <a:lnTo>
                    <a:pt x="5" y="125"/>
                  </a:lnTo>
                  <a:lnTo>
                    <a:pt x="3" y="115"/>
                  </a:lnTo>
                  <a:lnTo>
                    <a:pt x="2" y="105"/>
                  </a:lnTo>
                  <a:lnTo>
                    <a:pt x="0" y="94"/>
                  </a:lnTo>
                  <a:lnTo>
                    <a:pt x="0" y="83"/>
                  </a:lnTo>
                  <a:lnTo>
                    <a:pt x="2" y="70"/>
                  </a:lnTo>
                  <a:lnTo>
                    <a:pt x="3" y="58"/>
                  </a:lnTo>
                  <a:lnTo>
                    <a:pt x="4" y="45"/>
                  </a:lnTo>
                  <a:lnTo>
                    <a:pt x="6" y="33"/>
                  </a:lnTo>
                  <a:lnTo>
                    <a:pt x="10" y="22"/>
                  </a:lnTo>
                  <a:lnTo>
                    <a:pt x="14" y="14"/>
                  </a:lnTo>
                  <a:lnTo>
                    <a:pt x="17" y="8"/>
                  </a:lnTo>
                  <a:lnTo>
                    <a:pt x="22" y="4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7" y="2"/>
                  </a:lnTo>
                  <a:lnTo>
                    <a:pt x="32" y="13"/>
                  </a:lnTo>
                  <a:lnTo>
                    <a:pt x="37" y="2"/>
                  </a:lnTo>
                  <a:lnTo>
                    <a:pt x="54" y="10"/>
                  </a:lnTo>
                  <a:lnTo>
                    <a:pt x="71" y="19"/>
                  </a:lnTo>
                  <a:lnTo>
                    <a:pt x="78" y="24"/>
                  </a:lnTo>
                  <a:lnTo>
                    <a:pt x="84" y="29"/>
                  </a:lnTo>
                  <a:lnTo>
                    <a:pt x="89" y="35"/>
                  </a:lnTo>
                  <a:lnTo>
                    <a:pt x="92" y="40"/>
                  </a:lnTo>
                  <a:lnTo>
                    <a:pt x="96" y="50"/>
                  </a:lnTo>
                  <a:lnTo>
                    <a:pt x="98" y="59"/>
                  </a:lnTo>
                  <a:lnTo>
                    <a:pt x="102" y="71"/>
                  </a:lnTo>
                  <a:lnTo>
                    <a:pt x="103" y="83"/>
                  </a:lnTo>
                  <a:lnTo>
                    <a:pt x="103" y="96"/>
                  </a:lnTo>
                  <a:lnTo>
                    <a:pt x="101" y="106"/>
                  </a:lnTo>
                  <a:lnTo>
                    <a:pt x="98" y="113"/>
                  </a:lnTo>
                  <a:lnTo>
                    <a:pt x="96" y="116"/>
                  </a:lnTo>
                  <a:lnTo>
                    <a:pt x="91" y="121"/>
                  </a:lnTo>
                  <a:lnTo>
                    <a:pt x="86" y="123"/>
                  </a:lnTo>
                  <a:lnTo>
                    <a:pt x="78" y="127"/>
                  </a:lnTo>
                  <a:lnTo>
                    <a:pt x="68" y="131"/>
                  </a:lnTo>
                  <a:lnTo>
                    <a:pt x="57" y="133"/>
                  </a:lnTo>
                  <a:lnTo>
                    <a:pt x="48" y="136"/>
                  </a:lnTo>
                  <a:lnTo>
                    <a:pt x="32" y="139"/>
                  </a:lnTo>
                  <a:lnTo>
                    <a:pt x="25" y="139"/>
                  </a:lnTo>
                  <a:close/>
                </a:path>
              </a:pathLst>
            </a:custGeom>
            <a:solidFill>
              <a:srgbClr val="004077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24" name="Овал 123"/>
          <p:cNvSpPr/>
          <p:nvPr/>
        </p:nvSpPr>
        <p:spPr>
          <a:xfrm>
            <a:off x="646483" y="3120926"/>
            <a:ext cx="416788" cy="418783"/>
          </a:xfrm>
          <a:prstGeom prst="ellipse">
            <a:avLst/>
          </a:prstGeom>
          <a:noFill/>
          <a:ln w="12700">
            <a:solidFill>
              <a:srgbClr val="545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1442746" y="3218852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126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28" name="Прямоугольник 127"/>
          <p:cNvSpPr/>
          <p:nvPr/>
        </p:nvSpPr>
        <p:spPr>
          <a:xfrm>
            <a:off x="1957114" y="1081639"/>
            <a:ext cx="3397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уществлять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змерение 4-х параметров с пределами погрешности, соответствующими требованиям Компании: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 – 0,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%, V – 0,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%, </a:t>
            </a:r>
            <a:r>
              <a:rPr kumimoji="0" lang="el-GR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ρ</a:t>
            </a:r>
            <a:r>
              <a:rPr kumimoji="0" lang="ru-RU" sz="7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р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1,0 кг/м</a:t>
            </a:r>
            <a:r>
              <a:rPr kumimoji="0" lang="ru-RU" sz="700" b="0" i="0" u="none" strike="noStrike" kern="1200" cap="none" spc="0" normalizeH="0" baseline="3000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</a:t>
            </a:r>
            <a:r>
              <a:rPr kumimoji="0" lang="ru-RU" sz="700" b="0" i="0" u="none" strike="noStrike" kern="1200" cap="none" spc="0" normalizeH="0" baseline="-2500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р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0,5 °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9" name="Picture118"/>
          <p:cNvSpPr>
            <a:spLocks noChangeAspect="1" noEditPoints="1"/>
          </p:cNvSpPr>
          <p:nvPr/>
        </p:nvSpPr>
        <p:spPr bwMode="auto">
          <a:xfrm>
            <a:off x="727694" y="1690121"/>
            <a:ext cx="270323" cy="21653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rgbClr val="004077"/>
          </a:solidFill>
          <a:ln w="9525">
            <a:solidFill>
              <a:srgbClr val="EF6213"/>
            </a:solidFill>
            <a:round/>
            <a:headEnd/>
            <a:tailEnd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Picture96"/>
          <p:cNvSpPr>
            <a:spLocks noChangeAspect="1" noEditPoints="1"/>
          </p:cNvSpPr>
          <p:nvPr/>
        </p:nvSpPr>
        <p:spPr bwMode="auto">
          <a:xfrm>
            <a:off x="746384" y="2660252"/>
            <a:ext cx="227983" cy="319663"/>
          </a:xfrm>
          <a:custGeom>
            <a:avLst/>
            <a:gdLst>
              <a:gd name="T0" fmla="*/ 407 w 1123"/>
              <a:gd name="T1" fmla="*/ 211 h 1574"/>
              <a:gd name="T2" fmla="*/ 198 w 1123"/>
              <a:gd name="T3" fmla="*/ 509 h 1574"/>
              <a:gd name="T4" fmla="*/ 82 w 1123"/>
              <a:gd name="T5" fmla="*/ 741 h 1574"/>
              <a:gd name="T6" fmla="*/ 26 w 1123"/>
              <a:gd name="T7" fmla="*/ 974 h 1574"/>
              <a:gd name="T8" fmla="*/ 41 w 1123"/>
              <a:gd name="T9" fmla="*/ 1145 h 1574"/>
              <a:gd name="T10" fmla="*/ 102 w 1123"/>
              <a:gd name="T11" fmla="*/ 1290 h 1574"/>
              <a:gd name="T12" fmla="*/ 201 w 1123"/>
              <a:gd name="T13" fmla="*/ 1409 h 1574"/>
              <a:gd name="T14" fmla="*/ 329 w 1123"/>
              <a:gd name="T15" fmla="*/ 1496 h 1574"/>
              <a:gd name="T16" fmla="*/ 480 w 1123"/>
              <a:gd name="T17" fmla="*/ 1543 h 1574"/>
              <a:gd name="T18" fmla="*/ 644 w 1123"/>
              <a:gd name="T19" fmla="*/ 1543 h 1574"/>
              <a:gd name="T20" fmla="*/ 795 w 1123"/>
              <a:gd name="T21" fmla="*/ 1496 h 1574"/>
              <a:gd name="T22" fmla="*/ 923 w 1123"/>
              <a:gd name="T23" fmla="*/ 1409 h 1574"/>
              <a:gd name="T24" fmla="*/ 1020 w 1123"/>
              <a:gd name="T25" fmla="*/ 1290 h 1574"/>
              <a:gd name="T26" fmla="*/ 1081 w 1123"/>
              <a:gd name="T27" fmla="*/ 1145 h 1574"/>
              <a:gd name="T28" fmla="*/ 1098 w 1123"/>
              <a:gd name="T29" fmla="*/ 974 h 1574"/>
              <a:gd name="T30" fmla="*/ 1040 w 1123"/>
              <a:gd name="T31" fmla="*/ 741 h 1574"/>
              <a:gd name="T32" fmla="*/ 926 w 1123"/>
              <a:gd name="T33" fmla="*/ 509 h 1574"/>
              <a:gd name="T34" fmla="*/ 717 w 1123"/>
              <a:gd name="T35" fmla="*/ 211 h 1574"/>
              <a:gd name="T36" fmla="*/ 924 w 1123"/>
              <a:gd name="T37" fmla="*/ 799 h 1574"/>
              <a:gd name="T38" fmla="*/ 863 w 1123"/>
              <a:gd name="T39" fmla="*/ 918 h 1574"/>
              <a:gd name="T40" fmla="*/ 857 w 1123"/>
              <a:gd name="T41" fmla="*/ 984 h 1574"/>
              <a:gd name="T42" fmla="*/ 877 w 1123"/>
              <a:gd name="T43" fmla="*/ 1029 h 1574"/>
              <a:gd name="T44" fmla="*/ 912 w 1123"/>
              <a:gd name="T45" fmla="*/ 1054 h 1574"/>
              <a:gd name="T46" fmla="*/ 939 w 1123"/>
              <a:gd name="T47" fmla="*/ 1054 h 1574"/>
              <a:gd name="T48" fmla="*/ 974 w 1123"/>
              <a:gd name="T49" fmla="*/ 1029 h 1574"/>
              <a:gd name="T50" fmla="*/ 994 w 1123"/>
              <a:gd name="T51" fmla="*/ 982 h 1574"/>
              <a:gd name="T52" fmla="*/ 990 w 1123"/>
              <a:gd name="T53" fmla="*/ 929 h 1574"/>
              <a:gd name="T54" fmla="*/ 934 w 1123"/>
              <a:gd name="T55" fmla="*/ 812 h 1574"/>
              <a:gd name="T56" fmla="*/ 889 w 1123"/>
              <a:gd name="T57" fmla="*/ 1070 h 1574"/>
              <a:gd name="T58" fmla="*/ 848 w 1123"/>
              <a:gd name="T59" fmla="*/ 1029 h 1574"/>
              <a:gd name="T60" fmla="*/ 832 w 1123"/>
              <a:gd name="T61" fmla="*/ 965 h 1574"/>
              <a:gd name="T62" fmla="*/ 857 w 1123"/>
              <a:gd name="T63" fmla="*/ 868 h 1574"/>
              <a:gd name="T64" fmla="*/ 916 w 1123"/>
              <a:gd name="T65" fmla="*/ 770 h 1574"/>
              <a:gd name="T66" fmla="*/ 939 w 1123"/>
              <a:gd name="T67" fmla="*/ 776 h 1574"/>
              <a:gd name="T68" fmla="*/ 1000 w 1123"/>
              <a:gd name="T69" fmla="*/ 883 h 1574"/>
              <a:gd name="T70" fmla="*/ 1019 w 1123"/>
              <a:gd name="T71" fmla="*/ 964 h 1574"/>
              <a:gd name="T72" fmla="*/ 1004 w 1123"/>
              <a:gd name="T73" fmla="*/ 1026 h 1574"/>
              <a:gd name="T74" fmla="*/ 962 w 1123"/>
              <a:gd name="T75" fmla="*/ 1070 h 1574"/>
              <a:gd name="T76" fmla="*/ 926 w 1123"/>
              <a:gd name="T77" fmla="*/ 1079 h 1574"/>
              <a:gd name="T78" fmla="*/ 422 w 1123"/>
              <a:gd name="T79" fmla="*/ 1555 h 1574"/>
              <a:gd name="T80" fmla="*/ 271 w 1123"/>
              <a:gd name="T81" fmla="*/ 1492 h 1574"/>
              <a:gd name="T82" fmla="*/ 146 w 1123"/>
              <a:gd name="T83" fmla="*/ 1389 h 1574"/>
              <a:gd name="T84" fmla="*/ 56 w 1123"/>
              <a:gd name="T85" fmla="*/ 1255 h 1574"/>
              <a:gd name="T86" fmla="*/ 6 w 1123"/>
              <a:gd name="T87" fmla="*/ 1096 h 1574"/>
              <a:gd name="T88" fmla="*/ 14 w 1123"/>
              <a:gd name="T89" fmla="*/ 887 h 1574"/>
              <a:gd name="T90" fmla="*/ 103 w 1123"/>
              <a:gd name="T91" fmla="*/ 632 h 1574"/>
              <a:gd name="T92" fmla="*/ 243 w 1123"/>
              <a:gd name="T93" fmla="*/ 392 h 1574"/>
              <a:gd name="T94" fmla="*/ 494 w 1123"/>
              <a:gd name="T95" fmla="*/ 69 h 1574"/>
              <a:gd name="T96" fmla="*/ 566 w 1123"/>
              <a:gd name="T97" fmla="*/ 0 h 1574"/>
              <a:gd name="T98" fmla="*/ 708 w 1123"/>
              <a:gd name="T99" fmla="*/ 161 h 1574"/>
              <a:gd name="T100" fmla="*/ 929 w 1123"/>
              <a:gd name="T101" fmla="*/ 469 h 1574"/>
              <a:gd name="T102" fmla="*/ 1058 w 1123"/>
              <a:gd name="T103" fmla="*/ 717 h 1574"/>
              <a:gd name="T104" fmla="*/ 1121 w 1123"/>
              <a:gd name="T105" fmla="*/ 970 h 1574"/>
              <a:gd name="T106" fmla="*/ 1105 w 1123"/>
              <a:gd name="T107" fmla="*/ 1151 h 1574"/>
              <a:gd name="T108" fmla="*/ 1042 w 1123"/>
              <a:gd name="T109" fmla="*/ 1302 h 1574"/>
              <a:gd name="T110" fmla="*/ 939 w 1123"/>
              <a:gd name="T111" fmla="*/ 1427 h 1574"/>
              <a:gd name="T112" fmla="*/ 805 w 1123"/>
              <a:gd name="T113" fmla="*/ 1518 h 1574"/>
              <a:gd name="T114" fmla="*/ 647 w 1123"/>
              <a:gd name="T115" fmla="*/ 1567 h 1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23" h="1574">
                <a:moveTo>
                  <a:pt x="561" y="30"/>
                </a:moveTo>
                <a:lnTo>
                  <a:pt x="544" y="49"/>
                </a:lnTo>
                <a:lnTo>
                  <a:pt x="519" y="77"/>
                </a:lnTo>
                <a:lnTo>
                  <a:pt x="486" y="115"/>
                </a:lnTo>
                <a:lnTo>
                  <a:pt x="448" y="160"/>
                </a:lnTo>
                <a:lnTo>
                  <a:pt x="407" y="211"/>
                </a:lnTo>
                <a:lnTo>
                  <a:pt x="360" y="269"/>
                </a:lnTo>
                <a:lnTo>
                  <a:pt x="314" y="333"/>
                </a:lnTo>
                <a:lnTo>
                  <a:pt x="267" y="400"/>
                </a:lnTo>
                <a:lnTo>
                  <a:pt x="243" y="436"/>
                </a:lnTo>
                <a:lnTo>
                  <a:pt x="221" y="473"/>
                </a:lnTo>
                <a:lnTo>
                  <a:pt x="198" y="509"/>
                </a:lnTo>
                <a:lnTo>
                  <a:pt x="176" y="548"/>
                </a:lnTo>
                <a:lnTo>
                  <a:pt x="155" y="585"/>
                </a:lnTo>
                <a:lnTo>
                  <a:pt x="135" y="624"/>
                </a:lnTo>
                <a:lnTo>
                  <a:pt x="116" y="662"/>
                </a:lnTo>
                <a:lnTo>
                  <a:pt x="98" y="702"/>
                </a:lnTo>
                <a:lnTo>
                  <a:pt x="82" y="741"/>
                </a:lnTo>
                <a:lnTo>
                  <a:pt x="67" y="781"/>
                </a:lnTo>
                <a:lnTo>
                  <a:pt x="55" y="819"/>
                </a:lnTo>
                <a:lnTo>
                  <a:pt x="45" y="858"/>
                </a:lnTo>
                <a:lnTo>
                  <a:pt x="36" y="898"/>
                </a:lnTo>
                <a:lnTo>
                  <a:pt x="30" y="935"/>
                </a:lnTo>
                <a:lnTo>
                  <a:pt x="26" y="974"/>
                </a:lnTo>
                <a:lnTo>
                  <a:pt x="25" y="1010"/>
                </a:lnTo>
                <a:lnTo>
                  <a:pt x="25" y="1039"/>
                </a:lnTo>
                <a:lnTo>
                  <a:pt x="27" y="1066"/>
                </a:lnTo>
                <a:lnTo>
                  <a:pt x="30" y="1093"/>
                </a:lnTo>
                <a:lnTo>
                  <a:pt x="35" y="1119"/>
                </a:lnTo>
                <a:lnTo>
                  <a:pt x="41" y="1145"/>
                </a:lnTo>
                <a:lnTo>
                  <a:pt x="49" y="1171"/>
                </a:lnTo>
                <a:lnTo>
                  <a:pt x="57" y="1196"/>
                </a:lnTo>
                <a:lnTo>
                  <a:pt x="66" y="1220"/>
                </a:lnTo>
                <a:lnTo>
                  <a:pt x="77" y="1244"/>
                </a:lnTo>
                <a:lnTo>
                  <a:pt x="90" y="1267"/>
                </a:lnTo>
                <a:lnTo>
                  <a:pt x="102" y="1290"/>
                </a:lnTo>
                <a:lnTo>
                  <a:pt x="116" y="1312"/>
                </a:lnTo>
                <a:lnTo>
                  <a:pt x="131" y="1332"/>
                </a:lnTo>
                <a:lnTo>
                  <a:pt x="147" y="1353"/>
                </a:lnTo>
                <a:lnTo>
                  <a:pt x="165" y="1372"/>
                </a:lnTo>
                <a:lnTo>
                  <a:pt x="182" y="1391"/>
                </a:lnTo>
                <a:lnTo>
                  <a:pt x="201" y="1409"/>
                </a:lnTo>
                <a:lnTo>
                  <a:pt x="219" y="1426"/>
                </a:lnTo>
                <a:lnTo>
                  <a:pt x="241" y="1442"/>
                </a:lnTo>
                <a:lnTo>
                  <a:pt x="262" y="1457"/>
                </a:lnTo>
                <a:lnTo>
                  <a:pt x="283" y="1471"/>
                </a:lnTo>
                <a:lnTo>
                  <a:pt x="306" y="1484"/>
                </a:lnTo>
                <a:lnTo>
                  <a:pt x="329" y="1496"/>
                </a:lnTo>
                <a:lnTo>
                  <a:pt x="353" y="1507"/>
                </a:lnTo>
                <a:lnTo>
                  <a:pt x="377" y="1517"/>
                </a:lnTo>
                <a:lnTo>
                  <a:pt x="402" y="1524"/>
                </a:lnTo>
                <a:lnTo>
                  <a:pt x="428" y="1532"/>
                </a:lnTo>
                <a:lnTo>
                  <a:pt x="453" y="1538"/>
                </a:lnTo>
                <a:lnTo>
                  <a:pt x="480" y="1543"/>
                </a:lnTo>
                <a:lnTo>
                  <a:pt x="506" y="1545"/>
                </a:lnTo>
                <a:lnTo>
                  <a:pt x="534" y="1548"/>
                </a:lnTo>
                <a:lnTo>
                  <a:pt x="561" y="1549"/>
                </a:lnTo>
                <a:lnTo>
                  <a:pt x="589" y="1548"/>
                </a:lnTo>
                <a:lnTo>
                  <a:pt x="616" y="1545"/>
                </a:lnTo>
                <a:lnTo>
                  <a:pt x="644" y="1543"/>
                </a:lnTo>
                <a:lnTo>
                  <a:pt x="670" y="1538"/>
                </a:lnTo>
                <a:lnTo>
                  <a:pt x="696" y="1532"/>
                </a:lnTo>
                <a:lnTo>
                  <a:pt x="721" y="1524"/>
                </a:lnTo>
                <a:lnTo>
                  <a:pt x="746" y="1517"/>
                </a:lnTo>
                <a:lnTo>
                  <a:pt x="771" y="1507"/>
                </a:lnTo>
                <a:lnTo>
                  <a:pt x="795" y="1496"/>
                </a:lnTo>
                <a:lnTo>
                  <a:pt x="817" y="1484"/>
                </a:lnTo>
                <a:lnTo>
                  <a:pt x="839" y="1471"/>
                </a:lnTo>
                <a:lnTo>
                  <a:pt x="862" y="1457"/>
                </a:lnTo>
                <a:lnTo>
                  <a:pt x="883" y="1442"/>
                </a:lnTo>
                <a:lnTo>
                  <a:pt x="903" y="1426"/>
                </a:lnTo>
                <a:lnTo>
                  <a:pt x="923" y="1409"/>
                </a:lnTo>
                <a:lnTo>
                  <a:pt x="942" y="1391"/>
                </a:lnTo>
                <a:lnTo>
                  <a:pt x="959" y="1372"/>
                </a:lnTo>
                <a:lnTo>
                  <a:pt x="975" y="1353"/>
                </a:lnTo>
                <a:lnTo>
                  <a:pt x="992" y="1332"/>
                </a:lnTo>
                <a:lnTo>
                  <a:pt x="1007" y="1312"/>
                </a:lnTo>
                <a:lnTo>
                  <a:pt x="1020" y="1290"/>
                </a:lnTo>
                <a:lnTo>
                  <a:pt x="1034" y="1267"/>
                </a:lnTo>
                <a:lnTo>
                  <a:pt x="1045" y="1244"/>
                </a:lnTo>
                <a:lnTo>
                  <a:pt x="1057" y="1220"/>
                </a:lnTo>
                <a:lnTo>
                  <a:pt x="1067" y="1196"/>
                </a:lnTo>
                <a:lnTo>
                  <a:pt x="1074" y="1171"/>
                </a:lnTo>
                <a:lnTo>
                  <a:pt x="1081" y="1145"/>
                </a:lnTo>
                <a:lnTo>
                  <a:pt x="1088" y="1119"/>
                </a:lnTo>
                <a:lnTo>
                  <a:pt x="1093" y="1093"/>
                </a:lnTo>
                <a:lnTo>
                  <a:pt x="1096" y="1066"/>
                </a:lnTo>
                <a:lnTo>
                  <a:pt x="1098" y="1039"/>
                </a:lnTo>
                <a:lnTo>
                  <a:pt x="1099" y="1010"/>
                </a:lnTo>
                <a:lnTo>
                  <a:pt x="1098" y="974"/>
                </a:lnTo>
                <a:lnTo>
                  <a:pt x="1094" y="935"/>
                </a:lnTo>
                <a:lnTo>
                  <a:pt x="1088" y="898"/>
                </a:lnTo>
                <a:lnTo>
                  <a:pt x="1079" y="858"/>
                </a:lnTo>
                <a:lnTo>
                  <a:pt x="1068" y="819"/>
                </a:lnTo>
                <a:lnTo>
                  <a:pt x="1055" y="781"/>
                </a:lnTo>
                <a:lnTo>
                  <a:pt x="1040" y="741"/>
                </a:lnTo>
                <a:lnTo>
                  <a:pt x="1024" y="702"/>
                </a:lnTo>
                <a:lnTo>
                  <a:pt x="1007" y="662"/>
                </a:lnTo>
                <a:lnTo>
                  <a:pt x="988" y="624"/>
                </a:lnTo>
                <a:lnTo>
                  <a:pt x="968" y="585"/>
                </a:lnTo>
                <a:lnTo>
                  <a:pt x="947" y="548"/>
                </a:lnTo>
                <a:lnTo>
                  <a:pt x="926" y="509"/>
                </a:lnTo>
                <a:lnTo>
                  <a:pt x="903" y="473"/>
                </a:lnTo>
                <a:lnTo>
                  <a:pt x="879" y="436"/>
                </a:lnTo>
                <a:lnTo>
                  <a:pt x="856" y="400"/>
                </a:lnTo>
                <a:lnTo>
                  <a:pt x="810" y="333"/>
                </a:lnTo>
                <a:lnTo>
                  <a:pt x="762" y="269"/>
                </a:lnTo>
                <a:lnTo>
                  <a:pt x="717" y="211"/>
                </a:lnTo>
                <a:lnTo>
                  <a:pt x="675" y="160"/>
                </a:lnTo>
                <a:lnTo>
                  <a:pt x="637" y="115"/>
                </a:lnTo>
                <a:lnTo>
                  <a:pt x="605" y="77"/>
                </a:lnTo>
                <a:lnTo>
                  <a:pt x="579" y="49"/>
                </a:lnTo>
                <a:lnTo>
                  <a:pt x="561" y="30"/>
                </a:lnTo>
                <a:close/>
                <a:moveTo>
                  <a:pt x="924" y="799"/>
                </a:moveTo>
                <a:lnTo>
                  <a:pt x="916" y="812"/>
                </a:lnTo>
                <a:lnTo>
                  <a:pt x="906" y="829"/>
                </a:lnTo>
                <a:lnTo>
                  <a:pt x="894" y="849"/>
                </a:lnTo>
                <a:lnTo>
                  <a:pt x="882" y="871"/>
                </a:lnTo>
                <a:lnTo>
                  <a:pt x="872" y="894"/>
                </a:lnTo>
                <a:lnTo>
                  <a:pt x="863" y="918"/>
                </a:lnTo>
                <a:lnTo>
                  <a:pt x="861" y="930"/>
                </a:lnTo>
                <a:lnTo>
                  <a:pt x="858" y="943"/>
                </a:lnTo>
                <a:lnTo>
                  <a:pt x="857" y="954"/>
                </a:lnTo>
                <a:lnTo>
                  <a:pt x="856" y="965"/>
                </a:lnTo>
                <a:lnTo>
                  <a:pt x="856" y="975"/>
                </a:lnTo>
                <a:lnTo>
                  <a:pt x="857" y="984"/>
                </a:lnTo>
                <a:lnTo>
                  <a:pt x="859" y="993"/>
                </a:lnTo>
                <a:lnTo>
                  <a:pt x="862" y="1000"/>
                </a:lnTo>
                <a:lnTo>
                  <a:pt x="864" y="1009"/>
                </a:lnTo>
                <a:lnTo>
                  <a:pt x="868" y="1017"/>
                </a:lnTo>
                <a:lnTo>
                  <a:pt x="872" y="1023"/>
                </a:lnTo>
                <a:lnTo>
                  <a:pt x="877" y="1029"/>
                </a:lnTo>
                <a:lnTo>
                  <a:pt x="882" y="1035"/>
                </a:lnTo>
                <a:lnTo>
                  <a:pt x="887" y="1040"/>
                </a:lnTo>
                <a:lnTo>
                  <a:pt x="892" y="1045"/>
                </a:lnTo>
                <a:lnTo>
                  <a:pt x="898" y="1049"/>
                </a:lnTo>
                <a:lnTo>
                  <a:pt x="904" y="1051"/>
                </a:lnTo>
                <a:lnTo>
                  <a:pt x="912" y="1054"/>
                </a:lnTo>
                <a:lnTo>
                  <a:pt x="918" y="1055"/>
                </a:lnTo>
                <a:lnTo>
                  <a:pt x="926" y="1056"/>
                </a:lnTo>
                <a:lnTo>
                  <a:pt x="926" y="1056"/>
                </a:lnTo>
                <a:lnTo>
                  <a:pt x="926" y="1056"/>
                </a:lnTo>
                <a:lnTo>
                  <a:pt x="933" y="1055"/>
                </a:lnTo>
                <a:lnTo>
                  <a:pt x="939" y="1054"/>
                </a:lnTo>
                <a:lnTo>
                  <a:pt x="945" y="1053"/>
                </a:lnTo>
                <a:lnTo>
                  <a:pt x="952" y="1049"/>
                </a:lnTo>
                <a:lnTo>
                  <a:pt x="958" y="1045"/>
                </a:lnTo>
                <a:lnTo>
                  <a:pt x="963" y="1040"/>
                </a:lnTo>
                <a:lnTo>
                  <a:pt x="969" y="1035"/>
                </a:lnTo>
                <a:lnTo>
                  <a:pt x="974" y="1029"/>
                </a:lnTo>
                <a:lnTo>
                  <a:pt x="979" y="1023"/>
                </a:lnTo>
                <a:lnTo>
                  <a:pt x="983" y="1015"/>
                </a:lnTo>
                <a:lnTo>
                  <a:pt x="987" y="1008"/>
                </a:lnTo>
                <a:lnTo>
                  <a:pt x="989" y="999"/>
                </a:lnTo>
                <a:lnTo>
                  <a:pt x="992" y="992"/>
                </a:lnTo>
                <a:lnTo>
                  <a:pt x="994" y="982"/>
                </a:lnTo>
                <a:lnTo>
                  <a:pt x="994" y="973"/>
                </a:lnTo>
                <a:lnTo>
                  <a:pt x="995" y="964"/>
                </a:lnTo>
                <a:lnTo>
                  <a:pt x="995" y="964"/>
                </a:lnTo>
                <a:lnTo>
                  <a:pt x="994" y="953"/>
                </a:lnTo>
                <a:lnTo>
                  <a:pt x="993" y="940"/>
                </a:lnTo>
                <a:lnTo>
                  <a:pt x="990" y="929"/>
                </a:lnTo>
                <a:lnTo>
                  <a:pt x="987" y="918"/>
                </a:lnTo>
                <a:lnTo>
                  <a:pt x="978" y="894"/>
                </a:lnTo>
                <a:lnTo>
                  <a:pt x="968" y="871"/>
                </a:lnTo>
                <a:lnTo>
                  <a:pt x="957" y="849"/>
                </a:lnTo>
                <a:lnTo>
                  <a:pt x="944" y="829"/>
                </a:lnTo>
                <a:lnTo>
                  <a:pt x="934" y="812"/>
                </a:lnTo>
                <a:lnTo>
                  <a:pt x="924" y="799"/>
                </a:lnTo>
                <a:close/>
                <a:moveTo>
                  <a:pt x="926" y="1079"/>
                </a:moveTo>
                <a:lnTo>
                  <a:pt x="916" y="1078"/>
                </a:lnTo>
                <a:lnTo>
                  <a:pt x="907" y="1076"/>
                </a:lnTo>
                <a:lnTo>
                  <a:pt x="898" y="1074"/>
                </a:lnTo>
                <a:lnTo>
                  <a:pt x="889" y="1070"/>
                </a:lnTo>
                <a:lnTo>
                  <a:pt x="881" y="1065"/>
                </a:lnTo>
                <a:lnTo>
                  <a:pt x="873" y="1059"/>
                </a:lnTo>
                <a:lnTo>
                  <a:pt x="866" y="1053"/>
                </a:lnTo>
                <a:lnTo>
                  <a:pt x="859" y="1045"/>
                </a:lnTo>
                <a:lnTo>
                  <a:pt x="853" y="1038"/>
                </a:lnTo>
                <a:lnTo>
                  <a:pt x="848" y="1029"/>
                </a:lnTo>
                <a:lnTo>
                  <a:pt x="843" y="1020"/>
                </a:lnTo>
                <a:lnTo>
                  <a:pt x="839" y="1010"/>
                </a:lnTo>
                <a:lnTo>
                  <a:pt x="836" y="999"/>
                </a:lnTo>
                <a:lnTo>
                  <a:pt x="833" y="989"/>
                </a:lnTo>
                <a:lnTo>
                  <a:pt x="832" y="978"/>
                </a:lnTo>
                <a:lnTo>
                  <a:pt x="832" y="965"/>
                </a:lnTo>
                <a:lnTo>
                  <a:pt x="833" y="949"/>
                </a:lnTo>
                <a:lnTo>
                  <a:pt x="836" y="933"/>
                </a:lnTo>
                <a:lnTo>
                  <a:pt x="839" y="917"/>
                </a:lnTo>
                <a:lnTo>
                  <a:pt x="844" y="899"/>
                </a:lnTo>
                <a:lnTo>
                  <a:pt x="851" y="883"/>
                </a:lnTo>
                <a:lnTo>
                  <a:pt x="857" y="868"/>
                </a:lnTo>
                <a:lnTo>
                  <a:pt x="864" y="852"/>
                </a:lnTo>
                <a:lnTo>
                  <a:pt x="872" y="838"/>
                </a:lnTo>
                <a:lnTo>
                  <a:pt x="887" y="812"/>
                </a:lnTo>
                <a:lnTo>
                  <a:pt x="901" y="791"/>
                </a:lnTo>
                <a:lnTo>
                  <a:pt x="911" y="776"/>
                </a:lnTo>
                <a:lnTo>
                  <a:pt x="916" y="770"/>
                </a:lnTo>
                <a:lnTo>
                  <a:pt x="919" y="767"/>
                </a:lnTo>
                <a:lnTo>
                  <a:pt x="924" y="766"/>
                </a:lnTo>
                <a:lnTo>
                  <a:pt x="924" y="766"/>
                </a:lnTo>
                <a:lnTo>
                  <a:pt x="931" y="767"/>
                </a:lnTo>
                <a:lnTo>
                  <a:pt x="934" y="770"/>
                </a:lnTo>
                <a:lnTo>
                  <a:pt x="939" y="776"/>
                </a:lnTo>
                <a:lnTo>
                  <a:pt x="949" y="791"/>
                </a:lnTo>
                <a:lnTo>
                  <a:pt x="963" y="812"/>
                </a:lnTo>
                <a:lnTo>
                  <a:pt x="978" y="837"/>
                </a:lnTo>
                <a:lnTo>
                  <a:pt x="985" y="852"/>
                </a:lnTo>
                <a:lnTo>
                  <a:pt x="993" y="867"/>
                </a:lnTo>
                <a:lnTo>
                  <a:pt x="1000" y="883"/>
                </a:lnTo>
                <a:lnTo>
                  <a:pt x="1007" y="899"/>
                </a:lnTo>
                <a:lnTo>
                  <a:pt x="1012" y="915"/>
                </a:lnTo>
                <a:lnTo>
                  <a:pt x="1015" y="932"/>
                </a:lnTo>
                <a:lnTo>
                  <a:pt x="1018" y="948"/>
                </a:lnTo>
                <a:lnTo>
                  <a:pt x="1019" y="964"/>
                </a:lnTo>
                <a:lnTo>
                  <a:pt x="1019" y="964"/>
                </a:lnTo>
                <a:lnTo>
                  <a:pt x="1019" y="975"/>
                </a:lnTo>
                <a:lnTo>
                  <a:pt x="1018" y="987"/>
                </a:lnTo>
                <a:lnTo>
                  <a:pt x="1015" y="998"/>
                </a:lnTo>
                <a:lnTo>
                  <a:pt x="1013" y="1008"/>
                </a:lnTo>
                <a:lnTo>
                  <a:pt x="1009" y="1018"/>
                </a:lnTo>
                <a:lnTo>
                  <a:pt x="1004" y="1026"/>
                </a:lnTo>
                <a:lnTo>
                  <a:pt x="999" y="1036"/>
                </a:lnTo>
                <a:lnTo>
                  <a:pt x="993" y="1045"/>
                </a:lnTo>
                <a:lnTo>
                  <a:pt x="985" y="1053"/>
                </a:lnTo>
                <a:lnTo>
                  <a:pt x="978" y="1059"/>
                </a:lnTo>
                <a:lnTo>
                  <a:pt x="970" y="1065"/>
                </a:lnTo>
                <a:lnTo>
                  <a:pt x="962" y="1070"/>
                </a:lnTo>
                <a:lnTo>
                  <a:pt x="953" y="1074"/>
                </a:lnTo>
                <a:lnTo>
                  <a:pt x="944" y="1076"/>
                </a:lnTo>
                <a:lnTo>
                  <a:pt x="936" y="1078"/>
                </a:lnTo>
                <a:lnTo>
                  <a:pt x="926" y="1079"/>
                </a:lnTo>
                <a:lnTo>
                  <a:pt x="926" y="1079"/>
                </a:lnTo>
                <a:lnTo>
                  <a:pt x="926" y="1079"/>
                </a:lnTo>
                <a:close/>
                <a:moveTo>
                  <a:pt x="561" y="1574"/>
                </a:moveTo>
                <a:lnTo>
                  <a:pt x="533" y="1573"/>
                </a:lnTo>
                <a:lnTo>
                  <a:pt x="504" y="1570"/>
                </a:lnTo>
                <a:lnTo>
                  <a:pt x="476" y="1567"/>
                </a:lnTo>
                <a:lnTo>
                  <a:pt x="449" y="1562"/>
                </a:lnTo>
                <a:lnTo>
                  <a:pt x="422" y="1555"/>
                </a:lnTo>
                <a:lnTo>
                  <a:pt x="395" y="1548"/>
                </a:lnTo>
                <a:lnTo>
                  <a:pt x="369" y="1539"/>
                </a:lnTo>
                <a:lnTo>
                  <a:pt x="343" y="1529"/>
                </a:lnTo>
                <a:lnTo>
                  <a:pt x="318" y="1518"/>
                </a:lnTo>
                <a:lnTo>
                  <a:pt x="294" y="1505"/>
                </a:lnTo>
                <a:lnTo>
                  <a:pt x="271" y="1492"/>
                </a:lnTo>
                <a:lnTo>
                  <a:pt x="248" y="1477"/>
                </a:lnTo>
                <a:lnTo>
                  <a:pt x="226" y="1462"/>
                </a:lnTo>
                <a:lnTo>
                  <a:pt x="204" y="1444"/>
                </a:lnTo>
                <a:lnTo>
                  <a:pt x="185" y="1427"/>
                </a:lnTo>
                <a:lnTo>
                  <a:pt x="165" y="1408"/>
                </a:lnTo>
                <a:lnTo>
                  <a:pt x="146" y="1389"/>
                </a:lnTo>
                <a:lnTo>
                  <a:pt x="128" y="1368"/>
                </a:lnTo>
                <a:lnTo>
                  <a:pt x="112" y="1347"/>
                </a:lnTo>
                <a:lnTo>
                  <a:pt x="96" y="1326"/>
                </a:lnTo>
                <a:lnTo>
                  <a:pt x="82" y="1302"/>
                </a:lnTo>
                <a:lnTo>
                  <a:pt x="69" y="1278"/>
                </a:lnTo>
                <a:lnTo>
                  <a:pt x="56" y="1255"/>
                </a:lnTo>
                <a:lnTo>
                  <a:pt x="45" y="1230"/>
                </a:lnTo>
                <a:lnTo>
                  <a:pt x="35" y="1205"/>
                </a:lnTo>
                <a:lnTo>
                  <a:pt x="26" y="1179"/>
                </a:lnTo>
                <a:lnTo>
                  <a:pt x="17" y="1151"/>
                </a:lnTo>
                <a:lnTo>
                  <a:pt x="11" y="1124"/>
                </a:lnTo>
                <a:lnTo>
                  <a:pt x="6" y="1096"/>
                </a:lnTo>
                <a:lnTo>
                  <a:pt x="4" y="1069"/>
                </a:lnTo>
                <a:lnTo>
                  <a:pt x="1" y="1040"/>
                </a:lnTo>
                <a:lnTo>
                  <a:pt x="0" y="1010"/>
                </a:lnTo>
                <a:lnTo>
                  <a:pt x="2" y="970"/>
                </a:lnTo>
                <a:lnTo>
                  <a:pt x="6" y="929"/>
                </a:lnTo>
                <a:lnTo>
                  <a:pt x="14" y="887"/>
                </a:lnTo>
                <a:lnTo>
                  <a:pt x="24" y="844"/>
                </a:lnTo>
                <a:lnTo>
                  <a:pt x="35" y="802"/>
                </a:lnTo>
                <a:lnTo>
                  <a:pt x="50" y="760"/>
                </a:lnTo>
                <a:lnTo>
                  <a:pt x="66" y="717"/>
                </a:lnTo>
                <a:lnTo>
                  <a:pt x="83" y="675"/>
                </a:lnTo>
                <a:lnTo>
                  <a:pt x="103" y="632"/>
                </a:lnTo>
                <a:lnTo>
                  <a:pt x="123" y="591"/>
                </a:lnTo>
                <a:lnTo>
                  <a:pt x="146" y="549"/>
                </a:lnTo>
                <a:lnTo>
                  <a:pt x="170" y="509"/>
                </a:lnTo>
                <a:lnTo>
                  <a:pt x="193" y="469"/>
                </a:lnTo>
                <a:lnTo>
                  <a:pt x="218" y="429"/>
                </a:lnTo>
                <a:lnTo>
                  <a:pt x="243" y="392"/>
                </a:lnTo>
                <a:lnTo>
                  <a:pt x="268" y="354"/>
                </a:lnTo>
                <a:lnTo>
                  <a:pt x="319" y="283"/>
                </a:lnTo>
                <a:lnTo>
                  <a:pt x="368" y="218"/>
                </a:lnTo>
                <a:lnTo>
                  <a:pt x="415" y="161"/>
                </a:lnTo>
                <a:lnTo>
                  <a:pt x="456" y="110"/>
                </a:lnTo>
                <a:lnTo>
                  <a:pt x="494" y="69"/>
                </a:lnTo>
                <a:lnTo>
                  <a:pt x="523" y="36"/>
                </a:lnTo>
                <a:lnTo>
                  <a:pt x="543" y="14"/>
                </a:lnTo>
                <a:lnTo>
                  <a:pt x="553" y="2"/>
                </a:lnTo>
                <a:lnTo>
                  <a:pt x="556" y="0"/>
                </a:lnTo>
                <a:lnTo>
                  <a:pt x="561" y="0"/>
                </a:lnTo>
                <a:lnTo>
                  <a:pt x="566" y="0"/>
                </a:lnTo>
                <a:lnTo>
                  <a:pt x="570" y="2"/>
                </a:lnTo>
                <a:lnTo>
                  <a:pt x="580" y="14"/>
                </a:lnTo>
                <a:lnTo>
                  <a:pt x="600" y="36"/>
                </a:lnTo>
                <a:lnTo>
                  <a:pt x="630" y="69"/>
                </a:lnTo>
                <a:lnTo>
                  <a:pt x="666" y="110"/>
                </a:lnTo>
                <a:lnTo>
                  <a:pt x="708" y="161"/>
                </a:lnTo>
                <a:lnTo>
                  <a:pt x="755" y="218"/>
                </a:lnTo>
                <a:lnTo>
                  <a:pt x="805" y="283"/>
                </a:lnTo>
                <a:lnTo>
                  <a:pt x="854" y="354"/>
                </a:lnTo>
                <a:lnTo>
                  <a:pt x="881" y="392"/>
                </a:lnTo>
                <a:lnTo>
                  <a:pt x="906" y="429"/>
                </a:lnTo>
                <a:lnTo>
                  <a:pt x="929" y="469"/>
                </a:lnTo>
                <a:lnTo>
                  <a:pt x="954" y="509"/>
                </a:lnTo>
                <a:lnTo>
                  <a:pt x="977" y="549"/>
                </a:lnTo>
                <a:lnTo>
                  <a:pt x="999" y="591"/>
                </a:lnTo>
                <a:lnTo>
                  <a:pt x="1020" y="632"/>
                </a:lnTo>
                <a:lnTo>
                  <a:pt x="1039" y="675"/>
                </a:lnTo>
                <a:lnTo>
                  <a:pt x="1058" y="717"/>
                </a:lnTo>
                <a:lnTo>
                  <a:pt x="1074" y="760"/>
                </a:lnTo>
                <a:lnTo>
                  <a:pt x="1088" y="802"/>
                </a:lnTo>
                <a:lnTo>
                  <a:pt x="1100" y="844"/>
                </a:lnTo>
                <a:lnTo>
                  <a:pt x="1110" y="887"/>
                </a:lnTo>
                <a:lnTo>
                  <a:pt x="1116" y="929"/>
                </a:lnTo>
                <a:lnTo>
                  <a:pt x="1121" y="970"/>
                </a:lnTo>
                <a:lnTo>
                  <a:pt x="1123" y="1010"/>
                </a:lnTo>
                <a:lnTo>
                  <a:pt x="1121" y="1040"/>
                </a:lnTo>
                <a:lnTo>
                  <a:pt x="1120" y="1069"/>
                </a:lnTo>
                <a:lnTo>
                  <a:pt x="1116" y="1096"/>
                </a:lnTo>
                <a:lnTo>
                  <a:pt x="1111" y="1124"/>
                </a:lnTo>
                <a:lnTo>
                  <a:pt x="1105" y="1151"/>
                </a:lnTo>
                <a:lnTo>
                  <a:pt x="1098" y="1179"/>
                </a:lnTo>
                <a:lnTo>
                  <a:pt x="1089" y="1205"/>
                </a:lnTo>
                <a:lnTo>
                  <a:pt x="1079" y="1230"/>
                </a:lnTo>
                <a:lnTo>
                  <a:pt x="1068" y="1255"/>
                </a:lnTo>
                <a:lnTo>
                  <a:pt x="1055" y="1278"/>
                </a:lnTo>
                <a:lnTo>
                  <a:pt x="1042" y="1302"/>
                </a:lnTo>
                <a:lnTo>
                  <a:pt x="1027" y="1326"/>
                </a:lnTo>
                <a:lnTo>
                  <a:pt x="1012" y="1347"/>
                </a:lnTo>
                <a:lnTo>
                  <a:pt x="994" y="1368"/>
                </a:lnTo>
                <a:lnTo>
                  <a:pt x="977" y="1389"/>
                </a:lnTo>
                <a:lnTo>
                  <a:pt x="958" y="1408"/>
                </a:lnTo>
                <a:lnTo>
                  <a:pt x="939" y="1427"/>
                </a:lnTo>
                <a:lnTo>
                  <a:pt x="918" y="1444"/>
                </a:lnTo>
                <a:lnTo>
                  <a:pt x="897" y="1462"/>
                </a:lnTo>
                <a:lnTo>
                  <a:pt x="876" y="1477"/>
                </a:lnTo>
                <a:lnTo>
                  <a:pt x="852" y="1492"/>
                </a:lnTo>
                <a:lnTo>
                  <a:pt x="828" y="1505"/>
                </a:lnTo>
                <a:lnTo>
                  <a:pt x="805" y="1518"/>
                </a:lnTo>
                <a:lnTo>
                  <a:pt x="780" y="1529"/>
                </a:lnTo>
                <a:lnTo>
                  <a:pt x="755" y="1539"/>
                </a:lnTo>
                <a:lnTo>
                  <a:pt x="728" y="1548"/>
                </a:lnTo>
                <a:lnTo>
                  <a:pt x="701" y="1555"/>
                </a:lnTo>
                <a:lnTo>
                  <a:pt x="675" y="1562"/>
                </a:lnTo>
                <a:lnTo>
                  <a:pt x="647" y="1567"/>
                </a:lnTo>
                <a:lnTo>
                  <a:pt x="619" y="1570"/>
                </a:lnTo>
                <a:lnTo>
                  <a:pt x="590" y="1573"/>
                </a:lnTo>
                <a:lnTo>
                  <a:pt x="561" y="1574"/>
                </a:lnTo>
                <a:close/>
              </a:path>
            </a:pathLst>
          </a:custGeom>
          <a:solidFill>
            <a:srgbClr val="004077"/>
          </a:solidFill>
          <a:ln w="9525">
            <a:solidFill>
              <a:srgbClr val="EF6213"/>
            </a:solidFill>
            <a:round/>
            <a:headEnd/>
            <a:tailEnd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1" name="Группа 130"/>
          <p:cNvGrpSpPr/>
          <p:nvPr/>
        </p:nvGrpSpPr>
        <p:grpSpPr>
          <a:xfrm>
            <a:off x="5423610" y="1557143"/>
            <a:ext cx="293272" cy="1374408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132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8" name="Группа 147"/>
          <p:cNvGrpSpPr/>
          <p:nvPr/>
        </p:nvGrpSpPr>
        <p:grpSpPr>
          <a:xfrm>
            <a:off x="1442746" y="4071897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149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403036" y="4426371"/>
            <a:ext cx="95731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№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5,6,12,13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3" name="Рисунок 15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54579" y="1052340"/>
            <a:ext cx="2281558" cy="1911001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</p:pic>
      <p:pic>
        <p:nvPicPr>
          <p:cNvPr id="157" name="Picture 12" descr="image00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089" y="2341480"/>
            <a:ext cx="2234689" cy="105244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0" name="Рисунок 15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62823" y="3501133"/>
            <a:ext cx="2517819" cy="1232156"/>
          </a:xfrm>
          <a:prstGeom prst="rect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</p:pic>
      <p:sp>
        <p:nvSpPr>
          <p:cNvPr id="162" name="Текст 85"/>
          <p:cNvSpPr txBox="1">
            <a:spLocks/>
          </p:cNvSpPr>
          <p:nvPr/>
        </p:nvSpPr>
        <p:spPr>
          <a:xfrm>
            <a:off x="1901234" y="3543858"/>
            <a:ext cx="3795658" cy="351324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баланс</a:t>
            </a: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о объему АИ-95, измеренного ИС и ручным способом </a:t>
            </a:r>
            <a:r>
              <a:rPr kumimoji="0" lang="ru-RU" sz="7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ru-RU" sz="700" i="1" dirty="0" smtClean="0">
                <a:solidFill>
                  <a:srgbClr val="FFFFFF">
                    <a:lumMod val="6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</a:t>
            </a:r>
            <a:r>
              <a:rPr kumimoji="0" lang="ru-RU" sz="7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08.19 20:00), м</a:t>
            </a:r>
            <a:r>
              <a:rPr kumimoji="0" lang="ru-RU" sz="700" b="0" i="1" u="none" strike="noStrike" kern="1200" cap="none" spc="0" normalizeH="0" baseline="3000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endParaRPr kumimoji="0" lang="ru-RU" sz="700" b="0" i="1" u="sng" strike="noStrike" kern="1200" cap="none" spc="0" normalizeH="0" baseline="30000" noProof="0" dirty="0" smtClean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3" name="Текст 85"/>
          <p:cNvSpPr txBox="1">
            <a:spLocks/>
          </p:cNvSpPr>
          <p:nvPr/>
        </p:nvSpPr>
        <p:spPr>
          <a:xfrm>
            <a:off x="4052421" y="3797622"/>
            <a:ext cx="1504848" cy="229553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</a:t>
            </a:r>
            <a:r>
              <a:rPr lang="ru-RU" sz="700" b="1" dirty="0" smtClean="0">
                <a:solidFill>
                  <a:srgbClr val="FFFFFF">
                    <a:lumMod val="95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,72</a:t>
            </a: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,11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%)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64" name="Соединительная линия уступом 163"/>
          <p:cNvCxnSpPr/>
          <p:nvPr/>
        </p:nvCxnSpPr>
        <p:spPr>
          <a:xfrm rot="10800000">
            <a:off x="4175958" y="3989146"/>
            <a:ext cx="720078" cy="238788"/>
          </a:xfrm>
          <a:prstGeom prst="bentConnector3">
            <a:avLst>
              <a:gd name="adj1" fmla="val -58096"/>
            </a:avLst>
          </a:prstGeom>
          <a:ln>
            <a:solidFill>
              <a:srgbClr val="FC4E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Текст 85"/>
          <p:cNvSpPr txBox="1">
            <a:spLocks/>
          </p:cNvSpPr>
          <p:nvPr/>
        </p:nvSpPr>
        <p:spPr>
          <a:xfrm>
            <a:off x="2545094" y="3944376"/>
            <a:ext cx="643563" cy="175546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 РВС</a:t>
            </a:r>
            <a:endParaRPr kumimoji="0" lang="ru-RU" sz="700" b="1" i="0" u="sng" strike="noStrike" kern="1200" cap="none" spc="0" normalizeH="0" baseline="30000" noProof="0" dirty="0" smtClean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7" name="Текст 85"/>
          <p:cNvSpPr txBox="1">
            <a:spLocks/>
          </p:cNvSpPr>
          <p:nvPr/>
        </p:nvSpPr>
        <p:spPr>
          <a:xfrm>
            <a:off x="1907704" y="4119922"/>
            <a:ext cx="1280953" cy="324036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учные измерения</a:t>
            </a:r>
            <a:endParaRPr kumimoji="0" lang="ru-RU" sz="700" b="1" i="0" u="sng" strike="noStrike" kern="1200" cap="none" spc="0" normalizeH="0" baseline="30000" noProof="0" dirty="0" smtClean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8" name="Текст 85"/>
          <p:cNvSpPr txBox="1">
            <a:spLocks/>
          </p:cNvSpPr>
          <p:nvPr/>
        </p:nvSpPr>
        <p:spPr>
          <a:xfrm>
            <a:off x="503548" y="723214"/>
            <a:ext cx="5544616" cy="226696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Внедрение системы «</a:t>
            </a:r>
            <a:r>
              <a:rPr kumimoji="0" lang="ru-R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Нефтеконтроль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участке хранения позволяет: </a:t>
            </a:r>
            <a:endParaRPr kumimoji="0" lang="ru-RU" sz="900" b="1" i="0" u="sng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545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5" y="185937"/>
            <a:ext cx="81118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Улучшение качества измерений на участке отпуска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Терминала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«Гладкое»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7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Прямоугольник 94"/>
          <p:cNvSpPr/>
          <p:nvPr/>
        </p:nvSpPr>
        <p:spPr>
          <a:xfrm>
            <a:off x="3197922" y="1653194"/>
            <a:ext cx="33095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1583953" y="3615866"/>
            <a:ext cx="633641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зультаты измерений формируются в таблицы с указанием параметров по каждой секции АЦ</a:t>
            </a:r>
          </a:p>
        </p:txBody>
      </p:sp>
      <p:pic>
        <p:nvPicPr>
          <p:cNvPr id="104" name="Рисунок 103"/>
          <p:cNvPicPr>
            <a:picLocks noChangeAspect="1"/>
          </p:cNvPicPr>
          <p:nvPr/>
        </p:nvPicPr>
        <p:blipFill rotWithShape="1">
          <a:blip r:embed="rId8"/>
          <a:srcRect t="16020"/>
          <a:stretch/>
        </p:blipFill>
        <p:spPr>
          <a:xfrm>
            <a:off x="6192180" y="1030623"/>
            <a:ext cx="2351178" cy="209507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132" name="Текст 85"/>
          <p:cNvSpPr txBox="1">
            <a:spLocks/>
          </p:cNvSpPr>
          <p:nvPr/>
        </p:nvSpPr>
        <p:spPr>
          <a:xfrm>
            <a:off x="503548" y="723214"/>
            <a:ext cx="5544616" cy="226696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Внедрение системы «</a:t>
            </a:r>
            <a:r>
              <a:rPr kumimoji="0" lang="ru-RU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Нефтеконтроль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» повышает эффективность на участке отпуска: </a:t>
            </a:r>
            <a:endParaRPr kumimoji="0" lang="ru-RU" sz="900" b="1" i="0" u="sng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Arial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1957114" y="1081639"/>
            <a:ext cx="391103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змерение 4-х параметров с пределами погрешности, соответствующими требованиям Компании:  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 – 0,25 %, V – 0,25 %, </a:t>
            </a:r>
            <a:r>
              <a:rPr kumimoji="0" lang="el-GR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ρ</a:t>
            </a:r>
            <a:r>
              <a:rPr kumimoji="0" lang="ru-RU" sz="7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р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0,5 кг/м</a:t>
            </a:r>
            <a:r>
              <a:rPr kumimoji="0" lang="ru-RU" sz="7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р – 0,5 °С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матический пересчет объема и плотности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 15 °С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</a:t>
            </a:r>
            <a:r>
              <a:rPr kumimoji="0" lang="en-US" sz="7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l-GR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ρ</a:t>
            </a:r>
            <a:r>
              <a:rPr kumimoji="0" lang="en-US" sz="7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grpSp>
        <p:nvGrpSpPr>
          <p:cNvPr id="144" name="Группа 143"/>
          <p:cNvGrpSpPr/>
          <p:nvPr/>
        </p:nvGrpSpPr>
        <p:grpSpPr>
          <a:xfrm>
            <a:off x="1442746" y="1177923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145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646483" y="1079997"/>
            <a:ext cx="416788" cy="418783"/>
            <a:chOff x="711519" y="1234411"/>
            <a:chExt cx="416788" cy="418783"/>
          </a:xfrm>
        </p:grpSpPr>
        <p:grpSp>
          <p:nvGrpSpPr>
            <p:cNvPr id="79" name="menzurki"/>
            <p:cNvGrpSpPr>
              <a:grpSpLocks noChangeAspect="1"/>
            </p:cNvGrpSpPr>
            <p:nvPr/>
          </p:nvGrpSpPr>
          <p:grpSpPr>
            <a:xfrm>
              <a:off x="819791" y="1322407"/>
              <a:ext cx="200244" cy="242790"/>
              <a:chOff x="1181101" y="2122488"/>
              <a:chExt cx="344488" cy="463550"/>
            </a:xfrm>
          </p:grpSpPr>
          <p:sp>
            <p:nvSpPr>
              <p:cNvPr id="81" name="Freeform 57"/>
              <p:cNvSpPr>
                <a:spLocks noEditPoints="1"/>
              </p:cNvSpPr>
              <p:nvPr/>
            </p:nvSpPr>
            <p:spPr bwMode="auto">
              <a:xfrm>
                <a:off x="1339851" y="2122488"/>
                <a:ext cx="185738" cy="407988"/>
              </a:xfrm>
              <a:custGeom>
                <a:avLst/>
                <a:gdLst>
                  <a:gd name="T0" fmla="*/ 25 w 470"/>
                  <a:gd name="T1" fmla="*/ 24 h 1028"/>
                  <a:gd name="T2" fmla="*/ 21 w 470"/>
                  <a:gd name="T3" fmla="*/ 37 h 1028"/>
                  <a:gd name="T4" fmla="*/ 25 w 470"/>
                  <a:gd name="T5" fmla="*/ 46 h 1028"/>
                  <a:gd name="T6" fmla="*/ 31 w 470"/>
                  <a:gd name="T7" fmla="*/ 50 h 1028"/>
                  <a:gd name="T8" fmla="*/ 261 w 470"/>
                  <a:gd name="T9" fmla="*/ 49 h 1028"/>
                  <a:gd name="T10" fmla="*/ 269 w 470"/>
                  <a:gd name="T11" fmla="*/ 36 h 1028"/>
                  <a:gd name="T12" fmla="*/ 263 w 470"/>
                  <a:gd name="T13" fmla="*/ 22 h 1028"/>
                  <a:gd name="T14" fmla="*/ 256 w 470"/>
                  <a:gd name="T15" fmla="*/ 20 h 1028"/>
                  <a:gd name="T16" fmla="*/ 14 w 470"/>
                  <a:gd name="T17" fmla="*/ 275 h 1028"/>
                  <a:gd name="T18" fmla="*/ 5 w 470"/>
                  <a:gd name="T19" fmla="*/ 269 h 1028"/>
                  <a:gd name="T20" fmla="*/ 18 w 470"/>
                  <a:gd name="T21" fmla="*/ 213 h 1028"/>
                  <a:gd name="T22" fmla="*/ 11 w 470"/>
                  <a:gd name="T23" fmla="*/ 61 h 1028"/>
                  <a:gd name="T24" fmla="*/ 3 w 470"/>
                  <a:gd name="T25" fmla="*/ 50 h 1028"/>
                  <a:gd name="T26" fmla="*/ 0 w 470"/>
                  <a:gd name="T27" fmla="*/ 36 h 1028"/>
                  <a:gd name="T28" fmla="*/ 6 w 470"/>
                  <a:gd name="T29" fmla="*/ 15 h 1028"/>
                  <a:gd name="T30" fmla="*/ 20 w 470"/>
                  <a:gd name="T31" fmla="*/ 2 h 1028"/>
                  <a:gd name="T32" fmla="*/ 256 w 470"/>
                  <a:gd name="T33" fmla="*/ 0 h 1028"/>
                  <a:gd name="T34" fmla="*/ 275 w 470"/>
                  <a:gd name="T35" fmla="*/ 6 h 1028"/>
                  <a:gd name="T36" fmla="*/ 287 w 470"/>
                  <a:gd name="T37" fmla="*/ 20 h 1028"/>
                  <a:gd name="T38" fmla="*/ 290 w 470"/>
                  <a:gd name="T39" fmla="*/ 39 h 1028"/>
                  <a:gd name="T40" fmla="*/ 285 w 470"/>
                  <a:gd name="T41" fmla="*/ 53 h 1028"/>
                  <a:gd name="T42" fmla="*/ 275 w 470"/>
                  <a:gd name="T43" fmla="*/ 64 h 1028"/>
                  <a:gd name="T44" fmla="*/ 283 w 470"/>
                  <a:gd name="T45" fmla="*/ 251 h 1028"/>
                  <a:gd name="T46" fmla="*/ 369 w 470"/>
                  <a:gd name="T47" fmla="*/ 556 h 1028"/>
                  <a:gd name="T48" fmla="*/ 454 w 470"/>
                  <a:gd name="T49" fmla="*/ 860 h 1028"/>
                  <a:gd name="T50" fmla="*/ 469 w 470"/>
                  <a:gd name="T51" fmla="*/ 912 h 1028"/>
                  <a:gd name="T52" fmla="*/ 470 w 470"/>
                  <a:gd name="T53" fmla="*/ 950 h 1028"/>
                  <a:gd name="T54" fmla="*/ 461 w 470"/>
                  <a:gd name="T55" fmla="*/ 977 h 1028"/>
                  <a:gd name="T56" fmla="*/ 446 w 470"/>
                  <a:gd name="T57" fmla="*/ 998 h 1028"/>
                  <a:gd name="T58" fmla="*/ 417 w 470"/>
                  <a:gd name="T59" fmla="*/ 1018 h 1028"/>
                  <a:gd name="T60" fmla="*/ 377 w 470"/>
                  <a:gd name="T61" fmla="*/ 1027 h 1028"/>
                  <a:gd name="T62" fmla="*/ 43 w 470"/>
                  <a:gd name="T63" fmla="*/ 1027 h 1028"/>
                  <a:gd name="T64" fmla="*/ 37 w 470"/>
                  <a:gd name="T65" fmla="*/ 1015 h 1028"/>
                  <a:gd name="T66" fmla="*/ 43 w 470"/>
                  <a:gd name="T67" fmla="*/ 1007 h 1028"/>
                  <a:gd name="T68" fmla="*/ 375 w 470"/>
                  <a:gd name="T69" fmla="*/ 1006 h 1028"/>
                  <a:gd name="T70" fmla="*/ 407 w 470"/>
                  <a:gd name="T71" fmla="*/ 999 h 1028"/>
                  <a:gd name="T72" fmla="*/ 431 w 470"/>
                  <a:gd name="T73" fmla="*/ 984 h 1028"/>
                  <a:gd name="T74" fmla="*/ 443 w 470"/>
                  <a:gd name="T75" fmla="*/ 967 h 1028"/>
                  <a:gd name="T76" fmla="*/ 448 w 470"/>
                  <a:gd name="T77" fmla="*/ 945 h 1028"/>
                  <a:gd name="T78" fmla="*/ 444 w 470"/>
                  <a:gd name="T79" fmla="*/ 902 h 1028"/>
                  <a:gd name="T80" fmla="*/ 380 w 470"/>
                  <a:gd name="T81" fmla="*/ 673 h 1028"/>
                  <a:gd name="T82" fmla="*/ 281 w 470"/>
                  <a:gd name="T83" fmla="*/ 322 h 1028"/>
                  <a:gd name="T84" fmla="*/ 250 w 470"/>
                  <a:gd name="T85" fmla="*/ 215 h 1028"/>
                  <a:gd name="T86" fmla="*/ 40 w 470"/>
                  <a:gd name="T87" fmla="*/ 69 h 1028"/>
                  <a:gd name="T88" fmla="*/ 40 w 470"/>
                  <a:gd name="T89" fmla="*/ 217 h 1028"/>
                  <a:gd name="T90" fmla="*/ 21 w 470"/>
                  <a:gd name="T91" fmla="*/ 272 h 10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70" h="1028">
                    <a:moveTo>
                      <a:pt x="34" y="20"/>
                    </a:moveTo>
                    <a:lnTo>
                      <a:pt x="29" y="21"/>
                    </a:lnTo>
                    <a:lnTo>
                      <a:pt x="25" y="24"/>
                    </a:lnTo>
                    <a:lnTo>
                      <a:pt x="23" y="28"/>
                    </a:lnTo>
                    <a:lnTo>
                      <a:pt x="21" y="34"/>
                    </a:lnTo>
                    <a:lnTo>
                      <a:pt x="21" y="37"/>
                    </a:lnTo>
                    <a:lnTo>
                      <a:pt x="23" y="40"/>
                    </a:lnTo>
                    <a:lnTo>
                      <a:pt x="24" y="43"/>
                    </a:lnTo>
                    <a:lnTo>
                      <a:pt x="25" y="46"/>
                    </a:lnTo>
                    <a:lnTo>
                      <a:pt x="27" y="48"/>
                    </a:lnTo>
                    <a:lnTo>
                      <a:pt x="29" y="49"/>
                    </a:lnTo>
                    <a:lnTo>
                      <a:pt x="31" y="50"/>
                    </a:lnTo>
                    <a:lnTo>
                      <a:pt x="34" y="50"/>
                    </a:lnTo>
                    <a:lnTo>
                      <a:pt x="256" y="50"/>
                    </a:lnTo>
                    <a:lnTo>
                      <a:pt x="261" y="49"/>
                    </a:lnTo>
                    <a:lnTo>
                      <a:pt x="265" y="46"/>
                    </a:lnTo>
                    <a:lnTo>
                      <a:pt x="268" y="41"/>
                    </a:lnTo>
                    <a:lnTo>
                      <a:pt x="269" y="36"/>
                    </a:lnTo>
                    <a:lnTo>
                      <a:pt x="268" y="29"/>
                    </a:lnTo>
                    <a:lnTo>
                      <a:pt x="265" y="24"/>
                    </a:lnTo>
                    <a:lnTo>
                      <a:pt x="263" y="22"/>
                    </a:lnTo>
                    <a:lnTo>
                      <a:pt x="261" y="21"/>
                    </a:lnTo>
                    <a:lnTo>
                      <a:pt x="259" y="20"/>
                    </a:lnTo>
                    <a:lnTo>
                      <a:pt x="256" y="20"/>
                    </a:lnTo>
                    <a:lnTo>
                      <a:pt x="34" y="20"/>
                    </a:lnTo>
                    <a:close/>
                    <a:moveTo>
                      <a:pt x="15" y="275"/>
                    </a:moveTo>
                    <a:lnTo>
                      <a:pt x="14" y="275"/>
                    </a:lnTo>
                    <a:lnTo>
                      <a:pt x="13" y="275"/>
                    </a:lnTo>
                    <a:lnTo>
                      <a:pt x="8" y="272"/>
                    </a:lnTo>
                    <a:lnTo>
                      <a:pt x="5" y="269"/>
                    </a:lnTo>
                    <a:lnTo>
                      <a:pt x="4" y="265"/>
                    </a:lnTo>
                    <a:lnTo>
                      <a:pt x="5" y="261"/>
                    </a:lnTo>
                    <a:lnTo>
                      <a:pt x="18" y="213"/>
                    </a:lnTo>
                    <a:lnTo>
                      <a:pt x="18" y="66"/>
                    </a:lnTo>
                    <a:lnTo>
                      <a:pt x="15" y="64"/>
                    </a:lnTo>
                    <a:lnTo>
                      <a:pt x="11" y="61"/>
                    </a:lnTo>
                    <a:lnTo>
                      <a:pt x="7" y="57"/>
                    </a:lnTo>
                    <a:lnTo>
                      <a:pt x="5" y="54"/>
                    </a:lnTo>
                    <a:lnTo>
                      <a:pt x="3" y="50"/>
                    </a:lnTo>
                    <a:lnTo>
                      <a:pt x="2" y="46"/>
                    </a:lnTo>
                    <a:lnTo>
                      <a:pt x="1" y="41"/>
                    </a:lnTo>
                    <a:lnTo>
                      <a:pt x="0" y="36"/>
                    </a:lnTo>
                    <a:lnTo>
                      <a:pt x="1" y="28"/>
                    </a:lnTo>
                    <a:lnTo>
                      <a:pt x="3" y="21"/>
                    </a:lnTo>
                    <a:lnTo>
                      <a:pt x="6" y="15"/>
                    </a:lnTo>
                    <a:lnTo>
                      <a:pt x="10" y="10"/>
                    </a:lnTo>
                    <a:lnTo>
                      <a:pt x="15" y="6"/>
                    </a:lnTo>
                    <a:lnTo>
                      <a:pt x="20" y="2"/>
                    </a:lnTo>
                    <a:lnTo>
                      <a:pt x="27" y="0"/>
                    </a:lnTo>
                    <a:lnTo>
                      <a:pt x="34" y="0"/>
                    </a:lnTo>
                    <a:lnTo>
                      <a:pt x="256" y="0"/>
                    </a:lnTo>
                    <a:lnTo>
                      <a:pt x="263" y="0"/>
                    </a:lnTo>
                    <a:lnTo>
                      <a:pt x="270" y="2"/>
                    </a:lnTo>
                    <a:lnTo>
                      <a:pt x="275" y="6"/>
                    </a:lnTo>
                    <a:lnTo>
                      <a:pt x="281" y="9"/>
                    </a:lnTo>
                    <a:lnTo>
                      <a:pt x="284" y="14"/>
                    </a:lnTo>
                    <a:lnTo>
                      <a:pt x="287" y="20"/>
                    </a:lnTo>
                    <a:lnTo>
                      <a:pt x="289" y="26"/>
                    </a:lnTo>
                    <a:lnTo>
                      <a:pt x="290" y="34"/>
                    </a:lnTo>
                    <a:lnTo>
                      <a:pt x="290" y="39"/>
                    </a:lnTo>
                    <a:lnTo>
                      <a:pt x="289" y="45"/>
                    </a:lnTo>
                    <a:lnTo>
                      <a:pt x="287" y="49"/>
                    </a:lnTo>
                    <a:lnTo>
                      <a:pt x="285" y="53"/>
                    </a:lnTo>
                    <a:lnTo>
                      <a:pt x="283" y="57"/>
                    </a:lnTo>
                    <a:lnTo>
                      <a:pt x="280" y="61"/>
                    </a:lnTo>
                    <a:lnTo>
                      <a:pt x="275" y="64"/>
                    </a:lnTo>
                    <a:lnTo>
                      <a:pt x="272" y="66"/>
                    </a:lnTo>
                    <a:lnTo>
                      <a:pt x="272" y="213"/>
                    </a:lnTo>
                    <a:lnTo>
                      <a:pt x="283" y="251"/>
                    </a:lnTo>
                    <a:lnTo>
                      <a:pt x="304" y="330"/>
                    </a:lnTo>
                    <a:lnTo>
                      <a:pt x="335" y="437"/>
                    </a:lnTo>
                    <a:lnTo>
                      <a:pt x="369" y="556"/>
                    </a:lnTo>
                    <a:lnTo>
                      <a:pt x="403" y="676"/>
                    </a:lnTo>
                    <a:lnTo>
                      <a:pt x="433" y="782"/>
                    </a:lnTo>
                    <a:lnTo>
                      <a:pt x="454" y="860"/>
                    </a:lnTo>
                    <a:lnTo>
                      <a:pt x="464" y="897"/>
                    </a:lnTo>
                    <a:lnTo>
                      <a:pt x="466" y="903"/>
                    </a:lnTo>
                    <a:lnTo>
                      <a:pt x="469" y="912"/>
                    </a:lnTo>
                    <a:lnTo>
                      <a:pt x="470" y="924"/>
                    </a:lnTo>
                    <a:lnTo>
                      <a:pt x="470" y="936"/>
                    </a:lnTo>
                    <a:lnTo>
                      <a:pt x="470" y="950"/>
                    </a:lnTo>
                    <a:lnTo>
                      <a:pt x="466" y="964"/>
                    </a:lnTo>
                    <a:lnTo>
                      <a:pt x="464" y="970"/>
                    </a:lnTo>
                    <a:lnTo>
                      <a:pt x="461" y="977"/>
                    </a:lnTo>
                    <a:lnTo>
                      <a:pt x="458" y="983"/>
                    </a:lnTo>
                    <a:lnTo>
                      <a:pt x="453" y="990"/>
                    </a:lnTo>
                    <a:lnTo>
                      <a:pt x="446" y="998"/>
                    </a:lnTo>
                    <a:lnTo>
                      <a:pt x="437" y="1006"/>
                    </a:lnTo>
                    <a:lnTo>
                      <a:pt x="427" y="1012"/>
                    </a:lnTo>
                    <a:lnTo>
                      <a:pt x="417" y="1018"/>
                    </a:lnTo>
                    <a:lnTo>
                      <a:pt x="404" y="1022"/>
                    </a:lnTo>
                    <a:lnTo>
                      <a:pt x="391" y="1025"/>
                    </a:lnTo>
                    <a:lnTo>
                      <a:pt x="377" y="1027"/>
                    </a:lnTo>
                    <a:lnTo>
                      <a:pt x="362" y="1028"/>
                    </a:lnTo>
                    <a:lnTo>
                      <a:pt x="47" y="1028"/>
                    </a:lnTo>
                    <a:lnTo>
                      <a:pt x="43" y="1027"/>
                    </a:lnTo>
                    <a:lnTo>
                      <a:pt x="40" y="1024"/>
                    </a:lnTo>
                    <a:lnTo>
                      <a:pt x="38" y="1021"/>
                    </a:lnTo>
                    <a:lnTo>
                      <a:pt x="37" y="1015"/>
                    </a:lnTo>
                    <a:lnTo>
                      <a:pt x="38" y="1012"/>
                    </a:lnTo>
                    <a:lnTo>
                      <a:pt x="40" y="1009"/>
                    </a:lnTo>
                    <a:lnTo>
                      <a:pt x="43" y="1007"/>
                    </a:lnTo>
                    <a:lnTo>
                      <a:pt x="47" y="1006"/>
                    </a:lnTo>
                    <a:lnTo>
                      <a:pt x="362" y="1006"/>
                    </a:lnTo>
                    <a:lnTo>
                      <a:pt x="375" y="1006"/>
                    </a:lnTo>
                    <a:lnTo>
                      <a:pt x="386" y="1005"/>
                    </a:lnTo>
                    <a:lnTo>
                      <a:pt x="397" y="1001"/>
                    </a:lnTo>
                    <a:lnTo>
                      <a:pt x="407" y="999"/>
                    </a:lnTo>
                    <a:lnTo>
                      <a:pt x="416" y="995"/>
                    </a:lnTo>
                    <a:lnTo>
                      <a:pt x="423" y="990"/>
                    </a:lnTo>
                    <a:lnTo>
                      <a:pt x="431" y="984"/>
                    </a:lnTo>
                    <a:lnTo>
                      <a:pt x="436" y="978"/>
                    </a:lnTo>
                    <a:lnTo>
                      <a:pt x="439" y="973"/>
                    </a:lnTo>
                    <a:lnTo>
                      <a:pt x="443" y="967"/>
                    </a:lnTo>
                    <a:lnTo>
                      <a:pt x="445" y="961"/>
                    </a:lnTo>
                    <a:lnTo>
                      <a:pt x="446" y="956"/>
                    </a:lnTo>
                    <a:lnTo>
                      <a:pt x="448" y="945"/>
                    </a:lnTo>
                    <a:lnTo>
                      <a:pt x="449" y="934"/>
                    </a:lnTo>
                    <a:lnTo>
                      <a:pt x="447" y="915"/>
                    </a:lnTo>
                    <a:lnTo>
                      <a:pt x="444" y="902"/>
                    </a:lnTo>
                    <a:lnTo>
                      <a:pt x="434" y="864"/>
                    </a:lnTo>
                    <a:lnTo>
                      <a:pt x="410" y="783"/>
                    </a:lnTo>
                    <a:lnTo>
                      <a:pt x="380" y="673"/>
                    </a:lnTo>
                    <a:lnTo>
                      <a:pt x="345" y="550"/>
                    </a:lnTo>
                    <a:lnTo>
                      <a:pt x="311" y="428"/>
                    </a:lnTo>
                    <a:lnTo>
                      <a:pt x="281" y="322"/>
                    </a:lnTo>
                    <a:lnTo>
                      <a:pt x="259" y="246"/>
                    </a:lnTo>
                    <a:lnTo>
                      <a:pt x="250" y="217"/>
                    </a:lnTo>
                    <a:lnTo>
                      <a:pt x="250" y="215"/>
                    </a:lnTo>
                    <a:lnTo>
                      <a:pt x="250" y="213"/>
                    </a:lnTo>
                    <a:lnTo>
                      <a:pt x="250" y="69"/>
                    </a:lnTo>
                    <a:lnTo>
                      <a:pt x="40" y="69"/>
                    </a:lnTo>
                    <a:lnTo>
                      <a:pt x="40" y="213"/>
                    </a:lnTo>
                    <a:lnTo>
                      <a:pt x="40" y="215"/>
                    </a:lnTo>
                    <a:lnTo>
                      <a:pt x="40" y="217"/>
                    </a:lnTo>
                    <a:lnTo>
                      <a:pt x="26" y="267"/>
                    </a:lnTo>
                    <a:lnTo>
                      <a:pt x="24" y="270"/>
                    </a:lnTo>
                    <a:lnTo>
                      <a:pt x="21" y="272"/>
                    </a:lnTo>
                    <a:lnTo>
                      <a:pt x="18" y="275"/>
                    </a:lnTo>
                    <a:lnTo>
                      <a:pt x="15" y="275"/>
                    </a:lnTo>
                    <a:close/>
                  </a:path>
                </a:pathLst>
              </a:custGeom>
              <a:solidFill>
                <a:srgbClr val="004077"/>
              </a:solidFill>
              <a:ln w="9525">
                <a:solidFill>
                  <a:srgbClr val="EF6213"/>
                </a:solidFill>
                <a:round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 58"/>
              <p:cNvSpPr>
                <a:spLocks/>
              </p:cNvSpPr>
              <p:nvPr/>
            </p:nvSpPr>
            <p:spPr bwMode="auto">
              <a:xfrm>
                <a:off x="1352551" y="2357438"/>
                <a:ext cx="150813" cy="153988"/>
              </a:xfrm>
              <a:custGeom>
                <a:avLst/>
                <a:gdLst>
                  <a:gd name="T0" fmla="*/ 17 w 382"/>
                  <a:gd name="T1" fmla="*/ 386 h 386"/>
                  <a:gd name="T2" fmla="*/ 10 w 382"/>
                  <a:gd name="T3" fmla="*/ 382 h 386"/>
                  <a:gd name="T4" fmla="*/ 7 w 382"/>
                  <a:gd name="T5" fmla="*/ 374 h 386"/>
                  <a:gd name="T6" fmla="*/ 10 w 382"/>
                  <a:gd name="T7" fmla="*/ 367 h 386"/>
                  <a:gd name="T8" fmla="*/ 17 w 382"/>
                  <a:gd name="T9" fmla="*/ 364 h 386"/>
                  <a:gd name="T10" fmla="*/ 301 w 382"/>
                  <a:gd name="T11" fmla="*/ 364 h 386"/>
                  <a:gd name="T12" fmla="*/ 322 w 382"/>
                  <a:gd name="T13" fmla="*/ 362 h 386"/>
                  <a:gd name="T14" fmla="*/ 338 w 382"/>
                  <a:gd name="T15" fmla="*/ 356 h 386"/>
                  <a:gd name="T16" fmla="*/ 350 w 382"/>
                  <a:gd name="T17" fmla="*/ 349 h 386"/>
                  <a:gd name="T18" fmla="*/ 358 w 382"/>
                  <a:gd name="T19" fmla="*/ 339 h 386"/>
                  <a:gd name="T20" fmla="*/ 361 w 382"/>
                  <a:gd name="T21" fmla="*/ 326 h 386"/>
                  <a:gd name="T22" fmla="*/ 361 w 382"/>
                  <a:gd name="T23" fmla="*/ 312 h 386"/>
                  <a:gd name="T24" fmla="*/ 359 w 382"/>
                  <a:gd name="T25" fmla="*/ 296 h 386"/>
                  <a:gd name="T26" fmla="*/ 352 w 382"/>
                  <a:gd name="T27" fmla="*/ 277 h 386"/>
                  <a:gd name="T28" fmla="*/ 339 w 382"/>
                  <a:gd name="T29" fmla="*/ 230 h 386"/>
                  <a:gd name="T30" fmla="*/ 319 w 382"/>
                  <a:gd name="T31" fmla="*/ 158 h 386"/>
                  <a:gd name="T32" fmla="*/ 293 w 382"/>
                  <a:gd name="T33" fmla="*/ 69 h 386"/>
                  <a:gd name="T34" fmla="*/ 11 w 382"/>
                  <a:gd name="T35" fmla="*/ 22 h 386"/>
                  <a:gd name="T36" fmla="*/ 3 w 382"/>
                  <a:gd name="T37" fmla="*/ 17 h 386"/>
                  <a:gd name="T38" fmla="*/ 0 w 382"/>
                  <a:gd name="T39" fmla="*/ 10 h 386"/>
                  <a:gd name="T40" fmla="*/ 3 w 382"/>
                  <a:gd name="T41" fmla="*/ 2 h 386"/>
                  <a:gd name="T42" fmla="*/ 11 w 382"/>
                  <a:gd name="T43" fmla="*/ 0 h 386"/>
                  <a:gd name="T44" fmla="*/ 291 w 382"/>
                  <a:gd name="T45" fmla="*/ 0 h 386"/>
                  <a:gd name="T46" fmla="*/ 296 w 382"/>
                  <a:gd name="T47" fmla="*/ 4 h 386"/>
                  <a:gd name="T48" fmla="*/ 311 w 382"/>
                  <a:gd name="T49" fmla="*/ 56 h 386"/>
                  <a:gd name="T50" fmla="*/ 338 w 382"/>
                  <a:gd name="T51" fmla="*/ 147 h 386"/>
                  <a:gd name="T52" fmla="*/ 360 w 382"/>
                  <a:gd name="T53" fmla="*/ 223 h 386"/>
                  <a:gd name="T54" fmla="*/ 373 w 382"/>
                  <a:gd name="T55" fmla="*/ 270 h 386"/>
                  <a:gd name="T56" fmla="*/ 379 w 382"/>
                  <a:gd name="T57" fmla="*/ 292 h 386"/>
                  <a:gd name="T58" fmla="*/ 382 w 382"/>
                  <a:gd name="T59" fmla="*/ 313 h 386"/>
                  <a:gd name="T60" fmla="*/ 381 w 382"/>
                  <a:gd name="T61" fmla="*/ 333 h 386"/>
                  <a:gd name="T62" fmla="*/ 376 w 382"/>
                  <a:gd name="T63" fmla="*/ 349 h 386"/>
                  <a:gd name="T64" fmla="*/ 365 w 382"/>
                  <a:gd name="T65" fmla="*/ 363 h 386"/>
                  <a:gd name="T66" fmla="*/ 350 w 382"/>
                  <a:gd name="T67" fmla="*/ 375 h 386"/>
                  <a:gd name="T68" fmla="*/ 329 w 382"/>
                  <a:gd name="T69" fmla="*/ 382 h 386"/>
                  <a:gd name="T70" fmla="*/ 305 w 382"/>
                  <a:gd name="T71" fmla="*/ 386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82" h="386">
                    <a:moveTo>
                      <a:pt x="289" y="386"/>
                    </a:moveTo>
                    <a:lnTo>
                      <a:pt x="17" y="386"/>
                    </a:lnTo>
                    <a:lnTo>
                      <a:pt x="13" y="385"/>
                    </a:lnTo>
                    <a:lnTo>
                      <a:pt x="10" y="382"/>
                    </a:lnTo>
                    <a:lnTo>
                      <a:pt x="8" y="378"/>
                    </a:lnTo>
                    <a:lnTo>
                      <a:pt x="7" y="374"/>
                    </a:lnTo>
                    <a:lnTo>
                      <a:pt x="8" y="371"/>
                    </a:lnTo>
                    <a:lnTo>
                      <a:pt x="10" y="367"/>
                    </a:lnTo>
                    <a:lnTo>
                      <a:pt x="13" y="365"/>
                    </a:lnTo>
                    <a:lnTo>
                      <a:pt x="17" y="364"/>
                    </a:lnTo>
                    <a:lnTo>
                      <a:pt x="289" y="364"/>
                    </a:lnTo>
                    <a:lnTo>
                      <a:pt x="301" y="364"/>
                    </a:lnTo>
                    <a:lnTo>
                      <a:pt x="312" y="363"/>
                    </a:lnTo>
                    <a:lnTo>
                      <a:pt x="322" y="362"/>
                    </a:lnTo>
                    <a:lnTo>
                      <a:pt x="331" y="360"/>
                    </a:lnTo>
                    <a:lnTo>
                      <a:pt x="338" y="356"/>
                    </a:lnTo>
                    <a:lnTo>
                      <a:pt x="345" y="353"/>
                    </a:lnTo>
                    <a:lnTo>
                      <a:pt x="350" y="349"/>
                    </a:lnTo>
                    <a:lnTo>
                      <a:pt x="354" y="345"/>
                    </a:lnTo>
                    <a:lnTo>
                      <a:pt x="358" y="339"/>
                    </a:lnTo>
                    <a:lnTo>
                      <a:pt x="360" y="333"/>
                    </a:lnTo>
                    <a:lnTo>
                      <a:pt x="361" y="326"/>
                    </a:lnTo>
                    <a:lnTo>
                      <a:pt x="362" y="320"/>
                    </a:lnTo>
                    <a:lnTo>
                      <a:pt x="361" y="312"/>
                    </a:lnTo>
                    <a:lnTo>
                      <a:pt x="360" y="305"/>
                    </a:lnTo>
                    <a:lnTo>
                      <a:pt x="359" y="296"/>
                    </a:lnTo>
                    <a:lnTo>
                      <a:pt x="355" y="286"/>
                    </a:lnTo>
                    <a:lnTo>
                      <a:pt x="352" y="277"/>
                    </a:lnTo>
                    <a:lnTo>
                      <a:pt x="347" y="257"/>
                    </a:lnTo>
                    <a:lnTo>
                      <a:pt x="339" y="230"/>
                    </a:lnTo>
                    <a:lnTo>
                      <a:pt x="329" y="197"/>
                    </a:lnTo>
                    <a:lnTo>
                      <a:pt x="319" y="158"/>
                    </a:lnTo>
                    <a:lnTo>
                      <a:pt x="306" y="115"/>
                    </a:lnTo>
                    <a:lnTo>
                      <a:pt x="293" y="69"/>
                    </a:lnTo>
                    <a:lnTo>
                      <a:pt x="280" y="22"/>
                    </a:lnTo>
                    <a:lnTo>
                      <a:pt x="11" y="22"/>
                    </a:lnTo>
                    <a:lnTo>
                      <a:pt x="7" y="21"/>
                    </a:lnTo>
                    <a:lnTo>
                      <a:pt x="3" y="17"/>
                    </a:lnTo>
                    <a:lnTo>
                      <a:pt x="1" y="14"/>
                    </a:lnTo>
                    <a:lnTo>
                      <a:pt x="0" y="10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287" y="0"/>
                    </a:lnTo>
                    <a:lnTo>
                      <a:pt x="291" y="0"/>
                    </a:lnTo>
                    <a:lnTo>
                      <a:pt x="294" y="2"/>
                    </a:lnTo>
                    <a:lnTo>
                      <a:pt x="296" y="4"/>
                    </a:lnTo>
                    <a:lnTo>
                      <a:pt x="297" y="8"/>
                    </a:lnTo>
                    <a:lnTo>
                      <a:pt x="311" y="56"/>
                    </a:lnTo>
                    <a:lnTo>
                      <a:pt x="325" y="103"/>
                    </a:lnTo>
                    <a:lnTo>
                      <a:pt x="338" y="147"/>
                    </a:lnTo>
                    <a:lnTo>
                      <a:pt x="349" y="187"/>
                    </a:lnTo>
                    <a:lnTo>
                      <a:pt x="360" y="223"/>
                    </a:lnTo>
                    <a:lnTo>
                      <a:pt x="367" y="251"/>
                    </a:lnTo>
                    <a:lnTo>
                      <a:pt x="373" y="270"/>
                    </a:lnTo>
                    <a:lnTo>
                      <a:pt x="376" y="281"/>
                    </a:lnTo>
                    <a:lnTo>
                      <a:pt x="379" y="292"/>
                    </a:lnTo>
                    <a:lnTo>
                      <a:pt x="381" y="304"/>
                    </a:lnTo>
                    <a:lnTo>
                      <a:pt x="382" y="313"/>
                    </a:lnTo>
                    <a:lnTo>
                      <a:pt x="382" y="324"/>
                    </a:lnTo>
                    <a:lnTo>
                      <a:pt x="381" y="333"/>
                    </a:lnTo>
                    <a:lnTo>
                      <a:pt x="379" y="341"/>
                    </a:lnTo>
                    <a:lnTo>
                      <a:pt x="376" y="349"/>
                    </a:lnTo>
                    <a:lnTo>
                      <a:pt x="372" y="356"/>
                    </a:lnTo>
                    <a:lnTo>
                      <a:pt x="365" y="363"/>
                    </a:lnTo>
                    <a:lnTo>
                      <a:pt x="359" y="369"/>
                    </a:lnTo>
                    <a:lnTo>
                      <a:pt x="350" y="375"/>
                    </a:lnTo>
                    <a:lnTo>
                      <a:pt x="340" y="379"/>
                    </a:lnTo>
                    <a:lnTo>
                      <a:pt x="329" y="382"/>
                    </a:lnTo>
                    <a:lnTo>
                      <a:pt x="318" y="385"/>
                    </a:lnTo>
                    <a:lnTo>
                      <a:pt x="305" y="386"/>
                    </a:lnTo>
                    <a:lnTo>
                      <a:pt x="289" y="386"/>
                    </a:lnTo>
                    <a:close/>
                  </a:path>
                </a:pathLst>
              </a:custGeom>
              <a:solidFill>
                <a:srgbClr val="0070BA"/>
              </a:solidFill>
              <a:ln w="9525">
                <a:solidFill>
                  <a:srgbClr val="EF6213"/>
                </a:solidFill>
                <a:round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Freeform 59"/>
              <p:cNvSpPr>
                <a:spLocks noEditPoints="1"/>
              </p:cNvSpPr>
              <p:nvPr/>
            </p:nvSpPr>
            <p:spPr bwMode="auto">
              <a:xfrm>
                <a:off x="1181101" y="2238375"/>
                <a:ext cx="188913" cy="347663"/>
              </a:xfrm>
              <a:custGeom>
                <a:avLst/>
                <a:gdLst>
                  <a:gd name="T0" fmla="*/ 81 w 476"/>
                  <a:gd name="T1" fmla="*/ 709 h 873"/>
                  <a:gd name="T2" fmla="*/ 93 w 476"/>
                  <a:gd name="T3" fmla="*/ 755 h 873"/>
                  <a:gd name="T4" fmla="*/ 117 w 476"/>
                  <a:gd name="T5" fmla="*/ 795 h 873"/>
                  <a:gd name="T6" fmla="*/ 150 w 476"/>
                  <a:gd name="T7" fmla="*/ 825 h 873"/>
                  <a:gd name="T8" fmla="*/ 191 w 476"/>
                  <a:gd name="T9" fmla="*/ 846 h 873"/>
                  <a:gd name="T10" fmla="*/ 238 w 476"/>
                  <a:gd name="T11" fmla="*/ 852 h 873"/>
                  <a:gd name="T12" fmla="*/ 285 w 476"/>
                  <a:gd name="T13" fmla="*/ 846 h 873"/>
                  <a:gd name="T14" fmla="*/ 326 w 476"/>
                  <a:gd name="T15" fmla="*/ 825 h 873"/>
                  <a:gd name="T16" fmla="*/ 360 w 476"/>
                  <a:gd name="T17" fmla="*/ 795 h 873"/>
                  <a:gd name="T18" fmla="*/ 384 w 476"/>
                  <a:gd name="T19" fmla="*/ 755 h 873"/>
                  <a:gd name="T20" fmla="*/ 395 w 476"/>
                  <a:gd name="T21" fmla="*/ 709 h 873"/>
                  <a:gd name="T22" fmla="*/ 80 w 476"/>
                  <a:gd name="T23" fmla="*/ 118 h 873"/>
                  <a:gd name="T24" fmla="*/ 44 w 476"/>
                  <a:gd name="T25" fmla="*/ 25 h 873"/>
                  <a:gd name="T26" fmla="*/ 27 w 476"/>
                  <a:gd name="T27" fmla="*/ 38 h 873"/>
                  <a:gd name="T28" fmla="*/ 21 w 476"/>
                  <a:gd name="T29" fmla="*/ 59 h 873"/>
                  <a:gd name="T30" fmla="*/ 27 w 476"/>
                  <a:gd name="T31" fmla="*/ 80 h 873"/>
                  <a:gd name="T32" fmla="*/ 44 w 476"/>
                  <a:gd name="T33" fmla="*/ 93 h 873"/>
                  <a:gd name="T34" fmla="*/ 70 w 476"/>
                  <a:gd name="T35" fmla="*/ 95 h 873"/>
                  <a:gd name="T36" fmla="*/ 426 w 476"/>
                  <a:gd name="T37" fmla="*/ 95 h 873"/>
                  <a:gd name="T38" fmla="*/ 444 w 476"/>
                  <a:gd name="T39" fmla="*/ 85 h 873"/>
                  <a:gd name="T40" fmla="*/ 455 w 476"/>
                  <a:gd name="T41" fmla="*/ 67 h 873"/>
                  <a:gd name="T42" fmla="*/ 453 w 476"/>
                  <a:gd name="T43" fmla="*/ 44 h 873"/>
                  <a:gd name="T44" fmla="*/ 439 w 476"/>
                  <a:gd name="T45" fmla="*/ 28 h 873"/>
                  <a:gd name="T46" fmla="*/ 418 w 476"/>
                  <a:gd name="T47" fmla="*/ 22 h 873"/>
                  <a:gd name="T48" fmla="*/ 417 w 476"/>
                  <a:gd name="T49" fmla="*/ 118 h 873"/>
                  <a:gd name="T50" fmla="*/ 414 w 476"/>
                  <a:gd name="T51" fmla="*/ 729 h 873"/>
                  <a:gd name="T52" fmla="*/ 395 w 476"/>
                  <a:gd name="T53" fmla="*/ 779 h 873"/>
                  <a:gd name="T54" fmla="*/ 365 w 476"/>
                  <a:gd name="T55" fmla="*/ 820 h 873"/>
                  <a:gd name="T56" fmla="*/ 323 w 476"/>
                  <a:gd name="T57" fmla="*/ 851 h 873"/>
                  <a:gd name="T58" fmla="*/ 274 w 476"/>
                  <a:gd name="T59" fmla="*/ 868 h 873"/>
                  <a:gd name="T60" fmla="*/ 219 w 476"/>
                  <a:gd name="T61" fmla="*/ 871 h 873"/>
                  <a:gd name="T62" fmla="*/ 169 w 476"/>
                  <a:gd name="T63" fmla="*/ 859 h 873"/>
                  <a:gd name="T64" fmla="*/ 124 w 476"/>
                  <a:gd name="T65" fmla="*/ 832 h 873"/>
                  <a:gd name="T66" fmla="*/ 90 w 476"/>
                  <a:gd name="T67" fmla="*/ 794 h 873"/>
                  <a:gd name="T68" fmla="*/ 67 w 476"/>
                  <a:gd name="T69" fmla="*/ 746 h 873"/>
                  <a:gd name="T70" fmla="*/ 60 w 476"/>
                  <a:gd name="T71" fmla="*/ 693 h 873"/>
                  <a:gd name="T72" fmla="*/ 53 w 476"/>
                  <a:gd name="T73" fmla="*/ 117 h 873"/>
                  <a:gd name="T74" fmla="*/ 36 w 476"/>
                  <a:gd name="T75" fmla="*/ 113 h 873"/>
                  <a:gd name="T76" fmla="*/ 13 w 476"/>
                  <a:gd name="T77" fmla="*/ 96 h 873"/>
                  <a:gd name="T78" fmla="*/ 4 w 476"/>
                  <a:gd name="T79" fmla="*/ 82 h 873"/>
                  <a:gd name="T80" fmla="*/ 0 w 476"/>
                  <a:gd name="T81" fmla="*/ 66 h 873"/>
                  <a:gd name="T82" fmla="*/ 1 w 476"/>
                  <a:gd name="T83" fmla="*/ 47 h 873"/>
                  <a:gd name="T84" fmla="*/ 10 w 476"/>
                  <a:gd name="T85" fmla="*/ 27 h 873"/>
                  <a:gd name="T86" fmla="*/ 26 w 476"/>
                  <a:gd name="T87" fmla="*/ 11 h 873"/>
                  <a:gd name="T88" fmla="*/ 41 w 476"/>
                  <a:gd name="T89" fmla="*/ 2 h 873"/>
                  <a:gd name="T90" fmla="*/ 58 w 476"/>
                  <a:gd name="T91" fmla="*/ 0 h 873"/>
                  <a:gd name="T92" fmla="*/ 430 w 476"/>
                  <a:gd name="T93" fmla="*/ 1 h 873"/>
                  <a:gd name="T94" fmla="*/ 445 w 476"/>
                  <a:gd name="T95" fmla="*/ 7 h 873"/>
                  <a:gd name="T96" fmla="*/ 459 w 476"/>
                  <a:gd name="T97" fmla="*/ 17 h 873"/>
                  <a:gd name="T98" fmla="*/ 473 w 476"/>
                  <a:gd name="T99" fmla="*/ 42 h 873"/>
                  <a:gd name="T100" fmla="*/ 476 w 476"/>
                  <a:gd name="T101" fmla="*/ 59 h 873"/>
                  <a:gd name="T102" fmla="*/ 473 w 476"/>
                  <a:gd name="T103" fmla="*/ 77 h 873"/>
                  <a:gd name="T104" fmla="*/ 467 w 476"/>
                  <a:gd name="T105" fmla="*/ 92 h 873"/>
                  <a:gd name="T106" fmla="*/ 450 w 476"/>
                  <a:gd name="T107" fmla="*/ 108 h 873"/>
                  <a:gd name="T108" fmla="*/ 430 w 476"/>
                  <a:gd name="T109" fmla="*/ 117 h 8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76" h="873">
                    <a:moveTo>
                      <a:pt x="80" y="118"/>
                    </a:moveTo>
                    <a:lnTo>
                      <a:pt x="80" y="693"/>
                    </a:lnTo>
                    <a:lnTo>
                      <a:pt x="81" y="709"/>
                    </a:lnTo>
                    <a:lnTo>
                      <a:pt x="83" y="725"/>
                    </a:lnTo>
                    <a:lnTo>
                      <a:pt x="88" y="741"/>
                    </a:lnTo>
                    <a:lnTo>
                      <a:pt x="93" y="755"/>
                    </a:lnTo>
                    <a:lnTo>
                      <a:pt x="100" y="769"/>
                    </a:lnTo>
                    <a:lnTo>
                      <a:pt x="107" y="782"/>
                    </a:lnTo>
                    <a:lnTo>
                      <a:pt x="117" y="795"/>
                    </a:lnTo>
                    <a:lnTo>
                      <a:pt x="127" y="806"/>
                    </a:lnTo>
                    <a:lnTo>
                      <a:pt x="137" y="816"/>
                    </a:lnTo>
                    <a:lnTo>
                      <a:pt x="150" y="825"/>
                    </a:lnTo>
                    <a:lnTo>
                      <a:pt x="163" y="833"/>
                    </a:lnTo>
                    <a:lnTo>
                      <a:pt x="177" y="840"/>
                    </a:lnTo>
                    <a:lnTo>
                      <a:pt x="191" y="846"/>
                    </a:lnTo>
                    <a:lnTo>
                      <a:pt x="206" y="849"/>
                    </a:lnTo>
                    <a:lnTo>
                      <a:pt x="222" y="852"/>
                    </a:lnTo>
                    <a:lnTo>
                      <a:pt x="238" y="852"/>
                    </a:lnTo>
                    <a:lnTo>
                      <a:pt x="254" y="852"/>
                    </a:lnTo>
                    <a:lnTo>
                      <a:pt x="270" y="849"/>
                    </a:lnTo>
                    <a:lnTo>
                      <a:pt x="285" y="846"/>
                    </a:lnTo>
                    <a:lnTo>
                      <a:pt x="299" y="840"/>
                    </a:lnTo>
                    <a:lnTo>
                      <a:pt x="313" y="833"/>
                    </a:lnTo>
                    <a:lnTo>
                      <a:pt x="326" y="825"/>
                    </a:lnTo>
                    <a:lnTo>
                      <a:pt x="338" y="816"/>
                    </a:lnTo>
                    <a:lnTo>
                      <a:pt x="350" y="806"/>
                    </a:lnTo>
                    <a:lnTo>
                      <a:pt x="360" y="795"/>
                    </a:lnTo>
                    <a:lnTo>
                      <a:pt x="368" y="782"/>
                    </a:lnTo>
                    <a:lnTo>
                      <a:pt x="377" y="769"/>
                    </a:lnTo>
                    <a:lnTo>
                      <a:pt x="384" y="755"/>
                    </a:lnTo>
                    <a:lnTo>
                      <a:pt x="389" y="741"/>
                    </a:lnTo>
                    <a:lnTo>
                      <a:pt x="392" y="725"/>
                    </a:lnTo>
                    <a:lnTo>
                      <a:pt x="395" y="709"/>
                    </a:lnTo>
                    <a:lnTo>
                      <a:pt x="395" y="693"/>
                    </a:lnTo>
                    <a:lnTo>
                      <a:pt x="395" y="118"/>
                    </a:lnTo>
                    <a:lnTo>
                      <a:pt x="80" y="118"/>
                    </a:lnTo>
                    <a:close/>
                    <a:moveTo>
                      <a:pt x="58" y="22"/>
                    </a:moveTo>
                    <a:lnTo>
                      <a:pt x="51" y="23"/>
                    </a:lnTo>
                    <a:lnTo>
                      <a:pt x="44" y="25"/>
                    </a:lnTo>
                    <a:lnTo>
                      <a:pt x="38" y="28"/>
                    </a:lnTo>
                    <a:lnTo>
                      <a:pt x="33" y="32"/>
                    </a:lnTo>
                    <a:lnTo>
                      <a:pt x="27" y="38"/>
                    </a:lnTo>
                    <a:lnTo>
                      <a:pt x="24" y="44"/>
                    </a:lnTo>
                    <a:lnTo>
                      <a:pt x="22" y="52"/>
                    </a:lnTo>
                    <a:lnTo>
                      <a:pt x="21" y="59"/>
                    </a:lnTo>
                    <a:lnTo>
                      <a:pt x="22" y="67"/>
                    </a:lnTo>
                    <a:lnTo>
                      <a:pt x="24" y="73"/>
                    </a:lnTo>
                    <a:lnTo>
                      <a:pt x="27" y="80"/>
                    </a:lnTo>
                    <a:lnTo>
                      <a:pt x="33" y="85"/>
                    </a:lnTo>
                    <a:lnTo>
                      <a:pt x="38" y="90"/>
                    </a:lnTo>
                    <a:lnTo>
                      <a:pt x="44" y="93"/>
                    </a:lnTo>
                    <a:lnTo>
                      <a:pt x="51" y="95"/>
                    </a:lnTo>
                    <a:lnTo>
                      <a:pt x="58" y="95"/>
                    </a:lnTo>
                    <a:lnTo>
                      <a:pt x="70" y="95"/>
                    </a:lnTo>
                    <a:lnTo>
                      <a:pt x="407" y="95"/>
                    </a:lnTo>
                    <a:lnTo>
                      <a:pt x="418" y="95"/>
                    </a:lnTo>
                    <a:lnTo>
                      <a:pt x="426" y="95"/>
                    </a:lnTo>
                    <a:lnTo>
                      <a:pt x="432" y="93"/>
                    </a:lnTo>
                    <a:lnTo>
                      <a:pt x="439" y="90"/>
                    </a:lnTo>
                    <a:lnTo>
                      <a:pt x="444" y="85"/>
                    </a:lnTo>
                    <a:lnTo>
                      <a:pt x="448" y="80"/>
                    </a:lnTo>
                    <a:lnTo>
                      <a:pt x="453" y="73"/>
                    </a:lnTo>
                    <a:lnTo>
                      <a:pt x="455" y="67"/>
                    </a:lnTo>
                    <a:lnTo>
                      <a:pt x="455" y="59"/>
                    </a:lnTo>
                    <a:lnTo>
                      <a:pt x="455" y="52"/>
                    </a:lnTo>
                    <a:lnTo>
                      <a:pt x="453" y="44"/>
                    </a:lnTo>
                    <a:lnTo>
                      <a:pt x="448" y="38"/>
                    </a:lnTo>
                    <a:lnTo>
                      <a:pt x="444" y="32"/>
                    </a:lnTo>
                    <a:lnTo>
                      <a:pt x="439" y="28"/>
                    </a:lnTo>
                    <a:lnTo>
                      <a:pt x="432" y="25"/>
                    </a:lnTo>
                    <a:lnTo>
                      <a:pt x="426" y="23"/>
                    </a:lnTo>
                    <a:lnTo>
                      <a:pt x="418" y="22"/>
                    </a:lnTo>
                    <a:lnTo>
                      <a:pt x="58" y="22"/>
                    </a:lnTo>
                    <a:close/>
                    <a:moveTo>
                      <a:pt x="418" y="118"/>
                    </a:moveTo>
                    <a:lnTo>
                      <a:pt x="417" y="118"/>
                    </a:lnTo>
                    <a:lnTo>
                      <a:pt x="417" y="693"/>
                    </a:lnTo>
                    <a:lnTo>
                      <a:pt x="416" y="712"/>
                    </a:lnTo>
                    <a:lnTo>
                      <a:pt x="414" y="729"/>
                    </a:lnTo>
                    <a:lnTo>
                      <a:pt x="409" y="746"/>
                    </a:lnTo>
                    <a:lnTo>
                      <a:pt x="403" y="763"/>
                    </a:lnTo>
                    <a:lnTo>
                      <a:pt x="395" y="779"/>
                    </a:lnTo>
                    <a:lnTo>
                      <a:pt x="387" y="794"/>
                    </a:lnTo>
                    <a:lnTo>
                      <a:pt x="376" y="808"/>
                    </a:lnTo>
                    <a:lnTo>
                      <a:pt x="365" y="820"/>
                    </a:lnTo>
                    <a:lnTo>
                      <a:pt x="352" y="832"/>
                    </a:lnTo>
                    <a:lnTo>
                      <a:pt x="338" y="842"/>
                    </a:lnTo>
                    <a:lnTo>
                      <a:pt x="323" y="851"/>
                    </a:lnTo>
                    <a:lnTo>
                      <a:pt x="308" y="859"/>
                    </a:lnTo>
                    <a:lnTo>
                      <a:pt x="292" y="864"/>
                    </a:lnTo>
                    <a:lnTo>
                      <a:pt x="274" y="868"/>
                    </a:lnTo>
                    <a:lnTo>
                      <a:pt x="256" y="871"/>
                    </a:lnTo>
                    <a:lnTo>
                      <a:pt x="238" y="873"/>
                    </a:lnTo>
                    <a:lnTo>
                      <a:pt x="219" y="871"/>
                    </a:lnTo>
                    <a:lnTo>
                      <a:pt x="202" y="868"/>
                    </a:lnTo>
                    <a:lnTo>
                      <a:pt x="185" y="864"/>
                    </a:lnTo>
                    <a:lnTo>
                      <a:pt x="169" y="859"/>
                    </a:lnTo>
                    <a:lnTo>
                      <a:pt x="152" y="851"/>
                    </a:lnTo>
                    <a:lnTo>
                      <a:pt x="138" y="842"/>
                    </a:lnTo>
                    <a:lnTo>
                      <a:pt x="124" y="832"/>
                    </a:lnTo>
                    <a:lnTo>
                      <a:pt x="111" y="820"/>
                    </a:lnTo>
                    <a:lnTo>
                      <a:pt x="101" y="808"/>
                    </a:lnTo>
                    <a:lnTo>
                      <a:pt x="90" y="794"/>
                    </a:lnTo>
                    <a:lnTo>
                      <a:pt x="81" y="779"/>
                    </a:lnTo>
                    <a:lnTo>
                      <a:pt x="74" y="763"/>
                    </a:lnTo>
                    <a:lnTo>
                      <a:pt x="67" y="746"/>
                    </a:lnTo>
                    <a:lnTo>
                      <a:pt x="63" y="729"/>
                    </a:lnTo>
                    <a:lnTo>
                      <a:pt x="60" y="712"/>
                    </a:lnTo>
                    <a:lnTo>
                      <a:pt x="60" y="693"/>
                    </a:lnTo>
                    <a:lnTo>
                      <a:pt x="60" y="118"/>
                    </a:lnTo>
                    <a:lnTo>
                      <a:pt x="58" y="118"/>
                    </a:lnTo>
                    <a:lnTo>
                      <a:pt x="53" y="117"/>
                    </a:lnTo>
                    <a:lnTo>
                      <a:pt x="47" y="117"/>
                    </a:lnTo>
                    <a:lnTo>
                      <a:pt x="41" y="114"/>
                    </a:lnTo>
                    <a:lnTo>
                      <a:pt x="36" y="113"/>
                    </a:lnTo>
                    <a:lnTo>
                      <a:pt x="26" y="108"/>
                    </a:lnTo>
                    <a:lnTo>
                      <a:pt x="17" y="100"/>
                    </a:lnTo>
                    <a:lnTo>
                      <a:pt x="13" y="96"/>
                    </a:lnTo>
                    <a:lnTo>
                      <a:pt x="10" y="92"/>
                    </a:lnTo>
                    <a:lnTo>
                      <a:pt x="7" y="87"/>
                    </a:lnTo>
                    <a:lnTo>
                      <a:pt x="4" y="82"/>
                    </a:lnTo>
                    <a:lnTo>
                      <a:pt x="2" y="77"/>
                    </a:lnTo>
                    <a:lnTo>
                      <a:pt x="1" y="71"/>
                    </a:lnTo>
                    <a:lnTo>
                      <a:pt x="0" y="66"/>
                    </a:lnTo>
                    <a:lnTo>
                      <a:pt x="0" y="59"/>
                    </a:lnTo>
                    <a:lnTo>
                      <a:pt x="0" y="54"/>
                    </a:lnTo>
                    <a:lnTo>
                      <a:pt x="1" y="47"/>
                    </a:lnTo>
                    <a:lnTo>
                      <a:pt x="2" y="42"/>
                    </a:lnTo>
                    <a:lnTo>
                      <a:pt x="4" y="37"/>
                    </a:lnTo>
                    <a:lnTo>
                      <a:pt x="10" y="27"/>
                    </a:lnTo>
                    <a:lnTo>
                      <a:pt x="17" y="17"/>
                    </a:lnTo>
                    <a:lnTo>
                      <a:pt x="22" y="14"/>
                    </a:lnTo>
                    <a:lnTo>
                      <a:pt x="26" y="11"/>
                    </a:lnTo>
                    <a:lnTo>
                      <a:pt x="30" y="7"/>
                    </a:lnTo>
                    <a:lnTo>
                      <a:pt x="36" y="4"/>
                    </a:lnTo>
                    <a:lnTo>
                      <a:pt x="41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8" y="0"/>
                    </a:lnTo>
                    <a:lnTo>
                      <a:pt x="418" y="0"/>
                    </a:lnTo>
                    <a:lnTo>
                      <a:pt x="423" y="0"/>
                    </a:lnTo>
                    <a:lnTo>
                      <a:pt x="430" y="1"/>
                    </a:lnTo>
                    <a:lnTo>
                      <a:pt x="435" y="2"/>
                    </a:lnTo>
                    <a:lnTo>
                      <a:pt x="441" y="4"/>
                    </a:lnTo>
                    <a:lnTo>
                      <a:pt x="445" y="7"/>
                    </a:lnTo>
                    <a:lnTo>
                      <a:pt x="450" y="11"/>
                    </a:lnTo>
                    <a:lnTo>
                      <a:pt x="455" y="14"/>
                    </a:lnTo>
                    <a:lnTo>
                      <a:pt x="459" y="17"/>
                    </a:lnTo>
                    <a:lnTo>
                      <a:pt x="467" y="27"/>
                    </a:lnTo>
                    <a:lnTo>
                      <a:pt x="472" y="37"/>
                    </a:lnTo>
                    <a:lnTo>
                      <a:pt x="473" y="42"/>
                    </a:lnTo>
                    <a:lnTo>
                      <a:pt x="475" y="47"/>
                    </a:lnTo>
                    <a:lnTo>
                      <a:pt x="476" y="54"/>
                    </a:lnTo>
                    <a:lnTo>
                      <a:pt x="476" y="59"/>
                    </a:lnTo>
                    <a:lnTo>
                      <a:pt x="476" y="66"/>
                    </a:lnTo>
                    <a:lnTo>
                      <a:pt x="475" y="71"/>
                    </a:lnTo>
                    <a:lnTo>
                      <a:pt x="473" y="77"/>
                    </a:lnTo>
                    <a:lnTo>
                      <a:pt x="472" y="82"/>
                    </a:lnTo>
                    <a:lnTo>
                      <a:pt x="469" y="87"/>
                    </a:lnTo>
                    <a:lnTo>
                      <a:pt x="467" y="92"/>
                    </a:lnTo>
                    <a:lnTo>
                      <a:pt x="462" y="96"/>
                    </a:lnTo>
                    <a:lnTo>
                      <a:pt x="459" y="100"/>
                    </a:lnTo>
                    <a:lnTo>
                      <a:pt x="450" y="108"/>
                    </a:lnTo>
                    <a:lnTo>
                      <a:pt x="441" y="113"/>
                    </a:lnTo>
                    <a:lnTo>
                      <a:pt x="435" y="114"/>
                    </a:lnTo>
                    <a:lnTo>
                      <a:pt x="430" y="117"/>
                    </a:lnTo>
                    <a:lnTo>
                      <a:pt x="423" y="117"/>
                    </a:lnTo>
                    <a:lnTo>
                      <a:pt x="418" y="118"/>
                    </a:lnTo>
                    <a:close/>
                  </a:path>
                </a:pathLst>
              </a:custGeom>
              <a:solidFill>
                <a:srgbClr val="004077"/>
              </a:solidFill>
              <a:ln w="9525">
                <a:solidFill>
                  <a:srgbClr val="EF6213"/>
                </a:solidFill>
                <a:round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Freeform 60"/>
              <p:cNvSpPr>
                <a:spLocks noEditPoints="1"/>
              </p:cNvSpPr>
              <p:nvPr/>
            </p:nvSpPr>
            <p:spPr bwMode="auto">
              <a:xfrm>
                <a:off x="1220788" y="2335213"/>
                <a:ext cx="107950" cy="228600"/>
              </a:xfrm>
              <a:custGeom>
                <a:avLst/>
                <a:gdLst>
                  <a:gd name="T0" fmla="*/ 20 w 269"/>
                  <a:gd name="T1" fmla="*/ 444 h 578"/>
                  <a:gd name="T2" fmla="*/ 23 w 269"/>
                  <a:gd name="T3" fmla="*/ 466 h 578"/>
                  <a:gd name="T4" fmla="*/ 29 w 269"/>
                  <a:gd name="T5" fmla="*/ 488 h 578"/>
                  <a:gd name="T6" fmla="*/ 40 w 269"/>
                  <a:gd name="T7" fmla="*/ 507 h 578"/>
                  <a:gd name="T8" fmla="*/ 54 w 269"/>
                  <a:gd name="T9" fmla="*/ 524 h 578"/>
                  <a:gd name="T10" fmla="*/ 71 w 269"/>
                  <a:gd name="T11" fmla="*/ 538 h 578"/>
                  <a:gd name="T12" fmla="*/ 89 w 269"/>
                  <a:gd name="T13" fmla="*/ 548 h 578"/>
                  <a:gd name="T14" fmla="*/ 111 w 269"/>
                  <a:gd name="T15" fmla="*/ 555 h 578"/>
                  <a:gd name="T16" fmla="*/ 134 w 269"/>
                  <a:gd name="T17" fmla="*/ 558 h 578"/>
                  <a:gd name="T18" fmla="*/ 156 w 269"/>
                  <a:gd name="T19" fmla="*/ 555 h 578"/>
                  <a:gd name="T20" fmla="*/ 178 w 269"/>
                  <a:gd name="T21" fmla="*/ 548 h 578"/>
                  <a:gd name="T22" fmla="*/ 197 w 269"/>
                  <a:gd name="T23" fmla="*/ 538 h 578"/>
                  <a:gd name="T24" fmla="*/ 215 w 269"/>
                  <a:gd name="T25" fmla="*/ 524 h 578"/>
                  <a:gd name="T26" fmla="*/ 228 w 269"/>
                  <a:gd name="T27" fmla="*/ 507 h 578"/>
                  <a:gd name="T28" fmla="*/ 238 w 269"/>
                  <a:gd name="T29" fmla="*/ 488 h 578"/>
                  <a:gd name="T30" fmla="*/ 245 w 269"/>
                  <a:gd name="T31" fmla="*/ 466 h 578"/>
                  <a:gd name="T32" fmla="*/ 247 w 269"/>
                  <a:gd name="T33" fmla="*/ 444 h 578"/>
                  <a:gd name="T34" fmla="*/ 20 w 269"/>
                  <a:gd name="T35" fmla="*/ 21 h 578"/>
                  <a:gd name="T36" fmla="*/ 121 w 269"/>
                  <a:gd name="T37" fmla="*/ 576 h 578"/>
                  <a:gd name="T38" fmla="*/ 94 w 269"/>
                  <a:gd name="T39" fmla="*/ 571 h 578"/>
                  <a:gd name="T40" fmla="*/ 70 w 269"/>
                  <a:gd name="T41" fmla="*/ 561 h 578"/>
                  <a:gd name="T42" fmla="*/ 48 w 269"/>
                  <a:gd name="T43" fmla="*/ 547 h 578"/>
                  <a:gd name="T44" fmla="*/ 30 w 269"/>
                  <a:gd name="T45" fmla="*/ 529 h 578"/>
                  <a:gd name="T46" fmla="*/ 16 w 269"/>
                  <a:gd name="T47" fmla="*/ 507 h 578"/>
                  <a:gd name="T48" fmla="*/ 5 w 269"/>
                  <a:gd name="T49" fmla="*/ 484 h 578"/>
                  <a:gd name="T50" fmla="*/ 0 w 269"/>
                  <a:gd name="T51" fmla="*/ 458 h 578"/>
                  <a:gd name="T52" fmla="*/ 0 w 269"/>
                  <a:gd name="T53" fmla="*/ 12 h 578"/>
                  <a:gd name="T54" fmla="*/ 2 w 269"/>
                  <a:gd name="T55" fmla="*/ 4 h 578"/>
                  <a:gd name="T56" fmla="*/ 10 w 269"/>
                  <a:gd name="T57" fmla="*/ 0 h 578"/>
                  <a:gd name="T58" fmla="*/ 262 w 269"/>
                  <a:gd name="T59" fmla="*/ 1 h 578"/>
                  <a:gd name="T60" fmla="*/ 268 w 269"/>
                  <a:gd name="T61" fmla="*/ 7 h 578"/>
                  <a:gd name="T62" fmla="*/ 269 w 269"/>
                  <a:gd name="T63" fmla="*/ 444 h 578"/>
                  <a:gd name="T64" fmla="*/ 267 w 269"/>
                  <a:gd name="T65" fmla="*/ 471 h 578"/>
                  <a:gd name="T66" fmla="*/ 258 w 269"/>
                  <a:gd name="T67" fmla="*/ 497 h 578"/>
                  <a:gd name="T68" fmla="*/ 246 w 269"/>
                  <a:gd name="T69" fmla="*/ 519 h 578"/>
                  <a:gd name="T70" fmla="*/ 230 w 269"/>
                  <a:gd name="T71" fmla="*/ 539 h 578"/>
                  <a:gd name="T72" fmla="*/ 209 w 269"/>
                  <a:gd name="T73" fmla="*/ 555 h 578"/>
                  <a:gd name="T74" fmla="*/ 187 w 269"/>
                  <a:gd name="T75" fmla="*/ 567 h 578"/>
                  <a:gd name="T76" fmla="*/ 161 w 269"/>
                  <a:gd name="T77" fmla="*/ 575 h 578"/>
                  <a:gd name="T78" fmla="*/ 134 w 269"/>
                  <a:gd name="T79" fmla="*/ 578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69" h="578">
                    <a:moveTo>
                      <a:pt x="20" y="21"/>
                    </a:moveTo>
                    <a:lnTo>
                      <a:pt x="20" y="444"/>
                    </a:lnTo>
                    <a:lnTo>
                      <a:pt x="21" y="456"/>
                    </a:lnTo>
                    <a:lnTo>
                      <a:pt x="23" y="466"/>
                    </a:lnTo>
                    <a:lnTo>
                      <a:pt x="26" y="477"/>
                    </a:lnTo>
                    <a:lnTo>
                      <a:pt x="29" y="488"/>
                    </a:lnTo>
                    <a:lnTo>
                      <a:pt x="34" y="498"/>
                    </a:lnTo>
                    <a:lnTo>
                      <a:pt x="40" y="507"/>
                    </a:lnTo>
                    <a:lnTo>
                      <a:pt x="46" y="516"/>
                    </a:lnTo>
                    <a:lnTo>
                      <a:pt x="54" y="524"/>
                    </a:lnTo>
                    <a:lnTo>
                      <a:pt x="61" y="531"/>
                    </a:lnTo>
                    <a:lnTo>
                      <a:pt x="71" y="538"/>
                    </a:lnTo>
                    <a:lnTo>
                      <a:pt x="80" y="544"/>
                    </a:lnTo>
                    <a:lnTo>
                      <a:pt x="89" y="548"/>
                    </a:lnTo>
                    <a:lnTo>
                      <a:pt x="100" y="553"/>
                    </a:lnTo>
                    <a:lnTo>
                      <a:pt x="111" y="555"/>
                    </a:lnTo>
                    <a:lnTo>
                      <a:pt x="123" y="557"/>
                    </a:lnTo>
                    <a:lnTo>
                      <a:pt x="134" y="558"/>
                    </a:lnTo>
                    <a:lnTo>
                      <a:pt x="146" y="557"/>
                    </a:lnTo>
                    <a:lnTo>
                      <a:pt x="156" y="555"/>
                    </a:lnTo>
                    <a:lnTo>
                      <a:pt x="168" y="553"/>
                    </a:lnTo>
                    <a:lnTo>
                      <a:pt x="178" y="548"/>
                    </a:lnTo>
                    <a:lnTo>
                      <a:pt x="188" y="544"/>
                    </a:lnTo>
                    <a:lnTo>
                      <a:pt x="197" y="538"/>
                    </a:lnTo>
                    <a:lnTo>
                      <a:pt x="206" y="531"/>
                    </a:lnTo>
                    <a:lnTo>
                      <a:pt x="215" y="524"/>
                    </a:lnTo>
                    <a:lnTo>
                      <a:pt x="221" y="516"/>
                    </a:lnTo>
                    <a:lnTo>
                      <a:pt x="228" y="507"/>
                    </a:lnTo>
                    <a:lnTo>
                      <a:pt x="234" y="498"/>
                    </a:lnTo>
                    <a:lnTo>
                      <a:pt x="238" y="488"/>
                    </a:lnTo>
                    <a:lnTo>
                      <a:pt x="243" y="477"/>
                    </a:lnTo>
                    <a:lnTo>
                      <a:pt x="245" y="466"/>
                    </a:lnTo>
                    <a:lnTo>
                      <a:pt x="247" y="456"/>
                    </a:lnTo>
                    <a:lnTo>
                      <a:pt x="247" y="444"/>
                    </a:lnTo>
                    <a:lnTo>
                      <a:pt x="247" y="21"/>
                    </a:lnTo>
                    <a:lnTo>
                      <a:pt x="20" y="21"/>
                    </a:lnTo>
                    <a:close/>
                    <a:moveTo>
                      <a:pt x="134" y="578"/>
                    </a:moveTo>
                    <a:lnTo>
                      <a:pt x="121" y="576"/>
                    </a:lnTo>
                    <a:lnTo>
                      <a:pt x="107" y="575"/>
                    </a:lnTo>
                    <a:lnTo>
                      <a:pt x="94" y="571"/>
                    </a:lnTo>
                    <a:lnTo>
                      <a:pt x="82" y="567"/>
                    </a:lnTo>
                    <a:lnTo>
                      <a:pt x="70" y="561"/>
                    </a:lnTo>
                    <a:lnTo>
                      <a:pt x="59" y="555"/>
                    </a:lnTo>
                    <a:lnTo>
                      <a:pt x="48" y="547"/>
                    </a:lnTo>
                    <a:lnTo>
                      <a:pt x="39" y="539"/>
                    </a:lnTo>
                    <a:lnTo>
                      <a:pt x="30" y="529"/>
                    </a:lnTo>
                    <a:lnTo>
                      <a:pt x="23" y="519"/>
                    </a:lnTo>
                    <a:lnTo>
                      <a:pt x="16" y="507"/>
                    </a:lnTo>
                    <a:lnTo>
                      <a:pt x="10" y="497"/>
                    </a:lnTo>
                    <a:lnTo>
                      <a:pt x="5" y="484"/>
                    </a:lnTo>
                    <a:lnTo>
                      <a:pt x="2" y="471"/>
                    </a:lnTo>
                    <a:lnTo>
                      <a:pt x="0" y="458"/>
                    </a:lnTo>
                    <a:lnTo>
                      <a:pt x="0" y="444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6" y="1"/>
                    </a:lnTo>
                    <a:lnTo>
                      <a:pt x="10" y="0"/>
                    </a:lnTo>
                    <a:lnTo>
                      <a:pt x="259" y="0"/>
                    </a:lnTo>
                    <a:lnTo>
                      <a:pt x="262" y="1"/>
                    </a:lnTo>
                    <a:lnTo>
                      <a:pt x="265" y="4"/>
                    </a:lnTo>
                    <a:lnTo>
                      <a:pt x="268" y="7"/>
                    </a:lnTo>
                    <a:lnTo>
                      <a:pt x="269" y="12"/>
                    </a:lnTo>
                    <a:lnTo>
                      <a:pt x="269" y="444"/>
                    </a:lnTo>
                    <a:lnTo>
                      <a:pt x="269" y="458"/>
                    </a:lnTo>
                    <a:lnTo>
                      <a:pt x="267" y="471"/>
                    </a:lnTo>
                    <a:lnTo>
                      <a:pt x="263" y="484"/>
                    </a:lnTo>
                    <a:lnTo>
                      <a:pt x="258" y="497"/>
                    </a:lnTo>
                    <a:lnTo>
                      <a:pt x="253" y="507"/>
                    </a:lnTo>
                    <a:lnTo>
                      <a:pt x="246" y="519"/>
                    </a:lnTo>
                    <a:lnTo>
                      <a:pt x="238" y="529"/>
                    </a:lnTo>
                    <a:lnTo>
                      <a:pt x="230" y="539"/>
                    </a:lnTo>
                    <a:lnTo>
                      <a:pt x="220" y="547"/>
                    </a:lnTo>
                    <a:lnTo>
                      <a:pt x="209" y="555"/>
                    </a:lnTo>
                    <a:lnTo>
                      <a:pt x="199" y="561"/>
                    </a:lnTo>
                    <a:lnTo>
                      <a:pt x="187" y="567"/>
                    </a:lnTo>
                    <a:lnTo>
                      <a:pt x="174" y="571"/>
                    </a:lnTo>
                    <a:lnTo>
                      <a:pt x="161" y="575"/>
                    </a:lnTo>
                    <a:lnTo>
                      <a:pt x="148" y="576"/>
                    </a:lnTo>
                    <a:lnTo>
                      <a:pt x="134" y="578"/>
                    </a:lnTo>
                    <a:close/>
                  </a:path>
                </a:pathLst>
              </a:custGeom>
              <a:solidFill>
                <a:srgbClr val="0070BA"/>
              </a:solidFill>
              <a:ln w="9525">
                <a:solidFill>
                  <a:srgbClr val="EF6213"/>
                </a:solidFill>
                <a:round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2" name="Овал 21"/>
            <p:cNvSpPr/>
            <p:nvPr/>
          </p:nvSpPr>
          <p:spPr>
            <a:xfrm>
              <a:off x="711519" y="1234411"/>
              <a:ext cx="416788" cy="418783"/>
            </a:xfrm>
            <a:prstGeom prst="ellipse">
              <a:avLst/>
            </a:prstGeom>
            <a:noFill/>
            <a:ln w="12700">
              <a:solidFill>
                <a:srgbClr val="54535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8" name="benzovoz"/>
          <p:cNvGrpSpPr>
            <a:grpSpLocks noChangeAspect="1"/>
          </p:cNvGrpSpPr>
          <p:nvPr/>
        </p:nvGrpSpPr>
        <p:grpSpPr>
          <a:xfrm>
            <a:off x="732729" y="1668445"/>
            <a:ext cx="257732" cy="262350"/>
            <a:chOff x="5407025" y="3109913"/>
            <a:chExt cx="442913" cy="450850"/>
          </a:xfrm>
        </p:grpSpPr>
        <p:sp>
          <p:nvSpPr>
            <p:cNvPr id="93" name="Freeform 404"/>
            <p:cNvSpPr>
              <a:spLocks noEditPoints="1"/>
            </p:cNvSpPr>
            <p:nvPr/>
          </p:nvSpPr>
          <p:spPr bwMode="auto">
            <a:xfrm>
              <a:off x="5407025" y="3109913"/>
              <a:ext cx="442913" cy="450850"/>
            </a:xfrm>
            <a:custGeom>
              <a:avLst/>
              <a:gdLst>
                <a:gd name="T0" fmla="*/ 538 w 1119"/>
                <a:gd name="T1" fmla="*/ 49 h 1137"/>
                <a:gd name="T2" fmla="*/ 971 w 1119"/>
                <a:gd name="T3" fmla="*/ 537 h 1137"/>
                <a:gd name="T4" fmla="*/ 950 w 1119"/>
                <a:gd name="T5" fmla="*/ 447 h 1137"/>
                <a:gd name="T6" fmla="*/ 950 w 1119"/>
                <a:gd name="T7" fmla="*/ 332 h 1137"/>
                <a:gd name="T8" fmla="*/ 832 w 1119"/>
                <a:gd name="T9" fmla="*/ 172 h 1137"/>
                <a:gd name="T10" fmla="*/ 653 w 1119"/>
                <a:gd name="T11" fmla="*/ 83 h 1137"/>
                <a:gd name="T12" fmla="*/ 447 w 1119"/>
                <a:gd name="T13" fmla="*/ 87 h 1137"/>
                <a:gd name="T14" fmla="*/ 272 w 1119"/>
                <a:gd name="T15" fmla="*/ 184 h 1137"/>
                <a:gd name="T16" fmla="*/ 159 w 1119"/>
                <a:gd name="T17" fmla="*/ 349 h 1137"/>
                <a:gd name="T18" fmla="*/ 170 w 1119"/>
                <a:gd name="T19" fmla="*/ 453 h 1137"/>
                <a:gd name="T20" fmla="*/ 184 w 1119"/>
                <a:gd name="T21" fmla="*/ 566 h 1137"/>
                <a:gd name="T22" fmla="*/ 267 w 1119"/>
                <a:gd name="T23" fmla="*/ 297 h 1137"/>
                <a:gd name="T24" fmla="*/ 891 w 1119"/>
                <a:gd name="T25" fmla="*/ 345 h 1137"/>
                <a:gd name="T26" fmla="*/ 963 w 1119"/>
                <a:gd name="T27" fmla="*/ 632 h 1137"/>
                <a:gd name="T28" fmla="*/ 974 w 1119"/>
                <a:gd name="T29" fmla="*/ 508 h 1137"/>
                <a:gd name="T30" fmla="*/ 1095 w 1119"/>
                <a:gd name="T31" fmla="*/ 501 h 1137"/>
                <a:gd name="T32" fmla="*/ 991 w 1119"/>
                <a:gd name="T33" fmla="*/ 445 h 1137"/>
                <a:gd name="T34" fmla="*/ 934 w 1119"/>
                <a:gd name="T35" fmla="*/ 746 h 1137"/>
                <a:gd name="T36" fmla="*/ 954 w 1119"/>
                <a:gd name="T37" fmla="*/ 1021 h 1137"/>
                <a:gd name="T38" fmla="*/ 829 w 1119"/>
                <a:gd name="T39" fmla="*/ 1137 h 1137"/>
                <a:gd name="T40" fmla="*/ 422 w 1119"/>
                <a:gd name="T41" fmla="*/ 1021 h 1137"/>
                <a:gd name="T42" fmla="*/ 241 w 1119"/>
                <a:gd name="T43" fmla="*/ 1137 h 1137"/>
                <a:gd name="T44" fmla="*/ 158 w 1119"/>
                <a:gd name="T45" fmla="*/ 1020 h 1137"/>
                <a:gd name="T46" fmla="*/ 170 w 1119"/>
                <a:gd name="T47" fmla="*/ 724 h 1137"/>
                <a:gd name="T48" fmla="*/ 17 w 1119"/>
                <a:gd name="T49" fmla="*/ 534 h 1137"/>
                <a:gd name="T50" fmla="*/ 17 w 1119"/>
                <a:gd name="T51" fmla="*/ 428 h 1137"/>
                <a:gd name="T52" fmla="*/ 191 w 1119"/>
                <a:gd name="T53" fmla="*/ 241 h 1137"/>
                <a:gd name="T54" fmla="*/ 382 w 1119"/>
                <a:gd name="T55" fmla="*/ 6 h 1137"/>
                <a:gd name="T56" fmla="*/ 786 w 1119"/>
                <a:gd name="T57" fmla="*/ 110 h 1137"/>
                <a:gd name="T58" fmla="*/ 979 w 1119"/>
                <a:gd name="T59" fmla="*/ 338 h 1137"/>
                <a:gd name="T60" fmla="*/ 1117 w 1119"/>
                <a:gd name="T61" fmla="*/ 451 h 1137"/>
                <a:gd name="T62" fmla="*/ 184 w 1119"/>
                <a:gd name="T63" fmla="*/ 596 h 1137"/>
                <a:gd name="T64" fmla="*/ 184 w 1119"/>
                <a:gd name="T65" fmla="*/ 596 h 1137"/>
                <a:gd name="T66" fmla="*/ 121 w 1119"/>
                <a:gd name="T67" fmla="*/ 517 h 1137"/>
                <a:gd name="T68" fmla="*/ 137 w 1119"/>
                <a:gd name="T69" fmla="*/ 446 h 1137"/>
                <a:gd name="T70" fmla="*/ 415 w 1119"/>
                <a:gd name="T71" fmla="*/ 940 h 1137"/>
                <a:gd name="T72" fmla="*/ 799 w 1119"/>
                <a:gd name="T73" fmla="*/ 996 h 1137"/>
                <a:gd name="T74" fmla="*/ 766 w 1119"/>
                <a:gd name="T75" fmla="*/ 887 h 1137"/>
                <a:gd name="T76" fmla="*/ 318 w 1119"/>
                <a:gd name="T77" fmla="*/ 996 h 1137"/>
                <a:gd name="T78" fmla="*/ 441 w 1119"/>
                <a:gd name="T79" fmla="*/ 796 h 1137"/>
                <a:gd name="T80" fmla="*/ 674 w 1119"/>
                <a:gd name="T81" fmla="*/ 734 h 1137"/>
                <a:gd name="T82" fmla="*/ 415 w 1119"/>
                <a:gd name="T83" fmla="*/ 795 h 1137"/>
                <a:gd name="T84" fmla="*/ 670 w 1119"/>
                <a:gd name="T85" fmla="*/ 711 h 1137"/>
                <a:gd name="T86" fmla="*/ 701 w 1119"/>
                <a:gd name="T87" fmla="*/ 801 h 1137"/>
                <a:gd name="T88" fmla="*/ 812 w 1119"/>
                <a:gd name="T89" fmla="*/ 1101 h 1137"/>
                <a:gd name="T90" fmla="*/ 890 w 1119"/>
                <a:gd name="T91" fmla="*/ 1107 h 1137"/>
                <a:gd name="T92" fmla="*/ 225 w 1119"/>
                <a:gd name="T93" fmla="*/ 1104 h 1137"/>
                <a:gd name="T94" fmla="*/ 304 w 1119"/>
                <a:gd name="T95" fmla="*/ 1104 h 1137"/>
                <a:gd name="T96" fmla="*/ 796 w 1119"/>
                <a:gd name="T97" fmla="*/ 822 h 1137"/>
                <a:gd name="T98" fmla="*/ 830 w 1119"/>
                <a:gd name="T99" fmla="*/ 318 h 1137"/>
                <a:gd name="T100" fmla="*/ 245 w 1119"/>
                <a:gd name="T101" fmla="*/ 371 h 1137"/>
                <a:gd name="T102" fmla="*/ 286 w 1119"/>
                <a:gd name="T103" fmla="*/ 546 h 1137"/>
                <a:gd name="T104" fmla="*/ 816 w 1119"/>
                <a:gd name="T105" fmla="*/ 579 h 1137"/>
                <a:gd name="T106" fmla="*/ 800 w 1119"/>
                <a:gd name="T107" fmla="*/ 378 h 1137"/>
                <a:gd name="T108" fmla="*/ 274 w 1119"/>
                <a:gd name="T109" fmla="*/ 588 h 1137"/>
                <a:gd name="T110" fmla="*/ 301 w 1119"/>
                <a:gd name="T111" fmla="*/ 361 h 1137"/>
                <a:gd name="T112" fmla="*/ 824 w 1119"/>
                <a:gd name="T113" fmla="*/ 372 h 1137"/>
                <a:gd name="T114" fmla="*/ 837 w 1119"/>
                <a:gd name="T115" fmla="*/ 596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9" h="1137">
                  <a:moveTo>
                    <a:pt x="712" y="75"/>
                  </a:moveTo>
                  <a:lnTo>
                    <a:pt x="712" y="24"/>
                  </a:lnTo>
                  <a:lnTo>
                    <a:pt x="405" y="24"/>
                  </a:lnTo>
                  <a:lnTo>
                    <a:pt x="405" y="75"/>
                  </a:lnTo>
                  <a:lnTo>
                    <a:pt x="424" y="70"/>
                  </a:lnTo>
                  <a:lnTo>
                    <a:pt x="442" y="63"/>
                  </a:lnTo>
                  <a:lnTo>
                    <a:pt x="461" y="59"/>
                  </a:lnTo>
                  <a:lnTo>
                    <a:pt x="480" y="55"/>
                  </a:lnTo>
                  <a:lnTo>
                    <a:pt x="499" y="51"/>
                  </a:lnTo>
                  <a:lnTo>
                    <a:pt x="518" y="50"/>
                  </a:lnTo>
                  <a:lnTo>
                    <a:pt x="538" y="49"/>
                  </a:lnTo>
                  <a:lnTo>
                    <a:pt x="558" y="47"/>
                  </a:lnTo>
                  <a:lnTo>
                    <a:pt x="579" y="49"/>
                  </a:lnTo>
                  <a:lnTo>
                    <a:pt x="599" y="50"/>
                  </a:lnTo>
                  <a:lnTo>
                    <a:pt x="618" y="51"/>
                  </a:lnTo>
                  <a:lnTo>
                    <a:pt x="637" y="55"/>
                  </a:lnTo>
                  <a:lnTo>
                    <a:pt x="657" y="59"/>
                  </a:lnTo>
                  <a:lnTo>
                    <a:pt x="675" y="63"/>
                  </a:lnTo>
                  <a:lnTo>
                    <a:pt x="694" y="70"/>
                  </a:lnTo>
                  <a:lnTo>
                    <a:pt x="712" y="75"/>
                  </a:lnTo>
                  <a:close/>
                  <a:moveTo>
                    <a:pt x="934" y="566"/>
                  </a:moveTo>
                  <a:lnTo>
                    <a:pt x="971" y="537"/>
                  </a:lnTo>
                  <a:lnTo>
                    <a:pt x="967" y="534"/>
                  </a:lnTo>
                  <a:lnTo>
                    <a:pt x="962" y="532"/>
                  </a:lnTo>
                  <a:lnTo>
                    <a:pt x="958" y="528"/>
                  </a:lnTo>
                  <a:lnTo>
                    <a:pt x="955" y="522"/>
                  </a:lnTo>
                  <a:lnTo>
                    <a:pt x="953" y="518"/>
                  </a:lnTo>
                  <a:lnTo>
                    <a:pt x="950" y="513"/>
                  </a:lnTo>
                  <a:lnTo>
                    <a:pt x="949" y="507"/>
                  </a:lnTo>
                  <a:lnTo>
                    <a:pt x="949" y="501"/>
                  </a:lnTo>
                  <a:lnTo>
                    <a:pt x="949" y="459"/>
                  </a:lnTo>
                  <a:lnTo>
                    <a:pt x="949" y="453"/>
                  </a:lnTo>
                  <a:lnTo>
                    <a:pt x="950" y="447"/>
                  </a:lnTo>
                  <a:lnTo>
                    <a:pt x="953" y="441"/>
                  </a:lnTo>
                  <a:lnTo>
                    <a:pt x="957" y="436"/>
                  </a:lnTo>
                  <a:lnTo>
                    <a:pt x="961" y="432"/>
                  </a:lnTo>
                  <a:lnTo>
                    <a:pt x="966" y="428"/>
                  </a:lnTo>
                  <a:lnTo>
                    <a:pt x="971" y="424"/>
                  </a:lnTo>
                  <a:lnTo>
                    <a:pt x="978" y="422"/>
                  </a:lnTo>
                  <a:lnTo>
                    <a:pt x="974" y="403"/>
                  </a:lnTo>
                  <a:lnTo>
                    <a:pt x="969" y="384"/>
                  </a:lnTo>
                  <a:lnTo>
                    <a:pt x="963" y="367"/>
                  </a:lnTo>
                  <a:lnTo>
                    <a:pt x="958" y="349"/>
                  </a:lnTo>
                  <a:lnTo>
                    <a:pt x="950" y="332"/>
                  </a:lnTo>
                  <a:lnTo>
                    <a:pt x="944" y="316"/>
                  </a:lnTo>
                  <a:lnTo>
                    <a:pt x="934" y="299"/>
                  </a:lnTo>
                  <a:lnTo>
                    <a:pt x="925" y="283"/>
                  </a:lnTo>
                  <a:lnTo>
                    <a:pt x="916" y="267"/>
                  </a:lnTo>
                  <a:lnTo>
                    <a:pt x="905" y="253"/>
                  </a:lnTo>
                  <a:lnTo>
                    <a:pt x="895" y="237"/>
                  </a:lnTo>
                  <a:lnTo>
                    <a:pt x="883" y="224"/>
                  </a:lnTo>
                  <a:lnTo>
                    <a:pt x="871" y="209"/>
                  </a:lnTo>
                  <a:lnTo>
                    <a:pt x="858" y="196"/>
                  </a:lnTo>
                  <a:lnTo>
                    <a:pt x="845" y="184"/>
                  </a:lnTo>
                  <a:lnTo>
                    <a:pt x="832" y="172"/>
                  </a:lnTo>
                  <a:lnTo>
                    <a:pt x="817" y="160"/>
                  </a:lnTo>
                  <a:lnTo>
                    <a:pt x="803" y="150"/>
                  </a:lnTo>
                  <a:lnTo>
                    <a:pt x="787" y="139"/>
                  </a:lnTo>
                  <a:lnTo>
                    <a:pt x="771" y="130"/>
                  </a:lnTo>
                  <a:lnTo>
                    <a:pt x="755" y="121"/>
                  </a:lnTo>
                  <a:lnTo>
                    <a:pt x="740" y="113"/>
                  </a:lnTo>
                  <a:lnTo>
                    <a:pt x="722" y="105"/>
                  </a:lnTo>
                  <a:lnTo>
                    <a:pt x="705" y="99"/>
                  </a:lnTo>
                  <a:lnTo>
                    <a:pt x="688" y="92"/>
                  </a:lnTo>
                  <a:lnTo>
                    <a:pt x="670" y="87"/>
                  </a:lnTo>
                  <a:lnTo>
                    <a:pt x="653" y="83"/>
                  </a:lnTo>
                  <a:lnTo>
                    <a:pt x="634" y="79"/>
                  </a:lnTo>
                  <a:lnTo>
                    <a:pt x="616" y="76"/>
                  </a:lnTo>
                  <a:lnTo>
                    <a:pt x="596" y="74"/>
                  </a:lnTo>
                  <a:lnTo>
                    <a:pt x="578" y="72"/>
                  </a:lnTo>
                  <a:lnTo>
                    <a:pt x="558" y="72"/>
                  </a:lnTo>
                  <a:lnTo>
                    <a:pt x="540" y="72"/>
                  </a:lnTo>
                  <a:lnTo>
                    <a:pt x="521" y="74"/>
                  </a:lnTo>
                  <a:lnTo>
                    <a:pt x="501" y="76"/>
                  </a:lnTo>
                  <a:lnTo>
                    <a:pt x="483" y="79"/>
                  </a:lnTo>
                  <a:lnTo>
                    <a:pt x="465" y="83"/>
                  </a:lnTo>
                  <a:lnTo>
                    <a:pt x="447" y="87"/>
                  </a:lnTo>
                  <a:lnTo>
                    <a:pt x="429" y="92"/>
                  </a:lnTo>
                  <a:lnTo>
                    <a:pt x="412" y="99"/>
                  </a:lnTo>
                  <a:lnTo>
                    <a:pt x="395" y="105"/>
                  </a:lnTo>
                  <a:lnTo>
                    <a:pt x="378" y="113"/>
                  </a:lnTo>
                  <a:lnTo>
                    <a:pt x="362" y="121"/>
                  </a:lnTo>
                  <a:lnTo>
                    <a:pt x="346" y="130"/>
                  </a:lnTo>
                  <a:lnTo>
                    <a:pt x="330" y="139"/>
                  </a:lnTo>
                  <a:lnTo>
                    <a:pt x="314" y="150"/>
                  </a:lnTo>
                  <a:lnTo>
                    <a:pt x="300" y="160"/>
                  </a:lnTo>
                  <a:lnTo>
                    <a:pt x="286" y="172"/>
                  </a:lnTo>
                  <a:lnTo>
                    <a:pt x="272" y="184"/>
                  </a:lnTo>
                  <a:lnTo>
                    <a:pt x="259" y="196"/>
                  </a:lnTo>
                  <a:lnTo>
                    <a:pt x="246" y="209"/>
                  </a:lnTo>
                  <a:lnTo>
                    <a:pt x="234" y="224"/>
                  </a:lnTo>
                  <a:lnTo>
                    <a:pt x="222" y="237"/>
                  </a:lnTo>
                  <a:lnTo>
                    <a:pt x="212" y="251"/>
                  </a:lnTo>
                  <a:lnTo>
                    <a:pt x="201" y="267"/>
                  </a:lnTo>
                  <a:lnTo>
                    <a:pt x="192" y="283"/>
                  </a:lnTo>
                  <a:lnTo>
                    <a:pt x="183" y="299"/>
                  </a:lnTo>
                  <a:lnTo>
                    <a:pt x="175" y="314"/>
                  </a:lnTo>
                  <a:lnTo>
                    <a:pt x="167" y="332"/>
                  </a:lnTo>
                  <a:lnTo>
                    <a:pt x="159" y="349"/>
                  </a:lnTo>
                  <a:lnTo>
                    <a:pt x="154" y="367"/>
                  </a:lnTo>
                  <a:lnTo>
                    <a:pt x="149" y="384"/>
                  </a:lnTo>
                  <a:lnTo>
                    <a:pt x="143" y="403"/>
                  </a:lnTo>
                  <a:lnTo>
                    <a:pt x="139" y="421"/>
                  </a:lnTo>
                  <a:lnTo>
                    <a:pt x="146" y="424"/>
                  </a:lnTo>
                  <a:lnTo>
                    <a:pt x="151" y="426"/>
                  </a:lnTo>
                  <a:lnTo>
                    <a:pt x="157" y="430"/>
                  </a:lnTo>
                  <a:lnTo>
                    <a:pt x="162" y="436"/>
                  </a:lnTo>
                  <a:lnTo>
                    <a:pt x="164" y="441"/>
                  </a:lnTo>
                  <a:lnTo>
                    <a:pt x="167" y="446"/>
                  </a:lnTo>
                  <a:lnTo>
                    <a:pt x="170" y="453"/>
                  </a:lnTo>
                  <a:lnTo>
                    <a:pt x="170" y="459"/>
                  </a:lnTo>
                  <a:lnTo>
                    <a:pt x="170" y="501"/>
                  </a:lnTo>
                  <a:lnTo>
                    <a:pt x="170" y="507"/>
                  </a:lnTo>
                  <a:lnTo>
                    <a:pt x="168" y="513"/>
                  </a:lnTo>
                  <a:lnTo>
                    <a:pt x="166" y="518"/>
                  </a:lnTo>
                  <a:lnTo>
                    <a:pt x="163" y="522"/>
                  </a:lnTo>
                  <a:lnTo>
                    <a:pt x="161" y="528"/>
                  </a:lnTo>
                  <a:lnTo>
                    <a:pt x="157" y="532"/>
                  </a:lnTo>
                  <a:lnTo>
                    <a:pt x="151" y="534"/>
                  </a:lnTo>
                  <a:lnTo>
                    <a:pt x="147" y="537"/>
                  </a:lnTo>
                  <a:lnTo>
                    <a:pt x="184" y="566"/>
                  </a:lnTo>
                  <a:lnTo>
                    <a:pt x="184" y="566"/>
                  </a:lnTo>
                  <a:lnTo>
                    <a:pt x="221" y="367"/>
                  </a:lnTo>
                  <a:lnTo>
                    <a:pt x="225" y="347"/>
                  </a:lnTo>
                  <a:lnTo>
                    <a:pt x="230" y="332"/>
                  </a:lnTo>
                  <a:lnTo>
                    <a:pt x="234" y="324"/>
                  </a:lnTo>
                  <a:lnTo>
                    <a:pt x="238" y="318"/>
                  </a:lnTo>
                  <a:lnTo>
                    <a:pt x="243" y="312"/>
                  </a:lnTo>
                  <a:lnTo>
                    <a:pt x="247" y="308"/>
                  </a:lnTo>
                  <a:lnTo>
                    <a:pt x="254" y="304"/>
                  </a:lnTo>
                  <a:lnTo>
                    <a:pt x="259" y="300"/>
                  </a:lnTo>
                  <a:lnTo>
                    <a:pt x="267" y="297"/>
                  </a:lnTo>
                  <a:lnTo>
                    <a:pt x="274" y="295"/>
                  </a:lnTo>
                  <a:lnTo>
                    <a:pt x="291" y="292"/>
                  </a:lnTo>
                  <a:lnTo>
                    <a:pt x="312" y="291"/>
                  </a:lnTo>
                  <a:lnTo>
                    <a:pt x="807" y="291"/>
                  </a:lnTo>
                  <a:lnTo>
                    <a:pt x="824" y="293"/>
                  </a:lnTo>
                  <a:lnTo>
                    <a:pt x="840" y="296"/>
                  </a:lnTo>
                  <a:lnTo>
                    <a:pt x="853" y="303"/>
                  </a:lnTo>
                  <a:lnTo>
                    <a:pt x="865" y="309"/>
                  </a:lnTo>
                  <a:lnTo>
                    <a:pt x="875" y="320"/>
                  </a:lnTo>
                  <a:lnTo>
                    <a:pt x="884" y="330"/>
                  </a:lnTo>
                  <a:lnTo>
                    <a:pt x="891" y="345"/>
                  </a:lnTo>
                  <a:lnTo>
                    <a:pt x="896" y="361"/>
                  </a:lnTo>
                  <a:lnTo>
                    <a:pt x="934" y="563"/>
                  </a:lnTo>
                  <a:lnTo>
                    <a:pt x="934" y="566"/>
                  </a:lnTo>
                  <a:close/>
                  <a:moveTo>
                    <a:pt x="980" y="561"/>
                  </a:moveTo>
                  <a:lnTo>
                    <a:pt x="934" y="595"/>
                  </a:lnTo>
                  <a:lnTo>
                    <a:pt x="934" y="596"/>
                  </a:lnTo>
                  <a:lnTo>
                    <a:pt x="934" y="699"/>
                  </a:lnTo>
                  <a:lnTo>
                    <a:pt x="942" y="683"/>
                  </a:lnTo>
                  <a:lnTo>
                    <a:pt x="950" y="666"/>
                  </a:lnTo>
                  <a:lnTo>
                    <a:pt x="957" y="649"/>
                  </a:lnTo>
                  <a:lnTo>
                    <a:pt x="963" y="632"/>
                  </a:lnTo>
                  <a:lnTo>
                    <a:pt x="969" y="614"/>
                  </a:lnTo>
                  <a:lnTo>
                    <a:pt x="972" y="597"/>
                  </a:lnTo>
                  <a:lnTo>
                    <a:pt x="976" y="579"/>
                  </a:lnTo>
                  <a:lnTo>
                    <a:pt x="980" y="561"/>
                  </a:lnTo>
                  <a:close/>
                  <a:moveTo>
                    <a:pt x="988" y="445"/>
                  </a:moveTo>
                  <a:lnTo>
                    <a:pt x="982" y="446"/>
                  </a:lnTo>
                  <a:lnTo>
                    <a:pt x="976" y="449"/>
                  </a:lnTo>
                  <a:lnTo>
                    <a:pt x="974" y="454"/>
                  </a:lnTo>
                  <a:lnTo>
                    <a:pt x="972" y="459"/>
                  </a:lnTo>
                  <a:lnTo>
                    <a:pt x="972" y="501"/>
                  </a:lnTo>
                  <a:lnTo>
                    <a:pt x="974" y="508"/>
                  </a:lnTo>
                  <a:lnTo>
                    <a:pt x="976" y="512"/>
                  </a:lnTo>
                  <a:lnTo>
                    <a:pt x="982" y="516"/>
                  </a:lnTo>
                  <a:lnTo>
                    <a:pt x="988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6" y="517"/>
                  </a:lnTo>
                  <a:lnTo>
                    <a:pt x="1079" y="517"/>
                  </a:lnTo>
                  <a:lnTo>
                    <a:pt x="1086" y="516"/>
                  </a:lnTo>
                  <a:lnTo>
                    <a:pt x="1090" y="512"/>
                  </a:lnTo>
                  <a:lnTo>
                    <a:pt x="1094" y="508"/>
                  </a:lnTo>
                  <a:lnTo>
                    <a:pt x="1095" y="501"/>
                  </a:lnTo>
                  <a:lnTo>
                    <a:pt x="1095" y="459"/>
                  </a:lnTo>
                  <a:lnTo>
                    <a:pt x="1094" y="454"/>
                  </a:lnTo>
                  <a:lnTo>
                    <a:pt x="1090" y="449"/>
                  </a:lnTo>
                  <a:lnTo>
                    <a:pt x="1086" y="446"/>
                  </a:lnTo>
                  <a:lnTo>
                    <a:pt x="1079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1" y="445"/>
                  </a:lnTo>
                  <a:lnTo>
                    <a:pt x="991" y="445"/>
                  </a:lnTo>
                  <a:lnTo>
                    <a:pt x="988" y="445"/>
                  </a:lnTo>
                  <a:close/>
                  <a:moveTo>
                    <a:pt x="1079" y="541"/>
                  </a:moveTo>
                  <a:lnTo>
                    <a:pt x="1007" y="541"/>
                  </a:lnTo>
                  <a:lnTo>
                    <a:pt x="1003" y="568"/>
                  </a:lnTo>
                  <a:lnTo>
                    <a:pt x="997" y="595"/>
                  </a:lnTo>
                  <a:lnTo>
                    <a:pt x="991" y="621"/>
                  </a:lnTo>
                  <a:lnTo>
                    <a:pt x="983" y="647"/>
                  </a:lnTo>
                  <a:lnTo>
                    <a:pt x="974" y="674"/>
                  </a:lnTo>
                  <a:lnTo>
                    <a:pt x="962" y="699"/>
                  </a:lnTo>
                  <a:lnTo>
                    <a:pt x="949" y="722"/>
                  </a:lnTo>
                  <a:lnTo>
                    <a:pt x="934" y="746"/>
                  </a:lnTo>
                  <a:lnTo>
                    <a:pt x="934" y="817"/>
                  </a:lnTo>
                  <a:lnTo>
                    <a:pt x="954" y="817"/>
                  </a:lnTo>
                  <a:lnTo>
                    <a:pt x="959" y="818"/>
                  </a:lnTo>
                  <a:lnTo>
                    <a:pt x="963" y="821"/>
                  </a:lnTo>
                  <a:lnTo>
                    <a:pt x="966" y="825"/>
                  </a:lnTo>
                  <a:lnTo>
                    <a:pt x="966" y="829"/>
                  </a:lnTo>
                  <a:lnTo>
                    <a:pt x="966" y="1008"/>
                  </a:lnTo>
                  <a:lnTo>
                    <a:pt x="966" y="1013"/>
                  </a:lnTo>
                  <a:lnTo>
                    <a:pt x="963" y="1017"/>
                  </a:lnTo>
                  <a:lnTo>
                    <a:pt x="959" y="1020"/>
                  </a:lnTo>
                  <a:lnTo>
                    <a:pt x="954" y="1021"/>
                  </a:lnTo>
                  <a:lnTo>
                    <a:pt x="919" y="1021"/>
                  </a:lnTo>
                  <a:lnTo>
                    <a:pt x="919" y="1095"/>
                  </a:lnTo>
                  <a:lnTo>
                    <a:pt x="919" y="1103"/>
                  </a:lnTo>
                  <a:lnTo>
                    <a:pt x="916" y="1111"/>
                  </a:lnTo>
                  <a:lnTo>
                    <a:pt x="912" y="1119"/>
                  </a:lnTo>
                  <a:lnTo>
                    <a:pt x="907" y="1124"/>
                  </a:lnTo>
                  <a:lnTo>
                    <a:pt x="900" y="1129"/>
                  </a:lnTo>
                  <a:lnTo>
                    <a:pt x="894" y="1133"/>
                  </a:lnTo>
                  <a:lnTo>
                    <a:pt x="886" y="1136"/>
                  </a:lnTo>
                  <a:lnTo>
                    <a:pt x="876" y="1137"/>
                  </a:lnTo>
                  <a:lnTo>
                    <a:pt x="829" y="1137"/>
                  </a:lnTo>
                  <a:lnTo>
                    <a:pt x="821" y="1136"/>
                  </a:lnTo>
                  <a:lnTo>
                    <a:pt x="812" y="1133"/>
                  </a:lnTo>
                  <a:lnTo>
                    <a:pt x="805" y="1129"/>
                  </a:lnTo>
                  <a:lnTo>
                    <a:pt x="799" y="1124"/>
                  </a:lnTo>
                  <a:lnTo>
                    <a:pt x="794" y="1119"/>
                  </a:lnTo>
                  <a:lnTo>
                    <a:pt x="790" y="1111"/>
                  </a:lnTo>
                  <a:lnTo>
                    <a:pt x="788" y="1103"/>
                  </a:lnTo>
                  <a:lnTo>
                    <a:pt x="787" y="1095"/>
                  </a:lnTo>
                  <a:lnTo>
                    <a:pt x="787" y="1021"/>
                  </a:lnTo>
                  <a:lnTo>
                    <a:pt x="695" y="1021"/>
                  </a:lnTo>
                  <a:lnTo>
                    <a:pt x="422" y="1021"/>
                  </a:lnTo>
                  <a:lnTo>
                    <a:pt x="330" y="1021"/>
                  </a:lnTo>
                  <a:lnTo>
                    <a:pt x="330" y="1095"/>
                  </a:lnTo>
                  <a:lnTo>
                    <a:pt x="330" y="1103"/>
                  </a:lnTo>
                  <a:lnTo>
                    <a:pt x="328" y="1111"/>
                  </a:lnTo>
                  <a:lnTo>
                    <a:pt x="324" y="1119"/>
                  </a:lnTo>
                  <a:lnTo>
                    <a:pt x="318" y="1124"/>
                  </a:lnTo>
                  <a:lnTo>
                    <a:pt x="312" y="1129"/>
                  </a:lnTo>
                  <a:lnTo>
                    <a:pt x="305" y="1133"/>
                  </a:lnTo>
                  <a:lnTo>
                    <a:pt x="297" y="1136"/>
                  </a:lnTo>
                  <a:lnTo>
                    <a:pt x="288" y="1137"/>
                  </a:lnTo>
                  <a:lnTo>
                    <a:pt x="241" y="1137"/>
                  </a:lnTo>
                  <a:lnTo>
                    <a:pt x="233" y="1136"/>
                  </a:lnTo>
                  <a:lnTo>
                    <a:pt x="224" y="1133"/>
                  </a:lnTo>
                  <a:lnTo>
                    <a:pt x="217" y="1129"/>
                  </a:lnTo>
                  <a:lnTo>
                    <a:pt x="211" y="1124"/>
                  </a:lnTo>
                  <a:lnTo>
                    <a:pt x="205" y="1119"/>
                  </a:lnTo>
                  <a:lnTo>
                    <a:pt x="201" y="1111"/>
                  </a:lnTo>
                  <a:lnTo>
                    <a:pt x="199" y="1103"/>
                  </a:lnTo>
                  <a:lnTo>
                    <a:pt x="199" y="1095"/>
                  </a:lnTo>
                  <a:lnTo>
                    <a:pt x="199" y="1021"/>
                  </a:lnTo>
                  <a:lnTo>
                    <a:pt x="163" y="1021"/>
                  </a:lnTo>
                  <a:lnTo>
                    <a:pt x="158" y="1020"/>
                  </a:lnTo>
                  <a:lnTo>
                    <a:pt x="154" y="1017"/>
                  </a:lnTo>
                  <a:lnTo>
                    <a:pt x="151" y="1013"/>
                  </a:lnTo>
                  <a:lnTo>
                    <a:pt x="151" y="1008"/>
                  </a:lnTo>
                  <a:lnTo>
                    <a:pt x="151" y="829"/>
                  </a:lnTo>
                  <a:lnTo>
                    <a:pt x="151" y="825"/>
                  </a:lnTo>
                  <a:lnTo>
                    <a:pt x="154" y="821"/>
                  </a:lnTo>
                  <a:lnTo>
                    <a:pt x="158" y="818"/>
                  </a:lnTo>
                  <a:lnTo>
                    <a:pt x="163" y="817"/>
                  </a:lnTo>
                  <a:lnTo>
                    <a:pt x="184" y="817"/>
                  </a:lnTo>
                  <a:lnTo>
                    <a:pt x="184" y="747"/>
                  </a:lnTo>
                  <a:lnTo>
                    <a:pt x="170" y="724"/>
                  </a:lnTo>
                  <a:lnTo>
                    <a:pt x="157" y="700"/>
                  </a:lnTo>
                  <a:lnTo>
                    <a:pt x="145" y="675"/>
                  </a:lnTo>
                  <a:lnTo>
                    <a:pt x="134" y="649"/>
                  </a:lnTo>
                  <a:lnTo>
                    <a:pt x="126" y="622"/>
                  </a:lnTo>
                  <a:lnTo>
                    <a:pt x="120" y="596"/>
                  </a:lnTo>
                  <a:lnTo>
                    <a:pt x="114" y="568"/>
                  </a:lnTo>
                  <a:lnTo>
                    <a:pt x="111" y="541"/>
                  </a:lnTo>
                  <a:lnTo>
                    <a:pt x="39" y="541"/>
                  </a:lnTo>
                  <a:lnTo>
                    <a:pt x="32" y="539"/>
                  </a:lnTo>
                  <a:lnTo>
                    <a:pt x="24" y="538"/>
                  </a:lnTo>
                  <a:lnTo>
                    <a:pt x="17" y="534"/>
                  </a:lnTo>
                  <a:lnTo>
                    <a:pt x="12" y="529"/>
                  </a:lnTo>
                  <a:lnTo>
                    <a:pt x="7" y="524"/>
                  </a:lnTo>
                  <a:lnTo>
                    <a:pt x="3" y="517"/>
                  </a:lnTo>
                  <a:lnTo>
                    <a:pt x="1" y="509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1" y="451"/>
                  </a:lnTo>
                  <a:lnTo>
                    <a:pt x="3" y="445"/>
                  </a:lnTo>
                  <a:lnTo>
                    <a:pt x="7" y="438"/>
                  </a:lnTo>
                  <a:lnTo>
                    <a:pt x="12" y="432"/>
                  </a:lnTo>
                  <a:lnTo>
                    <a:pt x="17" y="428"/>
                  </a:lnTo>
                  <a:lnTo>
                    <a:pt x="24" y="424"/>
                  </a:lnTo>
                  <a:lnTo>
                    <a:pt x="32" y="421"/>
                  </a:lnTo>
                  <a:lnTo>
                    <a:pt x="39" y="420"/>
                  </a:lnTo>
                  <a:lnTo>
                    <a:pt x="116" y="420"/>
                  </a:lnTo>
                  <a:lnTo>
                    <a:pt x="121" y="392"/>
                  </a:lnTo>
                  <a:lnTo>
                    <a:pt x="129" y="364"/>
                  </a:lnTo>
                  <a:lnTo>
                    <a:pt x="138" y="338"/>
                  </a:lnTo>
                  <a:lnTo>
                    <a:pt x="149" y="312"/>
                  </a:lnTo>
                  <a:lnTo>
                    <a:pt x="162" y="287"/>
                  </a:lnTo>
                  <a:lnTo>
                    <a:pt x="175" y="263"/>
                  </a:lnTo>
                  <a:lnTo>
                    <a:pt x="191" y="241"/>
                  </a:lnTo>
                  <a:lnTo>
                    <a:pt x="208" y="218"/>
                  </a:lnTo>
                  <a:lnTo>
                    <a:pt x="225" y="197"/>
                  </a:lnTo>
                  <a:lnTo>
                    <a:pt x="245" y="178"/>
                  </a:lnTo>
                  <a:lnTo>
                    <a:pt x="264" y="158"/>
                  </a:lnTo>
                  <a:lnTo>
                    <a:pt x="286" y="141"/>
                  </a:lnTo>
                  <a:lnTo>
                    <a:pt x="309" y="125"/>
                  </a:lnTo>
                  <a:lnTo>
                    <a:pt x="332" y="110"/>
                  </a:lnTo>
                  <a:lnTo>
                    <a:pt x="357" y="97"/>
                  </a:lnTo>
                  <a:lnTo>
                    <a:pt x="382" y="85"/>
                  </a:lnTo>
                  <a:lnTo>
                    <a:pt x="382" y="12"/>
                  </a:lnTo>
                  <a:lnTo>
                    <a:pt x="382" y="6"/>
                  </a:lnTo>
                  <a:lnTo>
                    <a:pt x="384" y="3"/>
                  </a:lnTo>
                  <a:lnTo>
                    <a:pt x="388" y="0"/>
                  </a:lnTo>
                  <a:lnTo>
                    <a:pt x="393" y="0"/>
                  </a:lnTo>
                  <a:lnTo>
                    <a:pt x="724" y="0"/>
                  </a:lnTo>
                  <a:lnTo>
                    <a:pt x="729" y="0"/>
                  </a:lnTo>
                  <a:lnTo>
                    <a:pt x="733" y="3"/>
                  </a:lnTo>
                  <a:lnTo>
                    <a:pt x="736" y="6"/>
                  </a:lnTo>
                  <a:lnTo>
                    <a:pt x="736" y="12"/>
                  </a:lnTo>
                  <a:lnTo>
                    <a:pt x="736" y="85"/>
                  </a:lnTo>
                  <a:lnTo>
                    <a:pt x="761" y="97"/>
                  </a:lnTo>
                  <a:lnTo>
                    <a:pt x="786" y="110"/>
                  </a:lnTo>
                  <a:lnTo>
                    <a:pt x="809" y="125"/>
                  </a:lnTo>
                  <a:lnTo>
                    <a:pt x="832" y="141"/>
                  </a:lnTo>
                  <a:lnTo>
                    <a:pt x="853" y="158"/>
                  </a:lnTo>
                  <a:lnTo>
                    <a:pt x="872" y="178"/>
                  </a:lnTo>
                  <a:lnTo>
                    <a:pt x="892" y="197"/>
                  </a:lnTo>
                  <a:lnTo>
                    <a:pt x="911" y="218"/>
                  </a:lnTo>
                  <a:lnTo>
                    <a:pt x="926" y="239"/>
                  </a:lnTo>
                  <a:lnTo>
                    <a:pt x="942" y="263"/>
                  </a:lnTo>
                  <a:lnTo>
                    <a:pt x="955" y="287"/>
                  </a:lnTo>
                  <a:lnTo>
                    <a:pt x="969" y="312"/>
                  </a:lnTo>
                  <a:lnTo>
                    <a:pt x="979" y="338"/>
                  </a:lnTo>
                  <a:lnTo>
                    <a:pt x="988" y="364"/>
                  </a:lnTo>
                  <a:lnTo>
                    <a:pt x="996" y="392"/>
                  </a:lnTo>
                  <a:lnTo>
                    <a:pt x="1001" y="420"/>
                  </a:lnTo>
                  <a:lnTo>
                    <a:pt x="1079" y="420"/>
                  </a:lnTo>
                  <a:lnTo>
                    <a:pt x="1087" y="421"/>
                  </a:lnTo>
                  <a:lnTo>
                    <a:pt x="1095" y="424"/>
                  </a:lnTo>
                  <a:lnTo>
                    <a:pt x="1101" y="428"/>
                  </a:lnTo>
                  <a:lnTo>
                    <a:pt x="1107" y="432"/>
                  </a:lnTo>
                  <a:lnTo>
                    <a:pt x="1112" y="438"/>
                  </a:lnTo>
                  <a:lnTo>
                    <a:pt x="1116" y="445"/>
                  </a:lnTo>
                  <a:lnTo>
                    <a:pt x="1117" y="451"/>
                  </a:lnTo>
                  <a:lnTo>
                    <a:pt x="1119" y="459"/>
                  </a:lnTo>
                  <a:lnTo>
                    <a:pt x="1119" y="501"/>
                  </a:lnTo>
                  <a:lnTo>
                    <a:pt x="1117" y="509"/>
                  </a:lnTo>
                  <a:lnTo>
                    <a:pt x="1116" y="517"/>
                  </a:lnTo>
                  <a:lnTo>
                    <a:pt x="1112" y="524"/>
                  </a:lnTo>
                  <a:lnTo>
                    <a:pt x="1107" y="529"/>
                  </a:lnTo>
                  <a:lnTo>
                    <a:pt x="1101" y="534"/>
                  </a:lnTo>
                  <a:lnTo>
                    <a:pt x="1095" y="538"/>
                  </a:lnTo>
                  <a:lnTo>
                    <a:pt x="1087" y="539"/>
                  </a:lnTo>
                  <a:lnTo>
                    <a:pt x="1079" y="541"/>
                  </a:lnTo>
                  <a:close/>
                  <a:moveTo>
                    <a:pt x="184" y="596"/>
                  </a:moveTo>
                  <a:lnTo>
                    <a:pt x="183" y="595"/>
                  </a:lnTo>
                  <a:lnTo>
                    <a:pt x="137" y="561"/>
                  </a:lnTo>
                  <a:lnTo>
                    <a:pt x="141" y="579"/>
                  </a:lnTo>
                  <a:lnTo>
                    <a:pt x="145" y="597"/>
                  </a:lnTo>
                  <a:lnTo>
                    <a:pt x="149" y="614"/>
                  </a:lnTo>
                  <a:lnTo>
                    <a:pt x="155" y="633"/>
                  </a:lnTo>
                  <a:lnTo>
                    <a:pt x="161" y="650"/>
                  </a:lnTo>
                  <a:lnTo>
                    <a:pt x="168" y="667"/>
                  </a:lnTo>
                  <a:lnTo>
                    <a:pt x="176" y="684"/>
                  </a:lnTo>
                  <a:lnTo>
                    <a:pt x="184" y="701"/>
                  </a:lnTo>
                  <a:lnTo>
                    <a:pt x="184" y="596"/>
                  </a:lnTo>
                  <a:close/>
                  <a:moveTo>
                    <a:pt x="39" y="445"/>
                  </a:moveTo>
                  <a:lnTo>
                    <a:pt x="33" y="446"/>
                  </a:lnTo>
                  <a:lnTo>
                    <a:pt x="29" y="449"/>
                  </a:lnTo>
                  <a:lnTo>
                    <a:pt x="25" y="454"/>
                  </a:lnTo>
                  <a:lnTo>
                    <a:pt x="24" y="459"/>
                  </a:lnTo>
                  <a:lnTo>
                    <a:pt x="24" y="501"/>
                  </a:lnTo>
                  <a:lnTo>
                    <a:pt x="25" y="508"/>
                  </a:lnTo>
                  <a:lnTo>
                    <a:pt x="29" y="512"/>
                  </a:lnTo>
                  <a:lnTo>
                    <a:pt x="33" y="516"/>
                  </a:lnTo>
                  <a:lnTo>
                    <a:pt x="39" y="517"/>
                  </a:lnTo>
                  <a:lnTo>
                    <a:pt x="121" y="517"/>
                  </a:lnTo>
                  <a:lnTo>
                    <a:pt x="122" y="517"/>
                  </a:lnTo>
                  <a:lnTo>
                    <a:pt x="122" y="517"/>
                  </a:lnTo>
                  <a:lnTo>
                    <a:pt x="130" y="517"/>
                  </a:lnTo>
                  <a:lnTo>
                    <a:pt x="137" y="516"/>
                  </a:lnTo>
                  <a:lnTo>
                    <a:pt x="141" y="512"/>
                  </a:lnTo>
                  <a:lnTo>
                    <a:pt x="145" y="508"/>
                  </a:lnTo>
                  <a:lnTo>
                    <a:pt x="146" y="501"/>
                  </a:lnTo>
                  <a:lnTo>
                    <a:pt x="146" y="459"/>
                  </a:lnTo>
                  <a:lnTo>
                    <a:pt x="145" y="454"/>
                  </a:lnTo>
                  <a:lnTo>
                    <a:pt x="141" y="449"/>
                  </a:lnTo>
                  <a:lnTo>
                    <a:pt x="137" y="446"/>
                  </a:lnTo>
                  <a:lnTo>
                    <a:pt x="130" y="445"/>
                  </a:lnTo>
                  <a:lnTo>
                    <a:pt x="39" y="445"/>
                  </a:lnTo>
                  <a:close/>
                  <a:moveTo>
                    <a:pt x="682" y="996"/>
                  </a:moveTo>
                  <a:lnTo>
                    <a:pt x="682" y="961"/>
                  </a:lnTo>
                  <a:lnTo>
                    <a:pt x="436" y="961"/>
                  </a:lnTo>
                  <a:lnTo>
                    <a:pt x="436" y="996"/>
                  </a:lnTo>
                  <a:lnTo>
                    <a:pt x="682" y="996"/>
                  </a:lnTo>
                  <a:close/>
                  <a:moveTo>
                    <a:pt x="412" y="996"/>
                  </a:moveTo>
                  <a:lnTo>
                    <a:pt x="412" y="947"/>
                  </a:lnTo>
                  <a:lnTo>
                    <a:pt x="412" y="943"/>
                  </a:lnTo>
                  <a:lnTo>
                    <a:pt x="415" y="940"/>
                  </a:lnTo>
                  <a:lnTo>
                    <a:pt x="418" y="937"/>
                  </a:lnTo>
                  <a:lnTo>
                    <a:pt x="424" y="936"/>
                  </a:lnTo>
                  <a:lnTo>
                    <a:pt x="694" y="936"/>
                  </a:lnTo>
                  <a:lnTo>
                    <a:pt x="699" y="937"/>
                  </a:lnTo>
                  <a:lnTo>
                    <a:pt x="703" y="940"/>
                  </a:lnTo>
                  <a:lnTo>
                    <a:pt x="705" y="943"/>
                  </a:lnTo>
                  <a:lnTo>
                    <a:pt x="707" y="947"/>
                  </a:lnTo>
                  <a:lnTo>
                    <a:pt x="707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907" y="996"/>
                  </a:lnTo>
                  <a:lnTo>
                    <a:pt x="907" y="996"/>
                  </a:lnTo>
                  <a:lnTo>
                    <a:pt x="908" y="996"/>
                  </a:lnTo>
                  <a:lnTo>
                    <a:pt x="942" y="996"/>
                  </a:lnTo>
                  <a:lnTo>
                    <a:pt x="94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809" y="842"/>
                  </a:lnTo>
                  <a:lnTo>
                    <a:pt x="770" y="884"/>
                  </a:lnTo>
                  <a:lnTo>
                    <a:pt x="766" y="887"/>
                  </a:lnTo>
                  <a:lnTo>
                    <a:pt x="762" y="888"/>
                  </a:lnTo>
                  <a:lnTo>
                    <a:pt x="357" y="888"/>
                  </a:lnTo>
                  <a:lnTo>
                    <a:pt x="351" y="887"/>
                  </a:lnTo>
                  <a:lnTo>
                    <a:pt x="347" y="884"/>
                  </a:lnTo>
                  <a:lnTo>
                    <a:pt x="308" y="842"/>
                  </a:lnTo>
                  <a:lnTo>
                    <a:pt x="175" y="842"/>
                  </a:lnTo>
                  <a:lnTo>
                    <a:pt x="175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318" y="996"/>
                  </a:lnTo>
                  <a:lnTo>
                    <a:pt x="318" y="996"/>
                  </a:lnTo>
                  <a:lnTo>
                    <a:pt x="320" y="996"/>
                  </a:lnTo>
                  <a:lnTo>
                    <a:pt x="412" y="996"/>
                  </a:lnTo>
                  <a:close/>
                  <a:moveTo>
                    <a:pt x="447" y="734"/>
                  </a:moveTo>
                  <a:lnTo>
                    <a:pt x="443" y="734"/>
                  </a:lnTo>
                  <a:lnTo>
                    <a:pt x="441" y="737"/>
                  </a:lnTo>
                  <a:lnTo>
                    <a:pt x="438" y="741"/>
                  </a:lnTo>
                  <a:lnTo>
                    <a:pt x="438" y="745"/>
                  </a:lnTo>
                  <a:lnTo>
                    <a:pt x="438" y="788"/>
                  </a:lnTo>
                  <a:lnTo>
                    <a:pt x="438" y="792"/>
                  </a:lnTo>
                  <a:lnTo>
                    <a:pt x="441" y="796"/>
                  </a:lnTo>
                  <a:lnTo>
                    <a:pt x="443" y="797"/>
                  </a:lnTo>
                  <a:lnTo>
                    <a:pt x="447" y="799"/>
                  </a:lnTo>
                  <a:lnTo>
                    <a:pt x="670" y="799"/>
                  </a:lnTo>
                  <a:lnTo>
                    <a:pt x="674" y="797"/>
                  </a:lnTo>
                  <a:lnTo>
                    <a:pt x="676" y="796"/>
                  </a:lnTo>
                  <a:lnTo>
                    <a:pt x="679" y="792"/>
                  </a:lnTo>
                  <a:lnTo>
                    <a:pt x="679" y="788"/>
                  </a:lnTo>
                  <a:lnTo>
                    <a:pt x="679" y="745"/>
                  </a:lnTo>
                  <a:lnTo>
                    <a:pt x="679" y="741"/>
                  </a:lnTo>
                  <a:lnTo>
                    <a:pt x="676" y="737"/>
                  </a:lnTo>
                  <a:lnTo>
                    <a:pt x="674" y="734"/>
                  </a:lnTo>
                  <a:lnTo>
                    <a:pt x="670" y="734"/>
                  </a:lnTo>
                  <a:lnTo>
                    <a:pt x="447" y="734"/>
                  </a:lnTo>
                  <a:close/>
                  <a:moveTo>
                    <a:pt x="670" y="822"/>
                  </a:moveTo>
                  <a:lnTo>
                    <a:pt x="447" y="822"/>
                  </a:lnTo>
                  <a:lnTo>
                    <a:pt x="441" y="822"/>
                  </a:lnTo>
                  <a:lnTo>
                    <a:pt x="434" y="820"/>
                  </a:lnTo>
                  <a:lnTo>
                    <a:pt x="429" y="817"/>
                  </a:lnTo>
                  <a:lnTo>
                    <a:pt x="424" y="813"/>
                  </a:lnTo>
                  <a:lnTo>
                    <a:pt x="420" y="808"/>
                  </a:lnTo>
                  <a:lnTo>
                    <a:pt x="416" y="801"/>
                  </a:lnTo>
                  <a:lnTo>
                    <a:pt x="415" y="795"/>
                  </a:lnTo>
                  <a:lnTo>
                    <a:pt x="413" y="788"/>
                  </a:lnTo>
                  <a:lnTo>
                    <a:pt x="413" y="745"/>
                  </a:lnTo>
                  <a:lnTo>
                    <a:pt x="415" y="737"/>
                  </a:lnTo>
                  <a:lnTo>
                    <a:pt x="416" y="730"/>
                  </a:lnTo>
                  <a:lnTo>
                    <a:pt x="420" y="725"/>
                  </a:lnTo>
                  <a:lnTo>
                    <a:pt x="424" y="720"/>
                  </a:lnTo>
                  <a:lnTo>
                    <a:pt x="429" y="716"/>
                  </a:lnTo>
                  <a:lnTo>
                    <a:pt x="434" y="713"/>
                  </a:lnTo>
                  <a:lnTo>
                    <a:pt x="441" y="711"/>
                  </a:lnTo>
                  <a:lnTo>
                    <a:pt x="447" y="711"/>
                  </a:lnTo>
                  <a:lnTo>
                    <a:pt x="670" y="711"/>
                  </a:lnTo>
                  <a:lnTo>
                    <a:pt x="676" y="711"/>
                  </a:lnTo>
                  <a:lnTo>
                    <a:pt x="683" y="713"/>
                  </a:lnTo>
                  <a:lnTo>
                    <a:pt x="688" y="716"/>
                  </a:lnTo>
                  <a:lnTo>
                    <a:pt x="694" y="720"/>
                  </a:lnTo>
                  <a:lnTo>
                    <a:pt x="697" y="725"/>
                  </a:lnTo>
                  <a:lnTo>
                    <a:pt x="701" y="730"/>
                  </a:lnTo>
                  <a:lnTo>
                    <a:pt x="703" y="737"/>
                  </a:lnTo>
                  <a:lnTo>
                    <a:pt x="704" y="745"/>
                  </a:lnTo>
                  <a:lnTo>
                    <a:pt x="704" y="788"/>
                  </a:lnTo>
                  <a:lnTo>
                    <a:pt x="703" y="795"/>
                  </a:lnTo>
                  <a:lnTo>
                    <a:pt x="701" y="801"/>
                  </a:lnTo>
                  <a:lnTo>
                    <a:pt x="697" y="808"/>
                  </a:lnTo>
                  <a:lnTo>
                    <a:pt x="694" y="813"/>
                  </a:lnTo>
                  <a:lnTo>
                    <a:pt x="688" y="817"/>
                  </a:lnTo>
                  <a:lnTo>
                    <a:pt x="683" y="820"/>
                  </a:lnTo>
                  <a:lnTo>
                    <a:pt x="676" y="822"/>
                  </a:lnTo>
                  <a:lnTo>
                    <a:pt x="670" y="822"/>
                  </a:lnTo>
                  <a:close/>
                  <a:moveTo>
                    <a:pt x="895" y="1021"/>
                  </a:moveTo>
                  <a:lnTo>
                    <a:pt x="811" y="1021"/>
                  </a:lnTo>
                  <a:lnTo>
                    <a:pt x="811" y="1095"/>
                  </a:lnTo>
                  <a:lnTo>
                    <a:pt x="811" y="1097"/>
                  </a:lnTo>
                  <a:lnTo>
                    <a:pt x="812" y="1101"/>
                  </a:lnTo>
                  <a:lnTo>
                    <a:pt x="813" y="1104"/>
                  </a:lnTo>
                  <a:lnTo>
                    <a:pt x="816" y="1107"/>
                  </a:lnTo>
                  <a:lnTo>
                    <a:pt x="819" y="1109"/>
                  </a:lnTo>
                  <a:lnTo>
                    <a:pt x="821" y="1111"/>
                  </a:lnTo>
                  <a:lnTo>
                    <a:pt x="825" y="1112"/>
                  </a:lnTo>
                  <a:lnTo>
                    <a:pt x="829" y="1112"/>
                  </a:lnTo>
                  <a:lnTo>
                    <a:pt x="876" y="1112"/>
                  </a:lnTo>
                  <a:lnTo>
                    <a:pt x="880" y="1112"/>
                  </a:lnTo>
                  <a:lnTo>
                    <a:pt x="884" y="1111"/>
                  </a:lnTo>
                  <a:lnTo>
                    <a:pt x="887" y="1109"/>
                  </a:lnTo>
                  <a:lnTo>
                    <a:pt x="890" y="1107"/>
                  </a:lnTo>
                  <a:lnTo>
                    <a:pt x="892" y="1104"/>
                  </a:lnTo>
                  <a:lnTo>
                    <a:pt x="894" y="1101"/>
                  </a:lnTo>
                  <a:lnTo>
                    <a:pt x="895" y="1097"/>
                  </a:lnTo>
                  <a:lnTo>
                    <a:pt x="895" y="1095"/>
                  </a:lnTo>
                  <a:lnTo>
                    <a:pt x="895" y="1021"/>
                  </a:lnTo>
                  <a:close/>
                  <a:moveTo>
                    <a:pt x="307" y="1021"/>
                  </a:moveTo>
                  <a:lnTo>
                    <a:pt x="222" y="1021"/>
                  </a:lnTo>
                  <a:lnTo>
                    <a:pt x="222" y="1095"/>
                  </a:lnTo>
                  <a:lnTo>
                    <a:pt x="222" y="1097"/>
                  </a:lnTo>
                  <a:lnTo>
                    <a:pt x="224" y="1101"/>
                  </a:lnTo>
                  <a:lnTo>
                    <a:pt x="225" y="1104"/>
                  </a:lnTo>
                  <a:lnTo>
                    <a:pt x="228" y="1107"/>
                  </a:lnTo>
                  <a:lnTo>
                    <a:pt x="230" y="1109"/>
                  </a:lnTo>
                  <a:lnTo>
                    <a:pt x="234" y="1111"/>
                  </a:lnTo>
                  <a:lnTo>
                    <a:pt x="237" y="1112"/>
                  </a:lnTo>
                  <a:lnTo>
                    <a:pt x="241" y="1112"/>
                  </a:lnTo>
                  <a:lnTo>
                    <a:pt x="288" y="1112"/>
                  </a:lnTo>
                  <a:lnTo>
                    <a:pt x="292" y="1112"/>
                  </a:lnTo>
                  <a:lnTo>
                    <a:pt x="296" y="1111"/>
                  </a:lnTo>
                  <a:lnTo>
                    <a:pt x="299" y="1109"/>
                  </a:lnTo>
                  <a:lnTo>
                    <a:pt x="301" y="1107"/>
                  </a:lnTo>
                  <a:lnTo>
                    <a:pt x="304" y="1104"/>
                  </a:lnTo>
                  <a:lnTo>
                    <a:pt x="305" y="1101"/>
                  </a:lnTo>
                  <a:lnTo>
                    <a:pt x="307" y="1097"/>
                  </a:lnTo>
                  <a:lnTo>
                    <a:pt x="307" y="1095"/>
                  </a:lnTo>
                  <a:lnTo>
                    <a:pt x="307" y="1021"/>
                  </a:lnTo>
                  <a:close/>
                  <a:moveTo>
                    <a:pt x="208" y="817"/>
                  </a:moveTo>
                  <a:lnTo>
                    <a:pt x="313" y="817"/>
                  </a:lnTo>
                  <a:lnTo>
                    <a:pt x="317" y="818"/>
                  </a:lnTo>
                  <a:lnTo>
                    <a:pt x="321" y="822"/>
                  </a:lnTo>
                  <a:lnTo>
                    <a:pt x="362" y="863"/>
                  </a:lnTo>
                  <a:lnTo>
                    <a:pt x="757" y="863"/>
                  </a:lnTo>
                  <a:lnTo>
                    <a:pt x="796" y="822"/>
                  </a:lnTo>
                  <a:lnTo>
                    <a:pt x="800" y="818"/>
                  </a:lnTo>
                  <a:lnTo>
                    <a:pt x="805" y="817"/>
                  </a:lnTo>
                  <a:lnTo>
                    <a:pt x="911" y="817"/>
                  </a:lnTo>
                  <a:lnTo>
                    <a:pt x="911" y="566"/>
                  </a:lnTo>
                  <a:lnTo>
                    <a:pt x="874" y="366"/>
                  </a:lnTo>
                  <a:lnTo>
                    <a:pt x="870" y="354"/>
                  </a:lnTo>
                  <a:lnTo>
                    <a:pt x="865" y="343"/>
                  </a:lnTo>
                  <a:lnTo>
                    <a:pt x="858" y="335"/>
                  </a:lnTo>
                  <a:lnTo>
                    <a:pt x="850" y="329"/>
                  </a:lnTo>
                  <a:lnTo>
                    <a:pt x="841" y="322"/>
                  </a:lnTo>
                  <a:lnTo>
                    <a:pt x="830" y="318"/>
                  </a:lnTo>
                  <a:lnTo>
                    <a:pt x="820" y="316"/>
                  </a:lnTo>
                  <a:lnTo>
                    <a:pt x="807" y="316"/>
                  </a:lnTo>
                  <a:lnTo>
                    <a:pt x="312" y="316"/>
                  </a:lnTo>
                  <a:lnTo>
                    <a:pt x="296" y="316"/>
                  </a:lnTo>
                  <a:lnTo>
                    <a:pt x="283" y="317"/>
                  </a:lnTo>
                  <a:lnTo>
                    <a:pt x="271" y="321"/>
                  </a:lnTo>
                  <a:lnTo>
                    <a:pt x="263" y="326"/>
                  </a:lnTo>
                  <a:lnTo>
                    <a:pt x="257" y="333"/>
                  </a:lnTo>
                  <a:lnTo>
                    <a:pt x="251" y="343"/>
                  </a:lnTo>
                  <a:lnTo>
                    <a:pt x="247" y="355"/>
                  </a:lnTo>
                  <a:lnTo>
                    <a:pt x="245" y="371"/>
                  </a:lnTo>
                  <a:lnTo>
                    <a:pt x="208" y="567"/>
                  </a:lnTo>
                  <a:lnTo>
                    <a:pt x="208" y="817"/>
                  </a:lnTo>
                  <a:close/>
                  <a:moveTo>
                    <a:pt x="828" y="387"/>
                  </a:moveTo>
                  <a:lnTo>
                    <a:pt x="828" y="387"/>
                  </a:lnTo>
                  <a:lnTo>
                    <a:pt x="828" y="387"/>
                  </a:lnTo>
                  <a:close/>
                  <a:moveTo>
                    <a:pt x="328" y="374"/>
                  </a:moveTo>
                  <a:lnTo>
                    <a:pt x="322" y="375"/>
                  </a:lnTo>
                  <a:lnTo>
                    <a:pt x="318" y="378"/>
                  </a:lnTo>
                  <a:lnTo>
                    <a:pt x="316" y="382"/>
                  </a:lnTo>
                  <a:lnTo>
                    <a:pt x="314" y="387"/>
                  </a:lnTo>
                  <a:lnTo>
                    <a:pt x="286" y="546"/>
                  </a:lnTo>
                  <a:lnTo>
                    <a:pt x="286" y="554"/>
                  </a:lnTo>
                  <a:lnTo>
                    <a:pt x="286" y="561"/>
                  </a:lnTo>
                  <a:lnTo>
                    <a:pt x="288" y="567"/>
                  </a:lnTo>
                  <a:lnTo>
                    <a:pt x="292" y="572"/>
                  </a:lnTo>
                  <a:lnTo>
                    <a:pt x="296" y="576"/>
                  </a:lnTo>
                  <a:lnTo>
                    <a:pt x="303" y="579"/>
                  </a:lnTo>
                  <a:lnTo>
                    <a:pt x="309" y="582"/>
                  </a:lnTo>
                  <a:lnTo>
                    <a:pt x="316" y="582"/>
                  </a:lnTo>
                  <a:lnTo>
                    <a:pt x="801" y="582"/>
                  </a:lnTo>
                  <a:lnTo>
                    <a:pt x="809" y="582"/>
                  </a:lnTo>
                  <a:lnTo>
                    <a:pt x="816" y="579"/>
                  </a:lnTo>
                  <a:lnTo>
                    <a:pt x="822" y="576"/>
                  </a:lnTo>
                  <a:lnTo>
                    <a:pt x="826" y="572"/>
                  </a:lnTo>
                  <a:lnTo>
                    <a:pt x="830" y="567"/>
                  </a:lnTo>
                  <a:lnTo>
                    <a:pt x="833" y="561"/>
                  </a:lnTo>
                  <a:lnTo>
                    <a:pt x="833" y="554"/>
                  </a:lnTo>
                  <a:lnTo>
                    <a:pt x="833" y="546"/>
                  </a:lnTo>
                  <a:lnTo>
                    <a:pt x="804" y="389"/>
                  </a:lnTo>
                  <a:lnTo>
                    <a:pt x="804" y="388"/>
                  </a:lnTo>
                  <a:lnTo>
                    <a:pt x="804" y="387"/>
                  </a:lnTo>
                  <a:lnTo>
                    <a:pt x="803" y="382"/>
                  </a:lnTo>
                  <a:lnTo>
                    <a:pt x="800" y="378"/>
                  </a:lnTo>
                  <a:lnTo>
                    <a:pt x="795" y="375"/>
                  </a:lnTo>
                  <a:lnTo>
                    <a:pt x="790" y="374"/>
                  </a:lnTo>
                  <a:lnTo>
                    <a:pt x="328" y="374"/>
                  </a:lnTo>
                  <a:close/>
                  <a:moveTo>
                    <a:pt x="801" y="607"/>
                  </a:moveTo>
                  <a:lnTo>
                    <a:pt x="316" y="607"/>
                  </a:lnTo>
                  <a:lnTo>
                    <a:pt x="304" y="605"/>
                  </a:lnTo>
                  <a:lnTo>
                    <a:pt x="292" y="601"/>
                  </a:lnTo>
                  <a:lnTo>
                    <a:pt x="287" y="599"/>
                  </a:lnTo>
                  <a:lnTo>
                    <a:pt x="282" y="596"/>
                  </a:lnTo>
                  <a:lnTo>
                    <a:pt x="278" y="592"/>
                  </a:lnTo>
                  <a:lnTo>
                    <a:pt x="274" y="588"/>
                  </a:lnTo>
                  <a:lnTo>
                    <a:pt x="270" y="583"/>
                  </a:lnTo>
                  <a:lnTo>
                    <a:pt x="267" y="579"/>
                  </a:lnTo>
                  <a:lnTo>
                    <a:pt x="264" y="574"/>
                  </a:lnTo>
                  <a:lnTo>
                    <a:pt x="263" y="567"/>
                  </a:lnTo>
                  <a:lnTo>
                    <a:pt x="261" y="555"/>
                  </a:lnTo>
                  <a:lnTo>
                    <a:pt x="262" y="542"/>
                  </a:lnTo>
                  <a:lnTo>
                    <a:pt x="291" y="386"/>
                  </a:lnTo>
                  <a:lnTo>
                    <a:pt x="292" y="379"/>
                  </a:lnTo>
                  <a:lnTo>
                    <a:pt x="293" y="372"/>
                  </a:lnTo>
                  <a:lnTo>
                    <a:pt x="297" y="366"/>
                  </a:lnTo>
                  <a:lnTo>
                    <a:pt x="301" y="361"/>
                  </a:lnTo>
                  <a:lnTo>
                    <a:pt x="308" y="357"/>
                  </a:lnTo>
                  <a:lnTo>
                    <a:pt x="313" y="353"/>
                  </a:lnTo>
                  <a:lnTo>
                    <a:pt x="321" y="350"/>
                  </a:lnTo>
                  <a:lnTo>
                    <a:pt x="328" y="350"/>
                  </a:lnTo>
                  <a:lnTo>
                    <a:pt x="790" y="350"/>
                  </a:lnTo>
                  <a:lnTo>
                    <a:pt x="797" y="350"/>
                  </a:lnTo>
                  <a:lnTo>
                    <a:pt x="804" y="353"/>
                  </a:lnTo>
                  <a:lnTo>
                    <a:pt x="811" y="357"/>
                  </a:lnTo>
                  <a:lnTo>
                    <a:pt x="816" y="361"/>
                  </a:lnTo>
                  <a:lnTo>
                    <a:pt x="821" y="366"/>
                  </a:lnTo>
                  <a:lnTo>
                    <a:pt x="824" y="372"/>
                  </a:lnTo>
                  <a:lnTo>
                    <a:pt x="826" y="379"/>
                  </a:lnTo>
                  <a:lnTo>
                    <a:pt x="828" y="386"/>
                  </a:lnTo>
                  <a:lnTo>
                    <a:pt x="857" y="542"/>
                  </a:lnTo>
                  <a:lnTo>
                    <a:pt x="857" y="555"/>
                  </a:lnTo>
                  <a:lnTo>
                    <a:pt x="855" y="567"/>
                  </a:lnTo>
                  <a:lnTo>
                    <a:pt x="854" y="574"/>
                  </a:lnTo>
                  <a:lnTo>
                    <a:pt x="851" y="579"/>
                  </a:lnTo>
                  <a:lnTo>
                    <a:pt x="849" y="583"/>
                  </a:lnTo>
                  <a:lnTo>
                    <a:pt x="845" y="588"/>
                  </a:lnTo>
                  <a:lnTo>
                    <a:pt x="841" y="592"/>
                  </a:lnTo>
                  <a:lnTo>
                    <a:pt x="837" y="596"/>
                  </a:lnTo>
                  <a:lnTo>
                    <a:pt x="832" y="599"/>
                  </a:lnTo>
                  <a:lnTo>
                    <a:pt x="826" y="601"/>
                  </a:lnTo>
                  <a:lnTo>
                    <a:pt x="815" y="605"/>
                  </a:lnTo>
                  <a:lnTo>
                    <a:pt x="801" y="607"/>
                  </a:lnTo>
                  <a:close/>
                </a:path>
              </a:pathLst>
            </a:custGeom>
            <a:solidFill>
              <a:srgbClr val="004077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405"/>
            <p:cNvSpPr>
              <a:spLocks noEditPoints="1"/>
            </p:cNvSpPr>
            <p:nvPr/>
          </p:nvSpPr>
          <p:spPr bwMode="auto">
            <a:xfrm>
              <a:off x="5486400" y="3460750"/>
              <a:ext cx="280988" cy="34925"/>
            </a:xfrm>
            <a:custGeom>
              <a:avLst/>
              <a:gdLst>
                <a:gd name="T0" fmla="*/ 604 w 708"/>
                <a:gd name="T1" fmla="*/ 25 h 88"/>
                <a:gd name="T2" fmla="*/ 600 w 708"/>
                <a:gd name="T3" fmla="*/ 29 h 88"/>
                <a:gd name="T4" fmla="*/ 598 w 708"/>
                <a:gd name="T5" fmla="*/ 57 h 88"/>
                <a:gd name="T6" fmla="*/ 601 w 708"/>
                <a:gd name="T7" fmla="*/ 62 h 88"/>
                <a:gd name="T8" fmla="*/ 608 w 708"/>
                <a:gd name="T9" fmla="*/ 65 h 88"/>
                <a:gd name="T10" fmla="*/ 680 w 708"/>
                <a:gd name="T11" fmla="*/ 63 h 88"/>
                <a:gd name="T12" fmla="*/ 684 w 708"/>
                <a:gd name="T13" fmla="*/ 59 h 88"/>
                <a:gd name="T14" fmla="*/ 684 w 708"/>
                <a:gd name="T15" fmla="*/ 32 h 88"/>
                <a:gd name="T16" fmla="*/ 681 w 708"/>
                <a:gd name="T17" fmla="*/ 27 h 88"/>
                <a:gd name="T18" fmla="*/ 676 w 708"/>
                <a:gd name="T19" fmla="*/ 25 h 88"/>
                <a:gd name="T20" fmla="*/ 31 w 708"/>
                <a:gd name="T21" fmla="*/ 25 h 88"/>
                <a:gd name="T22" fmla="*/ 26 w 708"/>
                <a:gd name="T23" fmla="*/ 27 h 88"/>
                <a:gd name="T24" fmla="*/ 23 w 708"/>
                <a:gd name="T25" fmla="*/ 32 h 88"/>
                <a:gd name="T26" fmla="*/ 23 w 708"/>
                <a:gd name="T27" fmla="*/ 59 h 88"/>
                <a:gd name="T28" fmla="*/ 29 w 708"/>
                <a:gd name="T29" fmla="*/ 63 h 88"/>
                <a:gd name="T30" fmla="*/ 100 w 708"/>
                <a:gd name="T31" fmla="*/ 65 h 88"/>
                <a:gd name="T32" fmla="*/ 106 w 708"/>
                <a:gd name="T33" fmla="*/ 62 h 88"/>
                <a:gd name="T34" fmla="*/ 109 w 708"/>
                <a:gd name="T35" fmla="*/ 57 h 88"/>
                <a:gd name="T36" fmla="*/ 108 w 708"/>
                <a:gd name="T37" fmla="*/ 29 h 88"/>
                <a:gd name="T38" fmla="*/ 104 w 708"/>
                <a:gd name="T39" fmla="*/ 25 h 88"/>
                <a:gd name="T40" fmla="*/ 31 w 708"/>
                <a:gd name="T41" fmla="*/ 25 h 88"/>
                <a:gd name="T42" fmla="*/ 31 w 708"/>
                <a:gd name="T43" fmla="*/ 88 h 88"/>
                <a:gd name="T44" fmla="*/ 18 w 708"/>
                <a:gd name="T45" fmla="*/ 86 h 88"/>
                <a:gd name="T46" fmla="*/ 9 w 708"/>
                <a:gd name="T47" fmla="*/ 79 h 88"/>
                <a:gd name="T48" fmla="*/ 2 w 708"/>
                <a:gd name="T49" fmla="*/ 69 h 88"/>
                <a:gd name="T50" fmla="*/ 0 w 708"/>
                <a:gd name="T51" fmla="*/ 57 h 88"/>
                <a:gd name="T52" fmla="*/ 0 w 708"/>
                <a:gd name="T53" fmla="*/ 27 h 88"/>
                <a:gd name="T54" fmla="*/ 5 w 708"/>
                <a:gd name="T55" fmla="*/ 15 h 88"/>
                <a:gd name="T56" fmla="*/ 13 w 708"/>
                <a:gd name="T57" fmla="*/ 6 h 88"/>
                <a:gd name="T58" fmla="*/ 25 w 708"/>
                <a:gd name="T59" fmla="*/ 2 h 88"/>
                <a:gd name="T60" fmla="*/ 100 w 708"/>
                <a:gd name="T61" fmla="*/ 0 h 88"/>
                <a:gd name="T62" fmla="*/ 113 w 708"/>
                <a:gd name="T63" fmla="*/ 3 h 88"/>
                <a:gd name="T64" fmla="*/ 123 w 708"/>
                <a:gd name="T65" fmla="*/ 9 h 88"/>
                <a:gd name="T66" fmla="*/ 130 w 708"/>
                <a:gd name="T67" fmla="*/ 20 h 88"/>
                <a:gd name="T68" fmla="*/ 133 w 708"/>
                <a:gd name="T69" fmla="*/ 32 h 88"/>
                <a:gd name="T70" fmla="*/ 131 w 708"/>
                <a:gd name="T71" fmla="*/ 63 h 88"/>
                <a:gd name="T72" fmla="*/ 127 w 708"/>
                <a:gd name="T73" fmla="*/ 74 h 88"/>
                <a:gd name="T74" fmla="*/ 118 w 708"/>
                <a:gd name="T75" fmla="*/ 83 h 88"/>
                <a:gd name="T76" fmla="*/ 106 w 708"/>
                <a:gd name="T77" fmla="*/ 88 h 88"/>
                <a:gd name="T78" fmla="*/ 676 w 708"/>
                <a:gd name="T79" fmla="*/ 88 h 88"/>
                <a:gd name="T80" fmla="*/ 601 w 708"/>
                <a:gd name="T81" fmla="*/ 88 h 88"/>
                <a:gd name="T82" fmla="*/ 589 w 708"/>
                <a:gd name="T83" fmla="*/ 83 h 88"/>
                <a:gd name="T84" fmla="*/ 581 w 708"/>
                <a:gd name="T85" fmla="*/ 74 h 88"/>
                <a:gd name="T86" fmla="*/ 576 w 708"/>
                <a:gd name="T87" fmla="*/ 63 h 88"/>
                <a:gd name="T88" fmla="*/ 575 w 708"/>
                <a:gd name="T89" fmla="*/ 32 h 88"/>
                <a:gd name="T90" fmla="*/ 577 w 708"/>
                <a:gd name="T91" fmla="*/ 20 h 88"/>
                <a:gd name="T92" fmla="*/ 584 w 708"/>
                <a:gd name="T93" fmla="*/ 9 h 88"/>
                <a:gd name="T94" fmla="*/ 594 w 708"/>
                <a:gd name="T95" fmla="*/ 3 h 88"/>
                <a:gd name="T96" fmla="*/ 608 w 708"/>
                <a:gd name="T97" fmla="*/ 0 h 88"/>
                <a:gd name="T98" fmla="*/ 683 w 708"/>
                <a:gd name="T99" fmla="*/ 2 h 88"/>
                <a:gd name="T100" fmla="*/ 694 w 708"/>
                <a:gd name="T101" fmla="*/ 6 h 88"/>
                <a:gd name="T102" fmla="*/ 702 w 708"/>
                <a:gd name="T103" fmla="*/ 15 h 88"/>
                <a:gd name="T104" fmla="*/ 708 w 708"/>
                <a:gd name="T105" fmla="*/ 27 h 88"/>
                <a:gd name="T106" fmla="*/ 708 w 708"/>
                <a:gd name="T107" fmla="*/ 57 h 88"/>
                <a:gd name="T108" fmla="*/ 705 w 708"/>
                <a:gd name="T109" fmla="*/ 69 h 88"/>
                <a:gd name="T110" fmla="*/ 698 w 708"/>
                <a:gd name="T111" fmla="*/ 79 h 88"/>
                <a:gd name="T112" fmla="*/ 689 w 708"/>
                <a:gd name="T113" fmla="*/ 86 h 88"/>
                <a:gd name="T114" fmla="*/ 676 w 708"/>
                <a:gd name="T1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8" h="88">
                  <a:moveTo>
                    <a:pt x="608" y="25"/>
                  </a:moveTo>
                  <a:lnTo>
                    <a:pt x="604" y="25"/>
                  </a:lnTo>
                  <a:lnTo>
                    <a:pt x="601" y="27"/>
                  </a:lnTo>
                  <a:lnTo>
                    <a:pt x="600" y="29"/>
                  </a:lnTo>
                  <a:lnTo>
                    <a:pt x="598" y="32"/>
                  </a:lnTo>
                  <a:lnTo>
                    <a:pt x="598" y="57"/>
                  </a:lnTo>
                  <a:lnTo>
                    <a:pt x="600" y="59"/>
                  </a:lnTo>
                  <a:lnTo>
                    <a:pt x="601" y="62"/>
                  </a:lnTo>
                  <a:lnTo>
                    <a:pt x="604" y="63"/>
                  </a:lnTo>
                  <a:lnTo>
                    <a:pt x="608" y="65"/>
                  </a:lnTo>
                  <a:lnTo>
                    <a:pt x="676" y="65"/>
                  </a:lnTo>
                  <a:lnTo>
                    <a:pt x="680" y="63"/>
                  </a:lnTo>
                  <a:lnTo>
                    <a:pt x="681" y="62"/>
                  </a:lnTo>
                  <a:lnTo>
                    <a:pt x="684" y="59"/>
                  </a:lnTo>
                  <a:lnTo>
                    <a:pt x="684" y="57"/>
                  </a:lnTo>
                  <a:lnTo>
                    <a:pt x="684" y="32"/>
                  </a:lnTo>
                  <a:lnTo>
                    <a:pt x="684" y="29"/>
                  </a:lnTo>
                  <a:lnTo>
                    <a:pt x="681" y="27"/>
                  </a:lnTo>
                  <a:lnTo>
                    <a:pt x="680" y="25"/>
                  </a:lnTo>
                  <a:lnTo>
                    <a:pt x="676" y="25"/>
                  </a:lnTo>
                  <a:lnTo>
                    <a:pt x="608" y="25"/>
                  </a:lnTo>
                  <a:close/>
                  <a:moveTo>
                    <a:pt x="31" y="25"/>
                  </a:moveTo>
                  <a:lnTo>
                    <a:pt x="29" y="25"/>
                  </a:lnTo>
                  <a:lnTo>
                    <a:pt x="26" y="27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9" y="63"/>
                  </a:lnTo>
                  <a:lnTo>
                    <a:pt x="31" y="65"/>
                  </a:lnTo>
                  <a:lnTo>
                    <a:pt x="100" y="65"/>
                  </a:lnTo>
                  <a:lnTo>
                    <a:pt x="104" y="63"/>
                  </a:lnTo>
                  <a:lnTo>
                    <a:pt x="106" y="62"/>
                  </a:lnTo>
                  <a:lnTo>
                    <a:pt x="108" y="59"/>
                  </a:lnTo>
                  <a:lnTo>
                    <a:pt x="109" y="57"/>
                  </a:lnTo>
                  <a:lnTo>
                    <a:pt x="109" y="32"/>
                  </a:lnTo>
                  <a:lnTo>
                    <a:pt x="108" y="29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31" y="25"/>
                  </a:lnTo>
                  <a:close/>
                  <a:moveTo>
                    <a:pt x="100" y="88"/>
                  </a:moveTo>
                  <a:lnTo>
                    <a:pt x="31" y="88"/>
                  </a:lnTo>
                  <a:lnTo>
                    <a:pt x="25" y="88"/>
                  </a:lnTo>
                  <a:lnTo>
                    <a:pt x="18" y="86"/>
                  </a:lnTo>
                  <a:lnTo>
                    <a:pt x="13" y="83"/>
                  </a:lnTo>
                  <a:lnTo>
                    <a:pt x="9" y="79"/>
                  </a:lnTo>
                  <a:lnTo>
                    <a:pt x="5" y="74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8" y="3"/>
                  </a:lnTo>
                  <a:lnTo>
                    <a:pt x="25" y="2"/>
                  </a:lnTo>
                  <a:lnTo>
                    <a:pt x="31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13" y="3"/>
                  </a:lnTo>
                  <a:lnTo>
                    <a:pt x="118" y="6"/>
                  </a:lnTo>
                  <a:lnTo>
                    <a:pt x="123" y="9"/>
                  </a:lnTo>
                  <a:lnTo>
                    <a:pt x="127" y="15"/>
                  </a:lnTo>
                  <a:lnTo>
                    <a:pt x="130" y="20"/>
                  </a:lnTo>
                  <a:lnTo>
                    <a:pt x="131" y="27"/>
                  </a:lnTo>
                  <a:lnTo>
                    <a:pt x="133" y="32"/>
                  </a:lnTo>
                  <a:lnTo>
                    <a:pt x="133" y="57"/>
                  </a:lnTo>
                  <a:lnTo>
                    <a:pt x="131" y="63"/>
                  </a:lnTo>
                  <a:lnTo>
                    <a:pt x="130" y="69"/>
                  </a:lnTo>
                  <a:lnTo>
                    <a:pt x="127" y="74"/>
                  </a:lnTo>
                  <a:lnTo>
                    <a:pt x="123" y="79"/>
                  </a:lnTo>
                  <a:lnTo>
                    <a:pt x="118" y="83"/>
                  </a:lnTo>
                  <a:lnTo>
                    <a:pt x="113" y="86"/>
                  </a:lnTo>
                  <a:lnTo>
                    <a:pt x="106" y="88"/>
                  </a:lnTo>
                  <a:lnTo>
                    <a:pt x="100" y="88"/>
                  </a:lnTo>
                  <a:close/>
                  <a:moveTo>
                    <a:pt x="676" y="88"/>
                  </a:moveTo>
                  <a:lnTo>
                    <a:pt x="608" y="88"/>
                  </a:lnTo>
                  <a:lnTo>
                    <a:pt x="601" y="88"/>
                  </a:lnTo>
                  <a:lnTo>
                    <a:pt x="594" y="86"/>
                  </a:lnTo>
                  <a:lnTo>
                    <a:pt x="589" y="83"/>
                  </a:lnTo>
                  <a:lnTo>
                    <a:pt x="584" y="79"/>
                  </a:lnTo>
                  <a:lnTo>
                    <a:pt x="581" y="74"/>
                  </a:lnTo>
                  <a:lnTo>
                    <a:pt x="577" y="69"/>
                  </a:lnTo>
                  <a:lnTo>
                    <a:pt x="576" y="63"/>
                  </a:lnTo>
                  <a:lnTo>
                    <a:pt x="575" y="57"/>
                  </a:lnTo>
                  <a:lnTo>
                    <a:pt x="575" y="32"/>
                  </a:lnTo>
                  <a:lnTo>
                    <a:pt x="576" y="27"/>
                  </a:lnTo>
                  <a:lnTo>
                    <a:pt x="577" y="20"/>
                  </a:lnTo>
                  <a:lnTo>
                    <a:pt x="581" y="15"/>
                  </a:lnTo>
                  <a:lnTo>
                    <a:pt x="584" y="9"/>
                  </a:lnTo>
                  <a:lnTo>
                    <a:pt x="589" y="6"/>
                  </a:lnTo>
                  <a:lnTo>
                    <a:pt x="594" y="3"/>
                  </a:lnTo>
                  <a:lnTo>
                    <a:pt x="601" y="2"/>
                  </a:lnTo>
                  <a:lnTo>
                    <a:pt x="608" y="0"/>
                  </a:lnTo>
                  <a:lnTo>
                    <a:pt x="676" y="0"/>
                  </a:lnTo>
                  <a:lnTo>
                    <a:pt x="683" y="2"/>
                  </a:lnTo>
                  <a:lnTo>
                    <a:pt x="689" y="3"/>
                  </a:lnTo>
                  <a:lnTo>
                    <a:pt x="694" y="6"/>
                  </a:lnTo>
                  <a:lnTo>
                    <a:pt x="698" y="9"/>
                  </a:lnTo>
                  <a:lnTo>
                    <a:pt x="702" y="15"/>
                  </a:lnTo>
                  <a:lnTo>
                    <a:pt x="705" y="20"/>
                  </a:lnTo>
                  <a:lnTo>
                    <a:pt x="708" y="27"/>
                  </a:lnTo>
                  <a:lnTo>
                    <a:pt x="708" y="32"/>
                  </a:lnTo>
                  <a:lnTo>
                    <a:pt x="708" y="57"/>
                  </a:lnTo>
                  <a:lnTo>
                    <a:pt x="708" y="63"/>
                  </a:lnTo>
                  <a:lnTo>
                    <a:pt x="705" y="69"/>
                  </a:lnTo>
                  <a:lnTo>
                    <a:pt x="702" y="74"/>
                  </a:lnTo>
                  <a:lnTo>
                    <a:pt x="698" y="79"/>
                  </a:lnTo>
                  <a:lnTo>
                    <a:pt x="694" y="83"/>
                  </a:lnTo>
                  <a:lnTo>
                    <a:pt x="689" y="86"/>
                  </a:lnTo>
                  <a:lnTo>
                    <a:pt x="683" y="88"/>
                  </a:lnTo>
                  <a:lnTo>
                    <a:pt x="676" y="88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7" name="Прямоугольник 166"/>
          <p:cNvSpPr/>
          <p:nvPr/>
        </p:nvSpPr>
        <p:spPr>
          <a:xfrm>
            <a:off x="1957114" y="1591871"/>
            <a:ext cx="391103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змерение параметров осуществляется </a:t>
            </a: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line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одновременно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проведением операции налива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автоматическая передача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анных в АСУТП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в учетные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стемы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мпании</a:t>
            </a:r>
          </a:p>
        </p:txBody>
      </p:sp>
      <p:sp>
        <p:nvSpPr>
          <p:cNvPr id="183" name="Овал 182"/>
          <p:cNvSpPr/>
          <p:nvPr/>
        </p:nvSpPr>
        <p:spPr>
          <a:xfrm>
            <a:off x="646483" y="1590229"/>
            <a:ext cx="416788" cy="418783"/>
          </a:xfrm>
          <a:prstGeom prst="ellipse">
            <a:avLst/>
          </a:prstGeom>
          <a:noFill/>
          <a:ln w="12700">
            <a:solidFill>
              <a:srgbClr val="545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2" name="Группа 231"/>
          <p:cNvGrpSpPr/>
          <p:nvPr/>
        </p:nvGrpSpPr>
        <p:grpSpPr>
          <a:xfrm>
            <a:off x="1442746" y="1688155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233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4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5" name="Прямоугольник 104"/>
          <p:cNvSpPr/>
          <p:nvPr/>
        </p:nvSpPr>
        <p:spPr>
          <a:xfrm>
            <a:off x="1979385" y="2155964"/>
            <a:ext cx="39110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матический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ет присадки в отпущенной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артии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рендированного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топлива</a:t>
            </a:r>
          </a:p>
        </p:txBody>
      </p:sp>
      <p:sp>
        <p:nvSpPr>
          <p:cNvPr id="113" name="oo_azs2"/>
          <p:cNvSpPr>
            <a:spLocks noChangeAspect="1" noEditPoints="1"/>
          </p:cNvSpPr>
          <p:nvPr/>
        </p:nvSpPr>
        <p:spPr bwMode="auto">
          <a:xfrm>
            <a:off x="733962" y="2198354"/>
            <a:ext cx="259453" cy="222996"/>
          </a:xfrm>
          <a:custGeom>
            <a:avLst/>
            <a:gdLst>
              <a:gd name="T0" fmla="*/ 1206 w 1280"/>
              <a:gd name="T1" fmla="*/ 1073 h 1101"/>
              <a:gd name="T2" fmla="*/ 1198 w 1280"/>
              <a:gd name="T3" fmla="*/ 978 h 1101"/>
              <a:gd name="T4" fmla="*/ 1139 w 1280"/>
              <a:gd name="T5" fmla="*/ 841 h 1101"/>
              <a:gd name="T6" fmla="*/ 1012 w 1280"/>
              <a:gd name="T7" fmla="*/ 700 h 1101"/>
              <a:gd name="T8" fmla="*/ 1118 w 1280"/>
              <a:gd name="T9" fmla="*/ 723 h 1101"/>
              <a:gd name="T10" fmla="*/ 1215 w 1280"/>
              <a:gd name="T11" fmla="*/ 860 h 1101"/>
              <a:gd name="T12" fmla="*/ 1257 w 1280"/>
              <a:gd name="T13" fmla="*/ 992 h 1101"/>
              <a:gd name="T14" fmla="*/ 1257 w 1280"/>
              <a:gd name="T15" fmla="*/ 1075 h 1101"/>
              <a:gd name="T16" fmla="*/ 1037 w 1280"/>
              <a:gd name="T17" fmla="*/ 638 h 1101"/>
              <a:gd name="T18" fmla="*/ 828 w 1280"/>
              <a:gd name="T19" fmla="*/ 594 h 1101"/>
              <a:gd name="T20" fmla="*/ 579 w 1280"/>
              <a:gd name="T21" fmla="*/ 340 h 1101"/>
              <a:gd name="T22" fmla="*/ 404 w 1280"/>
              <a:gd name="T23" fmla="*/ 282 h 1101"/>
              <a:gd name="T24" fmla="*/ 505 w 1280"/>
              <a:gd name="T25" fmla="*/ 151 h 1101"/>
              <a:gd name="T26" fmla="*/ 523 w 1280"/>
              <a:gd name="T27" fmla="*/ 140 h 1101"/>
              <a:gd name="T28" fmla="*/ 622 w 1280"/>
              <a:gd name="T29" fmla="*/ 160 h 1101"/>
              <a:gd name="T30" fmla="*/ 822 w 1280"/>
              <a:gd name="T31" fmla="*/ 304 h 1101"/>
              <a:gd name="T32" fmla="*/ 831 w 1280"/>
              <a:gd name="T33" fmla="*/ 332 h 1101"/>
              <a:gd name="T34" fmla="*/ 1020 w 1280"/>
              <a:gd name="T35" fmla="*/ 590 h 1101"/>
              <a:gd name="T36" fmla="*/ 559 w 1280"/>
              <a:gd name="T37" fmla="*/ 437 h 1101"/>
              <a:gd name="T38" fmla="*/ 646 w 1280"/>
              <a:gd name="T39" fmla="*/ 546 h 1101"/>
              <a:gd name="T40" fmla="*/ 660 w 1280"/>
              <a:gd name="T41" fmla="*/ 525 h 1101"/>
              <a:gd name="T42" fmla="*/ 594 w 1280"/>
              <a:gd name="T43" fmla="*/ 385 h 1101"/>
              <a:gd name="T44" fmla="*/ 765 w 1280"/>
              <a:gd name="T45" fmla="*/ 538 h 1101"/>
              <a:gd name="T46" fmla="*/ 519 w 1280"/>
              <a:gd name="T47" fmla="*/ 391 h 1101"/>
              <a:gd name="T48" fmla="*/ 572 w 1280"/>
              <a:gd name="T49" fmla="*/ 424 h 1101"/>
              <a:gd name="T50" fmla="*/ 605 w 1280"/>
              <a:gd name="T51" fmla="*/ 642 h 1101"/>
              <a:gd name="T52" fmla="*/ 462 w 1280"/>
              <a:gd name="T53" fmla="*/ 349 h 1101"/>
              <a:gd name="T54" fmla="*/ 503 w 1280"/>
              <a:gd name="T55" fmla="*/ 384 h 1101"/>
              <a:gd name="T56" fmla="*/ 490 w 1280"/>
              <a:gd name="T57" fmla="*/ 428 h 1101"/>
              <a:gd name="T58" fmla="*/ 624 w 1280"/>
              <a:gd name="T59" fmla="*/ 596 h 1101"/>
              <a:gd name="T60" fmla="*/ 370 w 1280"/>
              <a:gd name="T61" fmla="*/ 208 h 1101"/>
              <a:gd name="T62" fmla="*/ 428 w 1280"/>
              <a:gd name="T63" fmla="*/ 136 h 1101"/>
              <a:gd name="T64" fmla="*/ 485 w 1280"/>
              <a:gd name="T65" fmla="*/ 145 h 1101"/>
              <a:gd name="T66" fmla="*/ 28 w 1280"/>
              <a:gd name="T67" fmla="*/ 86 h 1101"/>
              <a:gd name="T68" fmla="*/ 24 w 1280"/>
              <a:gd name="T69" fmla="*/ 36 h 1101"/>
              <a:gd name="T70" fmla="*/ 375 w 1280"/>
              <a:gd name="T71" fmla="*/ 172 h 1101"/>
              <a:gd name="T72" fmla="*/ 1265 w 1280"/>
              <a:gd name="T73" fmla="*/ 940 h 1101"/>
              <a:gd name="T74" fmla="*/ 1199 w 1280"/>
              <a:gd name="T75" fmla="*/ 797 h 1101"/>
              <a:gd name="T76" fmla="*/ 1080 w 1280"/>
              <a:gd name="T77" fmla="*/ 660 h 1101"/>
              <a:gd name="T78" fmla="*/ 1035 w 1280"/>
              <a:gd name="T79" fmla="*/ 606 h 1101"/>
              <a:gd name="T80" fmla="*/ 1029 w 1280"/>
              <a:gd name="T81" fmla="*/ 568 h 1101"/>
              <a:gd name="T82" fmla="*/ 842 w 1280"/>
              <a:gd name="T83" fmla="*/ 300 h 1101"/>
              <a:gd name="T84" fmla="*/ 628 w 1280"/>
              <a:gd name="T85" fmla="*/ 141 h 1101"/>
              <a:gd name="T86" fmla="*/ 523 w 1280"/>
              <a:gd name="T87" fmla="*/ 122 h 1101"/>
              <a:gd name="T88" fmla="*/ 456 w 1280"/>
              <a:gd name="T89" fmla="*/ 102 h 1101"/>
              <a:gd name="T90" fmla="*/ 275 w 1280"/>
              <a:gd name="T91" fmla="*/ 7 h 1101"/>
              <a:gd name="T92" fmla="*/ 23 w 1280"/>
              <a:gd name="T93" fmla="*/ 18 h 1101"/>
              <a:gd name="T94" fmla="*/ 2 w 1280"/>
              <a:gd name="T95" fmla="*/ 41 h 1101"/>
              <a:gd name="T96" fmla="*/ 19 w 1280"/>
              <a:gd name="T97" fmla="*/ 102 h 1101"/>
              <a:gd name="T98" fmla="*/ 352 w 1280"/>
              <a:gd name="T99" fmla="*/ 202 h 1101"/>
              <a:gd name="T100" fmla="*/ 391 w 1280"/>
              <a:gd name="T101" fmla="*/ 264 h 1101"/>
              <a:gd name="T102" fmla="*/ 397 w 1280"/>
              <a:gd name="T103" fmla="*/ 304 h 1101"/>
              <a:gd name="T104" fmla="*/ 422 w 1280"/>
              <a:gd name="T105" fmla="*/ 425 h 1101"/>
              <a:gd name="T106" fmla="*/ 602 w 1280"/>
              <a:gd name="T107" fmla="*/ 661 h 1101"/>
              <a:gd name="T108" fmla="*/ 928 w 1280"/>
              <a:gd name="T109" fmla="*/ 693 h 1101"/>
              <a:gd name="T110" fmla="*/ 976 w 1280"/>
              <a:gd name="T111" fmla="*/ 709 h 1101"/>
              <a:gd name="T112" fmla="*/ 1020 w 1280"/>
              <a:gd name="T113" fmla="*/ 730 h 1101"/>
              <a:gd name="T114" fmla="*/ 1144 w 1280"/>
              <a:gd name="T115" fmla="*/ 883 h 1101"/>
              <a:gd name="T116" fmla="*/ 1185 w 1280"/>
              <a:gd name="T117" fmla="*/ 1015 h 1101"/>
              <a:gd name="T118" fmla="*/ 1199 w 1280"/>
              <a:gd name="T119" fmla="*/ 1091 h 1101"/>
              <a:gd name="T120" fmla="*/ 1256 w 1280"/>
              <a:gd name="T121" fmla="*/ 1097 h 1101"/>
              <a:gd name="T122" fmla="*/ 1280 w 1280"/>
              <a:gd name="T123" fmla="*/ 1046 h 1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80" h="1101">
                <a:moveTo>
                  <a:pt x="1254" y="1079"/>
                </a:moveTo>
                <a:lnTo>
                  <a:pt x="1245" y="1081"/>
                </a:lnTo>
                <a:lnTo>
                  <a:pt x="1231" y="1082"/>
                </a:lnTo>
                <a:lnTo>
                  <a:pt x="1224" y="1082"/>
                </a:lnTo>
                <a:lnTo>
                  <a:pt x="1218" y="1081"/>
                </a:lnTo>
                <a:lnTo>
                  <a:pt x="1211" y="1079"/>
                </a:lnTo>
                <a:lnTo>
                  <a:pt x="1208" y="1075"/>
                </a:lnTo>
                <a:lnTo>
                  <a:pt x="1206" y="1073"/>
                </a:lnTo>
                <a:lnTo>
                  <a:pt x="1205" y="1071"/>
                </a:lnTo>
                <a:lnTo>
                  <a:pt x="1205" y="1069"/>
                </a:lnTo>
                <a:lnTo>
                  <a:pt x="1205" y="1066"/>
                </a:lnTo>
                <a:lnTo>
                  <a:pt x="1205" y="1048"/>
                </a:lnTo>
                <a:lnTo>
                  <a:pt x="1205" y="1031"/>
                </a:lnTo>
                <a:lnTo>
                  <a:pt x="1203" y="1014"/>
                </a:lnTo>
                <a:lnTo>
                  <a:pt x="1201" y="996"/>
                </a:lnTo>
                <a:lnTo>
                  <a:pt x="1198" y="978"/>
                </a:lnTo>
                <a:lnTo>
                  <a:pt x="1194" y="962"/>
                </a:lnTo>
                <a:lnTo>
                  <a:pt x="1188" y="944"/>
                </a:lnTo>
                <a:lnTo>
                  <a:pt x="1182" y="926"/>
                </a:lnTo>
                <a:lnTo>
                  <a:pt x="1176" y="909"/>
                </a:lnTo>
                <a:lnTo>
                  <a:pt x="1168" y="892"/>
                </a:lnTo>
                <a:lnTo>
                  <a:pt x="1159" y="875"/>
                </a:lnTo>
                <a:lnTo>
                  <a:pt x="1150" y="858"/>
                </a:lnTo>
                <a:lnTo>
                  <a:pt x="1139" y="841"/>
                </a:lnTo>
                <a:lnTo>
                  <a:pt x="1128" y="824"/>
                </a:lnTo>
                <a:lnTo>
                  <a:pt x="1116" y="807"/>
                </a:lnTo>
                <a:lnTo>
                  <a:pt x="1103" y="790"/>
                </a:lnTo>
                <a:lnTo>
                  <a:pt x="1078" y="762"/>
                </a:lnTo>
                <a:lnTo>
                  <a:pt x="1054" y="737"/>
                </a:lnTo>
                <a:lnTo>
                  <a:pt x="1032" y="716"/>
                </a:lnTo>
                <a:lnTo>
                  <a:pt x="1013" y="700"/>
                </a:lnTo>
                <a:lnTo>
                  <a:pt x="1012" y="700"/>
                </a:lnTo>
                <a:lnTo>
                  <a:pt x="1012" y="700"/>
                </a:lnTo>
                <a:lnTo>
                  <a:pt x="1048" y="656"/>
                </a:lnTo>
                <a:lnTo>
                  <a:pt x="1048" y="656"/>
                </a:lnTo>
                <a:lnTo>
                  <a:pt x="1048" y="656"/>
                </a:lnTo>
                <a:lnTo>
                  <a:pt x="1068" y="674"/>
                </a:lnTo>
                <a:lnTo>
                  <a:pt x="1092" y="696"/>
                </a:lnTo>
                <a:lnTo>
                  <a:pt x="1105" y="709"/>
                </a:lnTo>
                <a:lnTo>
                  <a:pt x="1118" y="723"/>
                </a:lnTo>
                <a:lnTo>
                  <a:pt x="1132" y="738"/>
                </a:lnTo>
                <a:lnTo>
                  <a:pt x="1146" y="754"/>
                </a:lnTo>
                <a:lnTo>
                  <a:pt x="1159" y="772"/>
                </a:lnTo>
                <a:lnTo>
                  <a:pt x="1172" y="788"/>
                </a:lnTo>
                <a:lnTo>
                  <a:pt x="1183" y="806"/>
                </a:lnTo>
                <a:lnTo>
                  <a:pt x="1195" y="824"/>
                </a:lnTo>
                <a:lnTo>
                  <a:pt x="1205" y="843"/>
                </a:lnTo>
                <a:lnTo>
                  <a:pt x="1215" y="860"/>
                </a:lnTo>
                <a:lnTo>
                  <a:pt x="1223" y="878"/>
                </a:lnTo>
                <a:lnTo>
                  <a:pt x="1231" y="897"/>
                </a:lnTo>
                <a:lnTo>
                  <a:pt x="1236" y="913"/>
                </a:lnTo>
                <a:lnTo>
                  <a:pt x="1242" y="928"/>
                </a:lnTo>
                <a:lnTo>
                  <a:pt x="1247" y="944"/>
                </a:lnTo>
                <a:lnTo>
                  <a:pt x="1251" y="961"/>
                </a:lnTo>
                <a:lnTo>
                  <a:pt x="1254" y="976"/>
                </a:lnTo>
                <a:lnTo>
                  <a:pt x="1257" y="992"/>
                </a:lnTo>
                <a:lnTo>
                  <a:pt x="1259" y="1009"/>
                </a:lnTo>
                <a:lnTo>
                  <a:pt x="1260" y="1025"/>
                </a:lnTo>
                <a:lnTo>
                  <a:pt x="1260" y="1031"/>
                </a:lnTo>
                <a:lnTo>
                  <a:pt x="1261" y="1043"/>
                </a:lnTo>
                <a:lnTo>
                  <a:pt x="1263" y="1058"/>
                </a:lnTo>
                <a:lnTo>
                  <a:pt x="1261" y="1064"/>
                </a:lnTo>
                <a:lnTo>
                  <a:pt x="1259" y="1070"/>
                </a:lnTo>
                <a:lnTo>
                  <a:pt x="1257" y="1075"/>
                </a:lnTo>
                <a:lnTo>
                  <a:pt x="1254" y="1079"/>
                </a:lnTo>
                <a:close/>
                <a:moveTo>
                  <a:pt x="983" y="692"/>
                </a:moveTo>
                <a:lnTo>
                  <a:pt x="973" y="684"/>
                </a:lnTo>
                <a:lnTo>
                  <a:pt x="1025" y="620"/>
                </a:lnTo>
                <a:lnTo>
                  <a:pt x="1034" y="629"/>
                </a:lnTo>
                <a:lnTo>
                  <a:pt x="1036" y="632"/>
                </a:lnTo>
                <a:lnTo>
                  <a:pt x="1037" y="635"/>
                </a:lnTo>
                <a:lnTo>
                  <a:pt x="1037" y="638"/>
                </a:lnTo>
                <a:lnTo>
                  <a:pt x="1036" y="641"/>
                </a:lnTo>
                <a:lnTo>
                  <a:pt x="995" y="691"/>
                </a:lnTo>
                <a:lnTo>
                  <a:pt x="993" y="693"/>
                </a:lnTo>
                <a:lnTo>
                  <a:pt x="989" y="694"/>
                </a:lnTo>
                <a:lnTo>
                  <a:pt x="986" y="694"/>
                </a:lnTo>
                <a:lnTo>
                  <a:pt x="983" y="692"/>
                </a:lnTo>
                <a:close/>
                <a:moveTo>
                  <a:pt x="938" y="679"/>
                </a:moveTo>
                <a:lnTo>
                  <a:pt x="828" y="594"/>
                </a:lnTo>
                <a:lnTo>
                  <a:pt x="794" y="543"/>
                </a:lnTo>
                <a:lnTo>
                  <a:pt x="791" y="540"/>
                </a:lnTo>
                <a:lnTo>
                  <a:pt x="791" y="540"/>
                </a:lnTo>
                <a:lnTo>
                  <a:pt x="790" y="538"/>
                </a:lnTo>
                <a:lnTo>
                  <a:pt x="789" y="536"/>
                </a:lnTo>
                <a:lnTo>
                  <a:pt x="787" y="535"/>
                </a:lnTo>
                <a:lnTo>
                  <a:pt x="785" y="534"/>
                </a:lnTo>
                <a:lnTo>
                  <a:pt x="579" y="340"/>
                </a:lnTo>
                <a:lnTo>
                  <a:pt x="575" y="336"/>
                </a:lnTo>
                <a:lnTo>
                  <a:pt x="569" y="333"/>
                </a:lnTo>
                <a:lnTo>
                  <a:pt x="562" y="332"/>
                </a:lnTo>
                <a:lnTo>
                  <a:pt x="557" y="332"/>
                </a:lnTo>
                <a:lnTo>
                  <a:pt x="460" y="331"/>
                </a:lnTo>
                <a:lnTo>
                  <a:pt x="409" y="291"/>
                </a:lnTo>
                <a:lnTo>
                  <a:pt x="406" y="286"/>
                </a:lnTo>
                <a:lnTo>
                  <a:pt x="404" y="282"/>
                </a:lnTo>
                <a:lnTo>
                  <a:pt x="405" y="277"/>
                </a:lnTo>
                <a:lnTo>
                  <a:pt x="407" y="273"/>
                </a:lnTo>
                <a:lnTo>
                  <a:pt x="410" y="269"/>
                </a:lnTo>
                <a:lnTo>
                  <a:pt x="410" y="269"/>
                </a:lnTo>
                <a:lnTo>
                  <a:pt x="410" y="269"/>
                </a:lnTo>
                <a:lnTo>
                  <a:pt x="410" y="269"/>
                </a:lnTo>
                <a:lnTo>
                  <a:pt x="410" y="269"/>
                </a:lnTo>
                <a:lnTo>
                  <a:pt x="505" y="151"/>
                </a:lnTo>
                <a:lnTo>
                  <a:pt x="505" y="151"/>
                </a:lnTo>
                <a:lnTo>
                  <a:pt x="505" y="150"/>
                </a:lnTo>
                <a:lnTo>
                  <a:pt x="505" y="150"/>
                </a:lnTo>
                <a:lnTo>
                  <a:pt x="505" y="150"/>
                </a:lnTo>
                <a:lnTo>
                  <a:pt x="509" y="144"/>
                </a:lnTo>
                <a:lnTo>
                  <a:pt x="513" y="141"/>
                </a:lnTo>
                <a:lnTo>
                  <a:pt x="517" y="140"/>
                </a:lnTo>
                <a:lnTo>
                  <a:pt x="523" y="140"/>
                </a:lnTo>
                <a:lnTo>
                  <a:pt x="527" y="142"/>
                </a:lnTo>
                <a:lnTo>
                  <a:pt x="574" y="180"/>
                </a:lnTo>
                <a:lnTo>
                  <a:pt x="576" y="182"/>
                </a:lnTo>
                <a:lnTo>
                  <a:pt x="579" y="182"/>
                </a:lnTo>
                <a:lnTo>
                  <a:pt x="581" y="182"/>
                </a:lnTo>
                <a:lnTo>
                  <a:pt x="584" y="181"/>
                </a:lnTo>
                <a:lnTo>
                  <a:pt x="619" y="161"/>
                </a:lnTo>
                <a:lnTo>
                  <a:pt x="622" y="160"/>
                </a:lnTo>
                <a:lnTo>
                  <a:pt x="625" y="159"/>
                </a:lnTo>
                <a:lnTo>
                  <a:pt x="629" y="159"/>
                </a:lnTo>
                <a:lnTo>
                  <a:pt x="633" y="159"/>
                </a:lnTo>
                <a:lnTo>
                  <a:pt x="637" y="159"/>
                </a:lnTo>
                <a:lnTo>
                  <a:pt x="641" y="160"/>
                </a:lnTo>
                <a:lnTo>
                  <a:pt x="645" y="162"/>
                </a:lnTo>
                <a:lnTo>
                  <a:pt x="647" y="164"/>
                </a:lnTo>
                <a:lnTo>
                  <a:pt x="822" y="304"/>
                </a:lnTo>
                <a:lnTo>
                  <a:pt x="825" y="307"/>
                </a:lnTo>
                <a:lnTo>
                  <a:pt x="827" y="309"/>
                </a:lnTo>
                <a:lnTo>
                  <a:pt x="829" y="313"/>
                </a:lnTo>
                <a:lnTo>
                  <a:pt x="830" y="317"/>
                </a:lnTo>
                <a:lnTo>
                  <a:pt x="831" y="321"/>
                </a:lnTo>
                <a:lnTo>
                  <a:pt x="831" y="325"/>
                </a:lnTo>
                <a:lnTo>
                  <a:pt x="831" y="328"/>
                </a:lnTo>
                <a:lnTo>
                  <a:pt x="831" y="332"/>
                </a:lnTo>
                <a:lnTo>
                  <a:pt x="817" y="378"/>
                </a:lnTo>
                <a:lnTo>
                  <a:pt x="817" y="380"/>
                </a:lnTo>
                <a:lnTo>
                  <a:pt x="817" y="383"/>
                </a:lnTo>
                <a:lnTo>
                  <a:pt x="818" y="385"/>
                </a:lnTo>
                <a:lnTo>
                  <a:pt x="819" y="388"/>
                </a:lnTo>
                <a:lnTo>
                  <a:pt x="1016" y="581"/>
                </a:lnTo>
                <a:lnTo>
                  <a:pt x="1019" y="585"/>
                </a:lnTo>
                <a:lnTo>
                  <a:pt x="1020" y="590"/>
                </a:lnTo>
                <a:lnTo>
                  <a:pt x="1020" y="595"/>
                </a:lnTo>
                <a:lnTo>
                  <a:pt x="1017" y="601"/>
                </a:lnTo>
                <a:lnTo>
                  <a:pt x="956" y="677"/>
                </a:lnTo>
                <a:lnTo>
                  <a:pt x="953" y="680"/>
                </a:lnTo>
                <a:lnTo>
                  <a:pt x="947" y="682"/>
                </a:lnTo>
                <a:lnTo>
                  <a:pt x="942" y="681"/>
                </a:lnTo>
                <a:lnTo>
                  <a:pt x="938" y="679"/>
                </a:lnTo>
                <a:close/>
                <a:moveTo>
                  <a:pt x="559" y="437"/>
                </a:moveTo>
                <a:lnTo>
                  <a:pt x="618" y="536"/>
                </a:lnTo>
                <a:lnTo>
                  <a:pt x="621" y="540"/>
                </a:lnTo>
                <a:lnTo>
                  <a:pt x="626" y="544"/>
                </a:lnTo>
                <a:lnTo>
                  <a:pt x="632" y="546"/>
                </a:lnTo>
                <a:lnTo>
                  <a:pt x="639" y="547"/>
                </a:lnTo>
                <a:lnTo>
                  <a:pt x="639" y="547"/>
                </a:lnTo>
                <a:lnTo>
                  <a:pt x="639" y="547"/>
                </a:lnTo>
                <a:lnTo>
                  <a:pt x="646" y="546"/>
                </a:lnTo>
                <a:lnTo>
                  <a:pt x="648" y="546"/>
                </a:lnTo>
                <a:lnTo>
                  <a:pt x="649" y="545"/>
                </a:lnTo>
                <a:lnTo>
                  <a:pt x="656" y="541"/>
                </a:lnTo>
                <a:lnTo>
                  <a:pt x="658" y="540"/>
                </a:lnTo>
                <a:lnTo>
                  <a:pt x="659" y="538"/>
                </a:lnTo>
                <a:lnTo>
                  <a:pt x="660" y="536"/>
                </a:lnTo>
                <a:lnTo>
                  <a:pt x="660" y="534"/>
                </a:lnTo>
                <a:lnTo>
                  <a:pt x="660" y="525"/>
                </a:lnTo>
                <a:lnTo>
                  <a:pt x="660" y="523"/>
                </a:lnTo>
                <a:lnTo>
                  <a:pt x="659" y="522"/>
                </a:lnTo>
                <a:lnTo>
                  <a:pt x="603" y="394"/>
                </a:lnTo>
                <a:lnTo>
                  <a:pt x="602" y="393"/>
                </a:lnTo>
                <a:lnTo>
                  <a:pt x="601" y="392"/>
                </a:lnTo>
                <a:lnTo>
                  <a:pt x="598" y="388"/>
                </a:lnTo>
                <a:lnTo>
                  <a:pt x="596" y="387"/>
                </a:lnTo>
                <a:lnTo>
                  <a:pt x="594" y="385"/>
                </a:lnTo>
                <a:lnTo>
                  <a:pt x="528" y="373"/>
                </a:lnTo>
                <a:lnTo>
                  <a:pt x="530" y="369"/>
                </a:lnTo>
                <a:lnTo>
                  <a:pt x="531" y="367"/>
                </a:lnTo>
                <a:lnTo>
                  <a:pt x="540" y="350"/>
                </a:lnTo>
                <a:lnTo>
                  <a:pt x="557" y="350"/>
                </a:lnTo>
                <a:lnTo>
                  <a:pt x="563" y="351"/>
                </a:lnTo>
                <a:lnTo>
                  <a:pt x="566" y="353"/>
                </a:lnTo>
                <a:lnTo>
                  <a:pt x="765" y="538"/>
                </a:lnTo>
                <a:lnTo>
                  <a:pt x="626" y="578"/>
                </a:lnTo>
                <a:lnTo>
                  <a:pt x="623" y="579"/>
                </a:lnTo>
                <a:lnTo>
                  <a:pt x="619" y="578"/>
                </a:lnTo>
                <a:lnTo>
                  <a:pt x="617" y="575"/>
                </a:lnTo>
                <a:lnTo>
                  <a:pt x="511" y="430"/>
                </a:lnTo>
                <a:lnTo>
                  <a:pt x="559" y="437"/>
                </a:lnTo>
                <a:close/>
                <a:moveTo>
                  <a:pt x="519" y="392"/>
                </a:moveTo>
                <a:lnTo>
                  <a:pt x="519" y="391"/>
                </a:lnTo>
                <a:lnTo>
                  <a:pt x="519" y="390"/>
                </a:lnTo>
                <a:lnTo>
                  <a:pt x="583" y="400"/>
                </a:lnTo>
                <a:lnTo>
                  <a:pt x="585" y="401"/>
                </a:lnTo>
                <a:lnTo>
                  <a:pt x="643" y="527"/>
                </a:lnTo>
                <a:lnTo>
                  <a:pt x="637" y="530"/>
                </a:lnTo>
                <a:lnTo>
                  <a:pt x="634" y="528"/>
                </a:lnTo>
                <a:lnTo>
                  <a:pt x="633" y="526"/>
                </a:lnTo>
                <a:lnTo>
                  <a:pt x="572" y="424"/>
                </a:lnTo>
                <a:lnTo>
                  <a:pt x="570" y="421"/>
                </a:lnTo>
                <a:lnTo>
                  <a:pt x="565" y="420"/>
                </a:lnTo>
                <a:lnTo>
                  <a:pt x="510" y="413"/>
                </a:lnTo>
                <a:lnTo>
                  <a:pt x="519" y="392"/>
                </a:lnTo>
                <a:close/>
                <a:moveTo>
                  <a:pt x="624" y="644"/>
                </a:moveTo>
                <a:lnTo>
                  <a:pt x="618" y="645"/>
                </a:lnTo>
                <a:lnTo>
                  <a:pt x="611" y="644"/>
                </a:lnTo>
                <a:lnTo>
                  <a:pt x="605" y="642"/>
                </a:lnTo>
                <a:lnTo>
                  <a:pt x="600" y="639"/>
                </a:lnTo>
                <a:lnTo>
                  <a:pt x="596" y="635"/>
                </a:lnTo>
                <a:lnTo>
                  <a:pt x="442" y="425"/>
                </a:lnTo>
                <a:lnTo>
                  <a:pt x="439" y="418"/>
                </a:lnTo>
                <a:lnTo>
                  <a:pt x="437" y="411"/>
                </a:lnTo>
                <a:lnTo>
                  <a:pt x="437" y="402"/>
                </a:lnTo>
                <a:lnTo>
                  <a:pt x="439" y="395"/>
                </a:lnTo>
                <a:lnTo>
                  <a:pt x="462" y="349"/>
                </a:lnTo>
                <a:lnTo>
                  <a:pt x="519" y="350"/>
                </a:lnTo>
                <a:lnTo>
                  <a:pt x="514" y="359"/>
                </a:lnTo>
                <a:lnTo>
                  <a:pt x="512" y="365"/>
                </a:lnTo>
                <a:lnTo>
                  <a:pt x="507" y="375"/>
                </a:lnTo>
                <a:lnTo>
                  <a:pt x="506" y="376"/>
                </a:lnTo>
                <a:lnTo>
                  <a:pt x="506" y="378"/>
                </a:lnTo>
                <a:lnTo>
                  <a:pt x="504" y="381"/>
                </a:lnTo>
                <a:lnTo>
                  <a:pt x="503" y="384"/>
                </a:lnTo>
                <a:lnTo>
                  <a:pt x="491" y="411"/>
                </a:lnTo>
                <a:lnTo>
                  <a:pt x="491" y="413"/>
                </a:lnTo>
                <a:lnTo>
                  <a:pt x="490" y="415"/>
                </a:lnTo>
                <a:lnTo>
                  <a:pt x="489" y="417"/>
                </a:lnTo>
                <a:lnTo>
                  <a:pt x="489" y="419"/>
                </a:lnTo>
                <a:lnTo>
                  <a:pt x="489" y="421"/>
                </a:lnTo>
                <a:lnTo>
                  <a:pt x="490" y="424"/>
                </a:lnTo>
                <a:lnTo>
                  <a:pt x="490" y="428"/>
                </a:lnTo>
                <a:lnTo>
                  <a:pt x="491" y="432"/>
                </a:lnTo>
                <a:lnTo>
                  <a:pt x="493" y="437"/>
                </a:lnTo>
                <a:lnTo>
                  <a:pt x="495" y="440"/>
                </a:lnTo>
                <a:lnTo>
                  <a:pt x="602" y="586"/>
                </a:lnTo>
                <a:lnTo>
                  <a:pt x="605" y="590"/>
                </a:lnTo>
                <a:lnTo>
                  <a:pt x="611" y="593"/>
                </a:lnTo>
                <a:lnTo>
                  <a:pt x="617" y="595"/>
                </a:lnTo>
                <a:lnTo>
                  <a:pt x="624" y="596"/>
                </a:lnTo>
                <a:lnTo>
                  <a:pt x="624" y="596"/>
                </a:lnTo>
                <a:lnTo>
                  <a:pt x="624" y="596"/>
                </a:lnTo>
                <a:lnTo>
                  <a:pt x="778" y="553"/>
                </a:lnTo>
                <a:lnTo>
                  <a:pt x="806" y="594"/>
                </a:lnTo>
                <a:lnTo>
                  <a:pt x="624" y="644"/>
                </a:lnTo>
                <a:close/>
                <a:moveTo>
                  <a:pt x="367" y="217"/>
                </a:moveTo>
                <a:lnTo>
                  <a:pt x="368" y="212"/>
                </a:lnTo>
                <a:lnTo>
                  <a:pt x="370" y="208"/>
                </a:lnTo>
                <a:lnTo>
                  <a:pt x="384" y="191"/>
                </a:lnTo>
                <a:lnTo>
                  <a:pt x="384" y="190"/>
                </a:lnTo>
                <a:lnTo>
                  <a:pt x="385" y="190"/>
                </a:lnTo>
                <a:lnTo>
                  <a:pt x="385" y="189"/>
                </a:lnTo>
                <a:lnTo>
                  <a:pt x="386" y="188"/>
                </a:lnTo>
                <a:lnTo>
                  <a:pt x="427" y="138"/>
                </a:lnTo>
                <a:lnTo>
                  <a:pt x="427" y="137"/>
                </a:lnTo>
                <a:lnTo>
                  <a:pt x="428" y="136"/>
                </a:lnTo>
                <a:lnTo>
                  <a:pt x="428" y="136"/>
                </a:lnTo>
                <a:lnTo>
                  <a:pt x="429" y="135"/>
                </a:lnTo>
                <a:lnTo>
                  <a:pt x="438" y="122"/>
                </a:lnTo>
                <a:lnTo>
                  <a:pt x="442" y="120"/>
                </a:lnTo>
                <a:lnTo>
                  <a:pt x="446" y="118"/>
                </a:lnTo>
                <a:lnTo>
                  <a:pt x="452" y="119"/>
                </a:lnTo>
                <a:lnTo>
                  <a:pt x="456" y="121"/>
                </a:lnTo>
                <a:lnTo>
                  <a:pt x="485" y="145"/>
                </a:lnTo>
                <a:lnTo>
                  <a:pt x="402" y="250"/>
                </a:lnTo>
                <a:lnTo>
                  <a:pt x="372" y="225"/>
                </a:lnTo>
                <a:lnTo>
                  <a:pt x="369" y="222"/>
                </a:lnTo>
                <a:lnTo>
                  <a:pt x="367" y="217"/>
                </a:lnTo>
                <a:close/>
                <a:moveTo>
                  <a:pt x="247" y="72"/>
                </a:moveTo>
                <a:lnTo>
                  <a:pt x="244" y="71"/>
                </a:lnTo>
                <a:lnTo>
                  <a:pt x="241" y="70"/>
                </a:lnTo>
                <a:lnTo>
                  <a:pt x="28" y="86"/>
                </a:lnTo>
                <a:lnTo>
                  <a:pt x="26" y="85"/>
                </a:lnTo>
                <a:lnTo>
                  <a:pt x="23" y="81"/>
                </a:lnTo>
                <a:lnTo>
                  <a:pt x="21" y="73"/>
                </a:lnTo>
                <a:lnTo>
                  <a:pt x="19" y="62"/>
                </a:lnTo>
                <a:lnTo>
                  <a:pt x="19" y="53"/>
                </a:lnTo>
                <a:lnTo>
                  <a:pt x="20" y="45"/>
                </a:lnTo>
                <a:lnTo>
                  <a:pt x="22" y="40"/>
                </a:lnTo>
                <a:lnTo>
                  <a:pt x="24" y="36"/>
                </a:lnTo>
                <a:lnTo>
                  <a:pt x="244" y="19"/>
                </a:lnTo>
                <a:lnTo>
                  <a:pt x="247" y="19"/>
                </a:lnTo>
                <a:lnTo>
                  <a:pt x="254" y="19"/>
                </a:lnTo>
                <a:lnTo>
                  <a:pt x="258" y="18"/>
                </a:lnTo>
                <a:lnTo>
                  <a:pt x="260" y="19"/>
                </a:lnTo>
                <a:lnTo>
                  <a:pt x="264" y="20"/>
                </a:lnTo>
                <a:lnTo>
                  <a:pt x="408" y="132"/>
                </a:lnTo>
                <a:lnTo>
                  <a:pt x="375" y="172"/>
                </a:lnTo>
                <a:lnTo>
                  <a:pt x="247" y="72"/>
                </a:lnTo>
                <a:close/>
                <a:moveTo>
                  <a:pt x="1279" y="1030"/>
                </a:moveTo>
                <a:lnTo>
                  <a:pt x="1278" y="1023"/>
                </a:lnTo>
                <a:lnTo>
                  <a:pt x="1277" y="1007"/>
                </a:lnTo>
                <a:lnTo>
                  <a:pt x="1275" y="990"/>
                </a:lnTo>
                <a:lnTo>
                  <a:pt x="1272" y="973"/>
                </a:lnTo>
                <a:lnTo>
                  <a:pt x="1269" y="956"/>
                </a:lnTo>
                <a:lnTo>
                  <a:pt x="1265" y="940"/>
                </a:lnTo>
                <a:lnTo>
                  <a:pt x="1259" y="923"/>
                </a:lnTo>
                <a:lnTo>
                  <a:pt x="1254" y="906"/>
                </a:lnTo>
                <a:lnTo>
                  <a:pt x="1248" y="891"/>
                </a:lnTo>
                <a:lnTo>
                  <a:pt x="1240" y="871"/>
                </a:lnTo>
                <a:lnTo>
                  <a:pt x="1231" y="852"/>
                </a:lnTo>
                <a:lnTo>
                  <a:pt x="1221" y="833"/>
                </a:lnTo>
                <a:lnTo>
                  <a:pt x="1210" y="816"/>
                </a:lnTo>
                <a:lnTo>
                  <a:pt x="1199" y="797"/>
                </a:lnTo>
                <a:lnTo>
                  <a:pt x="1186" y="779"/>
                </a:lnTo>
                <a:lnTo>
                  <a:pt x="1173" y="760"/>
                </a:lnTo>
                <a:lnTo>
                  <a:pt x="1159" y="742"/>
                </a:lnTo>
                <a:lnTo>
                  <a:pt x="1146" y="726"/>
                </a:lnTo>
                <a:lnTo>
                  <a:pt x="1132" y="711"/>
                </a:lnTo>
                <a:lnTo>
                  <a:pt x="1118" y="697"/>
                </a:lnTo>
                <a:lnTo>
                  <a:pt x="1105" y="683"/>
                </a:lnTo>
                <a:lnTo>
                  <a:pt x="1080" y="660"/>
                </a:lnTo>
                <a:lnTo>
                  <a:pt x="1059" y="642"/>
                </a:lnTo>
                <a:lnTo>
                  <a:pt x="1057" y="641"/>
                </a:lnTo>
                <a:lnTo>
                  <a:pt x="1055" y="640"/>
                </a:lnTo>
                <a:lnTo>
                  <a:pt x="1055" y="633"/>
                </a:lnTo>
                <a:lnTo>
                  <a:pt x="1054" y="627"/>
                </a:lnTo>
                <a:lnTo>
                  <a:pt x="1051" y="620"/>
                </a:lnTo>
                <a:lnTo>
                  <a:pt x="1045" y="615"/>
                </a:lnTo>
                <a:lnTo>
                  <a:pt x="1035" y="606"/>
                </a:lnTo>
                <a:lnTo>
                  <a:pt x="1037" y="601"/>
                </a:lnTo>
                <a:lnTo>
                  <a:pt x="1038" y="595"/>
                </a:lnTo>
                <a:lnTo>
                  <a:pt x="1038" y="591"/>
                </a:lnTo>
                <a:lnTo>
                  <a:pt x="1038" y="586"/>
                </a:lnTo>
                <a:lnTo>
                  <a:pt x="1037" y="581"/>
                </a:lnTo>
                <a:lnTo>
                  <a:pt x="1035" y="577"/>
                </a:lnTo>
                <a:lnTo>
                  <a:pt x="1032" y="572"/>
                </a:lnTo>
                <a:lnTo>
                  <a:pt x="1029" y="568"/>
                </a:lnTo>
                <a:lnTo>
                  <a:pt x="836" y="378"/>
                </a:lnTo>
                <a:lnTo>
                  <a:pt x="848" y="337"/>
                </a:lnTo>
                <a:lnTo>
                  <a:pt x="849" y="331"/>
                </a:lnTo>
                <a:lnTo>
                  <a:pt x="850" y="324"/>
                </a:lnTo>
                <a:lnTo>
                  <a:pt x="849" y="318"/>
                </a:lnTo>
                <a:lnTo>
                  <a:pt x="848" y="311"/>
                </a:lnTo>
                <a:lnTo>
                  <a:pt x="845" y="305"/>
                </a:lnTo>
                <a:lnTo>
                  <a:pt x="842" y="300"/>
                </a:lnTo>
                <a:lnTo>
                  <a:pt x="839" y="295"/>
                </a:lnTo>
                <a:lnTo>
                  <a:pt x="834" y="291"/>
                </a:lnTo>
                <a:lnTo>
                  <a:pt x="658" y="150"/>
                </a:lnTo>
                <a:lnTo>
                  <a:pt x="653" y="146"/>
                </a:lnTo>
                <a:lnTo>
                  <a:pt x="648" y="143"/>
                </a:lnTo>
                <a:lnTo>
                  <a:pt x="642" y="142"/>
                </a:lnTo>
                <a:lnTo>
                  <a:pt x="634" y="141"/>
                </a:lnTo>
                <a:lnTo>
                  <a:pt x="628" y="141"/>
                </a:lnTo>
                <a:lnTo>
                  <a:pt x="622" y="141"/>
                </a:lnTo>
                <a:lnTo>
                  <a:pt x="615" y="143"/>
                </a:lnTo>
                <a:lnTo>
                  <a:pt x="609" y="145"/>
                </a:lnTo>
                <a:lnTo>
                  <a:pt x="580" y="162"/>
                </a:lnTo>
                <a:lnTo>
                  <a:pt x="538" y="129"/>
                </a:lnTo>
                <a:lnTo>
                  <a:pt x="533" y="126"/>
                </a:lnTo>
                <a:lnTo>
                  <a:pt x="528" y="123"/>
                </a:lnTo>
                <a:lnTo>
                  <a:pt x="523" y="122"/>
                </a:lnTo>
                <a:lnTo>
                  <a:pt x="517" y="122"/>
                </a:lnTo>
                <a:lnTo>
                  <a:pt x="511" y="123"/>
                </a:lnTo>
                <a:lnTo>
                  <a:pt x="506" y="126"/>
                </a:lnTo>
                <a:lnTo>
                  <a:pt x="502" y="128"/>
                </a:lnTo>
                <a:lnTo>
                  <a:pt x="498" y="132"/>
                </a:lnTo>
                <a:lnTo>
                  <a:pt x="467" y="107"/>
                </a:lnTo>
                <a:lnTo>
                  <a:pt x="462" y="104"/>
                </a:lnTo>
                <a:lnTo>
                  <a:pt x="456" y="102"/>
                </a:lnTo>
                <a:lnTo>
                  <a:pt x="451" y="101"/>
                </a:lnTo>
                <a:lnTo>
                  <a:pt x="444" y="101"/>
                </a:lnTo>
                <a:lnTo>
                  <a:pt x="439" y="102"/>
                </a:lnTo>
                <a:lnTo>
                  <a:pt x="433" y="105"/>
                </a:lnTo>
                <a:lnTo>
                  <a:pt x="429" y="108"/>
                </a:lnTo>
                <a:lnTo>
                  <a:pt x="424" y="112"/>
                </a:lnTo>
                <a:lnTo>
                  <a:pt x="419" y="118"/>
                </a:lnTo>
                <a:lnTo>
                  <a:pt x="275" y="7"/>
                </a:lnTo>
                <a:lnTo>
                  <a:pt x="270" y="3"/>
                </a:lnTo>
                <a:lnTo>
                  <a:pt x="265" y="1"/>
                </a:lnTo>
                <a:lnTo>
                  <a:pt x="261" y="0"/>
                </a:lnTo>
                <a:lnTo>
                  <a:pt x="256" y="0"/>
                </a:lnTo>
                <a:lnTo>
                  <a:pt x="253" y="0"/>
                </a:lnTo>
                <a:lnTo>
                  <a:pt x="246" y="1"/>
                </a:lnTo>
                <a:lnTo>
                  <a:pt x="242" y="1"/>
                </a:lnTo>
                <a:lnTo>
                  <a:pt x="23" y="18"/>
                </a:lnTo>
                <a:lnTo>
                  <a:pt x="19" y="18"/>
                </a:lnTo>
                <a:lnTo>
                  <a:pt x="15" y="20"/>
                </a:lnTo>
                <a:lnTo>
                  <a:pt x="12" y="22"/>
                </a:lnTo>
                <a:lnTo>
                  <a:pt x="9" y="25"/>
                </a:lnTo>
                <a:lnTo>
                  <a:pt x="6" y="29"/>
                </a:lnTo>
                <a:lnTo>
                  <a:pt x="5" y="32"/>
                </a:lnTo>
                <a:lnTo>
                  <a:pt x="3" y="36"/>
                </a:lnTo>
                <a:lnTo>
                  <a:pt x="2" y="41"/>
                </a:lnTo>
                <a:lnTo>
                  <a:pt x="0" y="51"/>
                </a:lnTo>
                <a:lnTo>
                  <a:pt x="1" y="63"/>
                </a:lnTo>
                <a:lnTo>
                  <a:pt x="2" y="72"/>
                </a:lnTo>
                <a:lnTo>
                  <a:pt x="4" y="81"/>
                </a:lnTo>
                <a:lnTo>
                  <a:pt x="6" y="87"/>
                </a:lnTo>
                <a:lnTo>
                  <a:pt x="9" y="93"/>
                </a:lnTo>
                <a:lnTo>
                  <a:pt x="13" y="97"/>
                </a:lnTo>
                <a:lnTo>
                  <a:pt x="19" y="102"/>
                </a:lnTo>
                <a:lnTo>
                  <a:pt x="24" y="104"/>
                </a:lnTo>
                <a:lnTo>
                  <a:pt x="29" y="104"/>
                </a:lnTo>
                <a:lnTo>
                  <a:pt x="29" y="104"/>
                </a:lnTo>
                <a:lnTo>
                  <a:pt x="29" y="104"/>
                </a:lnTo>
                <a:lnTo>
                  <a:pt x="239" y="89"/>
                </a:lnTo>
                <a:lnTo>
                  <a:pt x="364" y="186"/>
                </a:lnTo>
                <a:lnTo>
                  <a:pt x="356" y="197"/>
                </a:lnTo>
                <a:lnTo>
                  <a:pt x="352" y="202"/>
                </a:lnTo>
                <a:lnTo>
                  <a:pt x="350" y="207"/>
                </a:lnTo>
                <a:lnTo>
                  <a:pt x="349" y="213"/>
                </a:lnTo>
                <a:lnTo>
                  <a:pt x="349" y="218"/>
                </a:lnTo>
                <a:lnTo>
                  <a:pt x="350" y="225"/>
                </a:lnTo>
                <a:lnTo>
                  <a:pt x="352" y="230"/>
                </a:lnTo>
                <a:lnTo>
                  <a:pt x="357" y="235"/>
                </a:lnTo>
                <a:lnTo>
                  <a:pt x="361" y="239"/>
                </a:lnTo>
                <a:lnTo>
                  <a:pt x="391" y="264"/>
                </a:lnTo>
                <a:lnTo>
                  <a:pt x="389" y="269"/>
                </a:lnTo>
                <a:lnTo>
                  <a:pt x="387" y="274"/>
                </a:lnTo>
                <a:lnTo>
                  <a:pt x="386" y="279"/>
                </a:lnTo>
                <a:lnTo>
                  <a:pt x="386" y="283"/>
                </a:lnTo>
                <a:lnTo>
                  <a:pt x="387" y="289"/>
                </a:lnTo>
                <a:lnTo>
                  <a:pt x="390" y="295"/>
                </a:lnTo>
                <a:lnTo>
                  <a:pt x="393" y="300"/>
                </a:lnTo>
                <a:lnTo>
                  <a:pt x="397" y="304"/>
                </a:lnTo>
                <a:lnTo>
                  <a:pt x="445" y="343"/>
                </a:lnTo>
                <a:lnTo>
                  <a:pt x="422" y="388"/>
                </a:lnTo>
                <a:lnTo>
                  <a:pt x="420" y="393"/>
                </a:lnTo>
                <a:lnTo>
                  <a:pt x="419" y="399"/>
                </a:lnTo>
                <a:lnTo>
                  <a:pt x="419" y="405"/>
                </a:lnTo>
                <a:lnTo>
                  <a:pt x="419" y="412"/>
                </a:lnTo>
                <a:lnTo>
                  <a:pt x="420" y="419"/>
                </a:lnTo>
                <a:lnTo>
                  <a:pt x="422" y="425"/>
                </a:lnTo>
                <a:lnTo>
                  <a:pt x="424" y="430"/>
                </a:lnTo>
                <a:lnTo>
                  <a:pt x="428" y="436"/>
                </a:lnTo>
                <a:lnTo>
                  <a:pt x="581" y="645"/>
                </a:lnTo>
                <a:lnTo>
                  <a:pt x="584" y="650"/>
                </a:lnTo>
                <a:lnTo>
                  <a:pt x="588" y="653"/>
                </a:lnTo>
                <a:lnTo>
                  <a:pt x="593" y="656"/>
                </a:lnTo>
                <a:lnTo>
                  <a:pt x="597" y="659"/>
                </a:lnTo>
                <a:lnTo>
                  <a:pt x="602" y="661"/>
                </a:lnTo>
                <a:lnTo>
                  <a:pt x="607" y="662"/>
                </a:lnTo>
                <a:lnTo>
                  <a:pt x="612" y="663"/>
                </a:lnTo>
                <a:lnTo>
                  <a:pt x="618" y="663"/>
                </a:lnTo>
                <a:lnTo>
                  <a:pt x="619" y="663"/>
                </a:lnTo>
                <a:lnTo>
                  <a:pt x="619" y="663"/>
                </a:lnTo>
                <a:lnTo>
                  <a:pt x="627" y="662"/>
                </a:lnTo>
                <a:lnTo>
                  <a:pt x="818" y="609"/>
                </a:lnTo>
                <a:lnTo>
                  <a:pt x="928" y="693"/>
                </a:lnTo>
                <a:lnTo>
                  <a:pt x="932" y="697"/>
                </a:lnTo>
                <a:lnTo>
                  <a:pt x="936" y="698"/>
                </a:lnTo>
                <a:lnTo>
                  <a:pt x="941" y="700"/>
                </a:lnTo>
                <a:lnTo>
                  <a:pt x="946" y="700"/>
                </a:lnTo>
                <a:lnTo>
                  <a:pt x="954" y="699"/>
                </a:lnTo>
                <a:lnTo>
                  <a:pt x="960" y="697"/>
                </a:lnTo>
                <a:lnTo>
                  <a:pt x="971" y="707"/>
                </a:lnTo>
                <a:lnTo>
                  <a:pt x="976" y="709"/>
                </a:lnTo>
                <a:lnTo>
                  <a:pt x="980" y="711"/>
                </a:lnTo>
                <a:lnTo>
                  <a:pt x="984" y="712"/>
                </a:lnTo>
                <a:lnTo>
                  <a:pt x="988" y="712"/>
                </a:lnTo>
                <a:lnTo>
                  <a:pt x="994" y="712"/>
                </a:lnTo>
                <a:lnTo>
                  <a:pt x="998" y="710"/>
                </a:lnTo>
                <a:lnTo>
                  <a:pt x="1000" y="712"/>
                </a:lnTo>
                <a:lnTo>
                  <a:pt x="1002" y="713"/>
                </a:lnTo>
                <a:lnTo>
                  <a:pt x="1020" y="730"/>
                </a:lnTo>
                <a:lnTo>
                  <a:pt x="1041" y="750"/>
                </a:lnTo>
                <a:lnTo>
                  <a:pt x="1065" y="774"/>
                </a:lnTo>
                <a:lnTo>
                  <a:pt x="1089" y="802"/>
                </a:lnTo>
                <a:lnTo>
                  <a:pt x="1102" y="818"/>
                </a:lnTo>
                <a:lnTo>
                  <a:pt x="1113" y="834"/>
                </a:lnTo>
                <a:lnTo>
                  <a:pt x="1124" y="850"/>
                </a:lnTo>
                <a:lnTo>
                  <a:pt x="1134" y="867"/>
                </a:lnTo>
                <a:lnTo>
                  <a:pt x="1144" y="883"/>
                </a:lnTo>
                <a:lnTo>
                  <a:pt x="1152" y="899"/>
                </a:lnTo>
                <a:lnTo>
                  <a:pt x="1159" y="916"/>
                </a:lnTo>
                <a:lnTo>
                  <a:pt x="1165" y="932"/>
                </a:lnTo>
                <a:lnTo>
                  <a:pt x="1171" y="949"/>
                </a:lnTo>
                <a:lnTo>
                  <a:pt x="1176" y="965"/>
                </a:lnTo>
                <a:lnTo>
                  <a:pt x="1180" y="982"/>
                </a:lnTo>
                <a:lnTo>
                  <a:pt x="1183" y="998"/>
                </a:lnTo>
                <a:lnTo>
                  <a:pt x="1185" y="1015"/>
                </a:lnTo>
                <a:lnTo>
                  <a:pt x="1186" y="1032"/>
                </a:lnTo>
                <a:lnTo>
                  <a:pt x="1187" y="1048"/>
                </a:lnTo>
                <a:lnTo>
                  <a:pt x="1186" y="1065"/>
                </a:lnTo>
                <a:lnTo>
                  <a:pt x="1187" y="1071"/>
                </a:lnTo>
                <a:lnTo>
                  <a:pt x="1188" y="1078"/>
                </a:lnTo>
                <a:lnTo>
                  <a:pt x="1192" y="1083"/>
                </a:lnTo>
                <a:lnTo>
                  <a:pt x="1195" y="1088"/>
                </a:lnTo>
                <a:lnTo>
                  <a:pt x="1199" y="1091"/>
                </a:lnTo>
                <a:lnTo>
                  <a:pt x="1203" y="1094"/>
                </a:lnTo>
                <a:lnTo>
                  <a:pt x="1208" y="1096"/>
                </a:lnTo>
                <a:lnTo>
                  <a:pt x="1212" y="1097"/>
                </a:lnTo>
                <a:lnTo>
                  <a:pt x="1223" y="1099"/>
                </a:lnTo>
                <a:lnTo>
                  <a:pt x="1231" y="1101"/>
                </a:lnTo>
                <a:lnTo>
                  <a:pt x="1240" y="1099"/>
                </a:lnTo>
                <a:lnTo>
                  <a:pt x="1248" y="1098"/>
                </a:lnTo>
                <a:lnTo>
                  <a:pt x="1256" y="1097"/>
                </a:lnTo>
                <a:lnTo>
                  <a:pt x="1263" y="1094"/>
                </a:lnTo>
                <a:lnTo>
                  <a:pt x="1266" y="1092"/>
                </a:lnTo>
                <a:lnTo>
                  <a:pt x="1270" y="1089"/>
                </a:lnTo>
                <a:lnTo>
                  <a:pt x="1272" y="1086"/>
                </a:lnTo>
                <a:lnTo>
                  <a:pt x="1274" y="1082"/>
                </a:lnTo>
                <a:lnTo>
                  <a:pt x="1277" y="1074"/>
                </a:lnTo>
                <a:lnTo>
                  <a:pt x="1279" y="1065"/>
                </a:lnTo>
                <a:lnTo>
                  <a:pt x="1280" y="1046"/>
                </a:lnTo>
                <a:lnTo>
                  <a:pt x="1279" y="103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rgbClr val="EF6213"/>
            </a:solidFill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3" name="Овал 212"/>
          <p:cNvSpPr/>
          <p:nvPr/>
        </p:nvSpPr>
        <p:spPr>
          <a:xfrm>
            <a:off x="646483" y="2100461"/>
            <a:ext cx="416788" cy="418783"/>
          </a:xfrm>
          <a:prstGeom prst="ellipse">
            <a:avLst/>
          </a:prstGeom>
          <a:noFill/>
          <a:ln w="12700">
            <a:solidFill>
              <a:srgbClr val="545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5" name="Группа 234"/>
          <p:cNvGrpSpPr/>
          <p:nvPr/>
        </p:nvGrpSpPr>
        <p:grpSpPr>
          <a:xfrm>
            <a:off x="1442746" y="2198387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236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7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9" name="Прямоугольник 108"/>
          <p:cNvSpPr/>
          <p:nvPr/>
        </p:nvSpPr>
        <p:spPr>
          <a:xfrm>
            <a:off x="1978651" y="2572858"/>
            <a:ext cx="39110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зможность отслеживать массу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объем отпущенного продукта с точностью измерения  параметров  аналогичной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приеме. В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зультате возможно с большой точностью сводить баланс по НБ и проводить инвентаризацию остатков</a:t>
            </a:r>
          </a:p>
        </p:txBody>
      </p:sp>
      <p:grpSp>
        <p:nvGrpSpPr>
          <p:cNvPr id="114" name="ZUA"/>
          <p:cNvGrpSpPr>
            <a:grpSpLocks noChangeAspect="1"/>
          </p:cNvGrpSpPr>
          <p:nvPr/>
        </p:nvGrpSpPr>
        <p:grpSpPr>
          <a:xfrm>
            <a:off x="709070" y="2716343"/>
            <a:ext cx="298982" cy="207483"/>
            <a:chOff x="5432425" y="1209676"/>
            <a:chExt cx="736600" cy="511175"/>
          </a:xfrm>
        </p:grpSpPr>
        <p:sp>
          <p:nvSpPr>
            <p:cNvPr id="115" name="Freeform 65"/>
            <p:cNvSpPr>
              <a:spLocks noEditPoints="1"/>
            </p:cNvSpPr>
            <p:nvPr/>
          </p:nvSpPr>
          <p:spPr bwMode="auto">
            <a:xfrm>
              <a:off x="5432425" y="1209676"/>
              <a:ext cx="736600" cy="511175"/>
            </a:xfrm>
            <a:custGeom>
              <a:avLst/>
              <a:gdLst>
                <a:gd name="T0" fmla="*/ 127 w 1856"/>
                <a:gd name="T1" fmla="*/ 1262 h 1288"/>
                <a:gd name="T2" fmla="*/ 90 w 1856"/>
                <a:gd name="T3" fmla="*/ 1246 h 1288"/>
                <a:gd name="T4" fmla="*/ 56 w 1856"/>
                <a:gd name="T5" fmla="*/ 1217 h 1288"/>
                <a:gd name="T6" fmla="*/ 32 w 1856"/>
                <a:gd name="T7" fmla="*/ 1179 h 1288"/>
                <a:gd name="T8" fmla="*/ 651 w 1856"/>
                <a:gd name="T9" fmla="*/ 1169 h 1288"/>
                <a:gd name="T10" fmla="*/ 677 w 1856"/>
                <a:gd name="T11" fmla="*/ 1203 h 1288"/>
                <a:gd name="T12" fmla="*/ 1151 w 1856"/>
                <a:gd name="T13" fmla="*/ 1212 h 1288"/>
                <a:gd name="T14" fmla="*/ 1188 w 1856"/>
                <a:gd name="T15" fmla="*/ 1198 h 1288"/>
                <a:gd name="T16" fmla="*/ 1208 w 1856"/>
                <a:gd name="T17" fmla="*/ 1158 h 1288"/>
                <a:gd name="T18" fmla="*/ 1820 w 1856"/>
                <a:gd name="T19" fmla="*/ 1190 h 1288"/>
                <a:gd name="T20" fmla="*/ 1793 w 1856"/>
                <a:gd name="T21" fmla="*/ 1225 h 1288"/>
                <a:gd name="T22" fmla="*/ 1758 w 1856"/>
                <a:gd name="T23" fmla="*/ 1251 h 1288"/>
                <a:gd name="T24" fmla="*/ 1720 w 1856"/>
                <a:gd name="T25" fmla="*/ 1264 h 1288"/>
                <a:gd name="T26" fmla="*/ 1179 w 1856"/>
                <a:gd name="T27" fmla="*/ 1170 h 1288"/>
                <a:gd name="T28" fmla="*/ 1161 w 1856"/>
                <a:gd name="T29" fmla="*/ 1186 h 1288"/>
                <a:gd name="T30" fmla="*/ 700 w 1856"/>
                <a:gd name="T31" fmla="*/ 1188 h 1288"/>
                <a:gd name="T32" fmla="*/ 682 w 1856"/>
                <a:gd name="T33" fmla="*/ 1176 h 1288"/>
                <a:gd name="T34" fmla="*/ 1183 w 1856"/>
                <a:gd name="T35" fmla="*/ 1158 h 1288"/>
                <a:gd name="T36" fmla="*/ 173 w 1856"/>
                <a:gd name="T37" fmla="*/ 85 h 1288"/>
                <a:gd name="T38" fmla="*/ 185 w 1856"/>
                <a:gd name="T39" fmla="*/ 59 h 1288"/>
                <a:gd name="T40" fmla="*/ 205 w 1856"/>
                <a:gd name="T41" fmla="*/ 38 h 1288"/>
                <a:gd name="T42" fmla="*/ 233 w 1856"/>
                <a:gd name="T43" fmla="*/ 25 h 1288"/>
                <a:gd name="T44" fmla="*/ 1617 w 1856"/>
                <a:gd name="T45" fmla="*/ 24 h 1288"/>
                <a:gd name="T46" fmla="*/ 1646 w 1856"/>
                <a:gd name="T47" fmla="*/ 33 h 1288"/>
                <a:gd name="T48" fmla="*/ 1667 w 1856"/>
                <a:gd name="T49" fmla="*/ 52 h 1288"/>
                <a:gd name="T50" fmla="*/ 1682 w 1856"/>
                <a:gd name="T51" fmla="*/ 78 h 1288"/>
                <a:gd name="T52" fmla="*/ 1686 w 1856"/>
                <a:gd name="T53" fmla="*/ 1058 h 1288"/>
                <a:gd name="T54" fmla="*/ 1679 w 1856"/>
                <a:gd name="T55" fmla="*/ 1088 h 1288"/>
                <a:gd name="T56" fmla="*/ 1663 w 1856"/>
                <a:gd name="T57" fmla="*/ 1112 h 1288"/>
                <a:gd name="T58" fmla="*/ 1639 w 1856"/>
                <a:gd name="T59" fmla="*/ 1128 h 1288"/>
                <a:gd name="T60" fmla="*/ 1609 w 1856"/>
                <a:gd name="T61" fmla="*/ 1134 h 1288"/>
                <a:gd name="T62" fmla="*/ 225 w 1856"/>
                <a:gd name="T63" fmla="*/ 1130 h 1288"/>
                <a:gd name="T64" fmla="*/ 200 w 1856"/>
                <a:gd name="T65" fmla="*/ 1116 h 1288"/>
                <a:gd name="T66" fmla="*/ 180 w 1856"/>
                <a:gd name="T67" fmla="*/ 1093 h 1288"/>
                <a:gd name="T68" fmla="*/ 172 w 1856"/>
                <a:gd name="T69" fmla="*/ 1065 h 1288"/>
                <a:gd name="T70" fmla="*/ 1845 w 1856"/>
                <a:gd name="T71" fmla="*/ 1134 h 1288"/>
                <a:gd name="T72" fmla="*/ 1695 w 1856"/>
                <a:gd name="T73" fmla="*/ 1109 h 1288"/>
                <a:gd name="T74" fmla="*/ 1709 w 1856"/>
                <a:gd name="T75" fmla="*/ 1069 h 1288"/>
                <a:gd name="T76" fmla="*/ 1708 w 1856"/>
                <a:gd name="T77" fmla="*/ 80 h 1288"/>
                <a:gd name="T78" fmla="*/ 1693 w 1856"/>
                <a:gd name="T79" fmla="*/ 45 h 1288"/>
                <a:gd name="T80" fmla="*/ 1665 w 1856"/>
                <a:gd name="T81" fmla="*/ 17 h 1288"/>
                <a:gd name="T82" fmla="*/ 1629 w 1856"/>
                <a:gd name="T83" fmla="*/ 3 h 1288"/>
                <a:gd name="T84" fmla="*/ 237 w 1856"/>
                <a:gd name="T85" fmla="*/ 1 h 1288"/>
                <a:gd name="T86" fmla="*/ 200 w 1856"/>
                <a:gd name="T87" fmla="*/ 13 h 1288"/>
                <a:gd name="T88" fmla="*/ 170 w 1856"/>
                <a:gd name="T89" fmla="*/ 37 h 1288"/>
                <a:gd name="T90" fmla="*/ 151 w 1856"/>
                <a:gd name="T91" fmla="*/ 71 h 1288"/>
                <a:gd name="T92" fmla="*/ 147 w 1856"/>
                <a:gd name="T93" fmla="*/ 1058 h 1288"/>
                <a:gd name="T94" fmla="*/ 157 w 1856"/>
                <a:gd name="T95" fmla="*/ 1100 h 1288"/>
                <a:gd name="T96" fmla="*/ 184 w 1856"/>
                <a:gd name="T97" fmla="*/ 1134 h 1288"/>
                <a:gd name="T98" fmla="*/ 0 w 1856"/>
                <a:gd name="T99" fmla="*/ 1142 h 1288"/>
                <a:gd name="T100" fmla="*/ 10 w 1856"/>
                <a:gd name="T101" fmla="*/ 1188 h 1288"/>
                <a:gd name="T102" fmla="*/ 42 w 1856"/>
                <a:gd name="T103" fmla="*/ 1237 h 1288"/>
                <a:gd name="T104" fmla="*/ 86 w 1856"/>
                <a:gd name="T105" fmla="*/ 1271 h 1288"/>
                <a:gd name="T106" fmla="*/ 134 w 1856"/>
                <a:gd name="T107" fmla="*/ 1288 h 1288"/>
                <a:gd name="T108" fmla="*/ 1734 w 1856"/>
                <a:gd name="T109" fmla="*/ 1286 h 1288"/>
                <a:gd name="T110" fmla="*/ 1783 w 1856"/>
                <a:gd name="T111" fmla="*/ 1264 h 1288"/>
                <a:gd name="T112" fmla="*/ 1824 w 1856"/>
                <a:gd name="T113" fmla="*/ 1226 h 1288"/>
                <a:gd name="T114" fmla="*/ 1852 w 1856"/>
                <a:gd name="T115" fmla="*/ 1176 h 1288"/>
                <a:gd name="T116" fmla="*/ 1854 w 1856"/>
                <a:gd name="T117" fmla="*/ 1138 h 1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6" h="1288">
                  <a:moveTo>
                    <a:pt x="1711" y="1264"/>
                  </a:moveTo>
                  <a:lnTo>
                    <a:pt x="146" y="1264"/>
                  </a:lnTo>
                  <a:lnTo>
                    <a:pt x="137" y="1264"/>
                  </a:lnTo>
                  <a:lnTo>
                    <a:pt x="127" y="1262"/>
                  </a:lnTo>
                  <a:lnTo>
                    <a:pt x="118" y="1259"/>
                  </a:lnTo>
                  <a:lnTo>
                    <a:pt x="109" y="1256"/>
                  </a:lnTo>
                  <a:lnTo>
                    <a:pt x="99" y="1251"/>
                  </a:lnTo>
                  <a:lnTo>
                    <a:pt x="90" y="1246"/>
                  </a:lnTo>
                  <a:lnTo>
                    <a:pt x="80" y="1240"/>
                  </a:lnTo>
                  <a:lnTo>
                    <a:pt x="72" y="1233"/>
                  </a:lnTo>
                  <a:lnTo>
                    <a:pt x="63" y="1225"/>
                  </a:lnTo>
                  <a:lnTo>
                    <a:pt x="56" y="1217"/>
                  </a:lnTo>
                  <a:lnTo>
                    <a:pt x="48" y="1208"/>
                  </a:lnTo>
                  <a:lnTo>
                    <a:pt x="43" y="1199"/>
                  </a:lnTo>
                  <a:lnTo>
                    <a:pt x="37" y="1190"/>
                  </a:lnTo>
                  <a:lnTo>
                    <a:pt x="32" y="1179"/>
                  </a:lnTo>
                  <a:lnTo>
                    <a:pt x="28" y="1169"/>
                  </a:lnTo>
                  <a:lnTo>
                    <a:pt x="26" y="1158"/>
                  </a:lnTo>
                  <a:lnTo>
                    <a:pt x="648" y="1158"/>
                  </a:lnTo>
                  <a:lnTo>
                    <a:pt x="651" y="1169"/>
                  </a:lnTo>
                  <a:lnTo>
                    <a:pt x="655" y="1180"/>
                  </a:lnTo>
                  <a:lnTo>
                    <a:pt x="662" y="1190"/>
                  </a:lnTo>
                  <a:lnTo>
                    <a:pt x="669" y="1198"/>
                  </a:lnTo>
                  <a:lnTo>
                    <a:pt x="677" y="1203"/>
                  </a:lnTo>
                  <a:lnTo>
                    <a:pt x="686" y="1209"/>
                  </a:lnTo>
                  <a:lnTo>
                    <a:pt x="695" y="1211"/>
                  </a:lnTo>
                  <a:lnTo>
                    <a:pt x="706" y="1212"/>
                  </a:lnTo>
                  <a:lnTo>
                    <a:pt x="1151" y="1212"/>
                  </a:lnTo>
                  <a:lnTo>
                    <a:pt x="1161" y="1211"/>
                  </a:lnTo>
                  <a:lnTo>
                    <a:pt x="1171" y="1209"/>
                  </a:lnTo>
                  <a:lnTo>
                    <a:pt x="1180" y="1203"/>
                  </a:lnTo>
                  <a:lnTo>
                    <a:pt x="1188" y="1198"/>
                  </a:lnTo>
                  <a:lnTo>
                    <a:pt x="1195" y="1190"/>
                  </a:lnTo>
                  <a:lnTo>
                    <a:pt x="1201" y="1180"/>
                  </a:lnTo>
                  <a:lnTo>
                    <a:pt x="1206" y="1169"/>
                  </a:lnTo>
                  <a:lnTo>
                    <a:pt x="1208" y="1158"/>
                  </a:lnTo>
                  <a:lnTo>
                    <a:pt x="1831" y="1158"/>
                  </a:lnTo>
                  <a:lnTo>
                    <a:pt x="1829" y="1169"/>
                  </a:lnTo>
                  <a:lnTo>
                    <a:pt x="1824" y="1179"/>
                  </a:lnTo>
                  <a:lnTo>
                    <a:pt x="1820" y="1190"/>
                  </a:lnTo>
                  <a:lnTo>
                    <a:pt x="1814" y="1199"/>
                  </a:lnTo>
                  <a:lnTo>
                    <a:pt x="1808" y="1208"/>
                  </a:lnTo>
                  <a:lnTo>
                    <a:pt x="1800" y="1217"/>
                  </a:lnTo>
                  <a:lnTo>
                    <a:pt x="1793" y="1225"/>
                  </a:lnTo>
                  <a:lnTo>
                    <a:pt x="1784" y="1233"/>
                  </a:lnTo>
                  <a:lnTo>
                    <a:pt x="1776" y="1240"/>
                  </a:lnTo>
                  <a:lnTo>
                    <a:pt x="1767" y="1246"/>
                  </a:lnTo>
                  <a:lnTo>
                    <a:pt x="1758" y="1251"/>
                  </a:lnTo>
                  <a:lnTo>
                    <a:pt x="1748" y="1256"/>
                  </a:lnTo>
                  <a:lnTo>
                    <a:pt x="1738" y="1259"/>
                  </a:lnTo>
                  <a:lnTo>
                    <a:pt x="1729" y="1262"/>
                  </a:lnTo>
                  <a:lnTo>
                    <a:pt x="1720" y="1264"/>
                  </a:lnTo>
                  <a:lnTo>
                    <a:pt x="1711" y="1264"/>
                  </a:lnTo>
                  <a:close/>
                  <a:moveTo>
                    <a:pt x="1183" y="1158"/>
                  </a:moveTo>
                  <a:lnTo>
                    <a:pt x="1181" y="1164"/>
                  </a:lnTo>
                  <a:lnTo>
                    <a:pt x="1179" y="1170"/>
                  </a:lnTo>
                  <a:lnTo>
                    <a:pt x="1175" y="1176"/>
                  </a:lnTo>
                  <a:lnTo>
                    <a:pt x="1171" y="1180"/>
                  </a:lnTo>
                  <a:lnTo>
                    <a:pt x="1166" y="1184"/>
                  </a:lnTo>
                  <a:lnTo>
                    <a:pt x="1161" y="1186"/>
                  </a:lnTo>
                  <a:lnTo>
                    <a:pt x="1157" y="1188"/>
                  </a:lnTo>
                  <a:lnTo>
                    <a:pt x="1151" y="1188"/>
                  </a:lnTo>
                  <a:lnTo>
                    <a:pt x="706" y="1188"/>
                  </a:lnTo>
                  <a:lnTo>
                    <a:pt x="700" y="1188"/>
                  </a:lnTo>
                  <a:lnTo>
                    <a:pt x="695" y="1186"/>
                  </a:lnTo>
                  <a:lnTo>
                    <a:pt x="691" y="1184"/>
                  </a:lnTo>
                  <a:lnTo>
                    <a:pt x="686" y="1180"/>
                  </a:lnTo>
                  <a:lnTo>
                    <a:pt x="682" y="1176"/>
                  </a:lnTo>
                  <a:lnTo>
                    <a:pt x="678" y="1170"/>
                  </a:lnTo>
                  <a:lnTo>
                    <a:pt x="676" y="1164"/>
                  </a:lnTo>
                  <a:lnTo>
                    <a:pt x="674" y="1158"/>
                  </a:lnTo>
                  <a:lnTo>
                    <a:pt x="1183" y="1158"/>
                  </a:lnTo>
                  <a:close/>
                  <a:moveTo>
                    <a:pt x="171" y="1058"/>
                  </a:moveTo>
                  <a:lnTo>
                    <a:pt x="171" y="101"/>
                  </a:lnTo>
                  <a:lnTo>
                    <a:pt x="172" y="93"/>
                  </a:lnTo>
                  <a:lnTo>
                    <a:pt x="173" y="85"/>
                  </a:lnTo>
                  <a:lnTo>
                    <a:pt x="174" y="78"/>
                  </a:lnTo>
                  <a:lnTo>
                    <a:pt x="178" y="71"/>
                  </a:lnTo>
                  <a:lnTo>
                    <a:pt x="180" y="64"/>
                  </a:lnTo>
                  <a:lnTo>
                    <a:pt x="185" y="59"/>
                  </a:lnTo>
                  <a:lnTo>
                    <a:pt x="189" y="52"/>
                  </a:lnTo>
                  <a:lnTo>
                    <a:pt x="194" y="47"/>
                  </a:lnTo>
                  <a:lnTo>
                    <a:pt x="200" y="41"/>
                  </a:lnTo>
                  <a:lnTo>
                    <a:pt x="205" y="38"/>
                  </a:lnTo>
                  <a:lnTo>
                    <a:pt x="211" y="33"/>
                  </a:lnTo>
                  <a:lnTo>
                    <a:pt x="218" y="30"/>
                  </a:lnTo>
                  <a:lnTo>
                    <a:pt x="225" y="28"/>
                  </a:lnTo>
                  <a:lnTo>
                    <a:pt x="233" y="25"/>
                  </a:lnTo>
                  <a:lnTo>
                    <a:pt x="240" y="24"/>
                  </a:lnTo>
                  <a:lnTo>
                    <a:pt x="248" y="24"/>
                  </a:lnTo>
                  <a:lnTo>
                    <a:pt x="1609" y="24"/>
                  </a:lnTo>
                  <a:lnTo>
                    <a:pt x="1617" y="24"/>
                  </a:lnTo>
                  <a:lnTo>
                    <a:pt x="1624" y="25"/>
                  </a:lnTo>
                  <a:lnTo>
                    <a:pt x="1632" y="28"/>
                  </a:lnTo>
                  <a:lnTo>
                    <a:pt x="1639" y="30"/>
                  </a:lnTo>
                  <a:lnTo>
                    <a:pt x="1646" y="33"/>
                  </a:lnTo>
                  <a:lnTo>
                    <a:pt x="1651" y="38"/>
                  </a:lnTo>
                  <a:lnTo>
                    <a:pt x="1657" y="41"/>
                  </a:lnTo>
                  <a:lnTo>
                    <a:pt x="1663" y="47"/>
                  </a:lnTo>
                  <a:lnTo>
                    <a:pt x="1667" y="52"/>
                  </a:lnTo>
                  <a:lnTo>
                    <a:pt x="1672" y="59"/>
                  </a:lnTo>
                  <a:lnTo>
                    <a:pt x="1677" y="64"/>
                  </a:lnTo>
                  <a:lnTo>
                    <a:pt x="1679" y="71"/>
                  </a:lnTo>
                  <a:lnTo>
                    <a:pt x="1682" y="78"/>
                  </a:lnTo>
                  <a:lnTo>
                    <a:pt x="1683" y="85"/>
                  </a:lnTo>
                  <a:lnTo>
                    <a:pt x="1685" y="93"/>
                  </a:lnTo>
                  <a:lnTo>
                    <a:pt x="1686" y="101"/>
                  </a:lnTo>
                  <a:lnTo>
                    <a:pt x="1686" y="1058"/>
                  </a:lnTo>
                  <a:lnTo>
                    <a:pt x="1685" y="1065"/>
                  </a:lnTo>
                  <a:lnTo>
                    <a:pt x="1683" y="1073"/>
                  </a:lnTo>
                  <a:lnTo>
                    <a:pt x="1682" y="1080"/>
                  </a:lnTo>
                  <a:lnTo>
                    <a:pt x="1679" y="1088"/>
                  </a:lnTo>
                  <a:lnTo>
                    <a:pt x="1677" y="1093"/>
                  </a:lnTo>
                  <a:lnTo>
                    <a:pt x="1672" y="1100"/>
                  </a:lnTo>
                  <a:lnTo>
                    <a:pt x="1667" y="1106"/>
                  </a:lnTo>
                  <a:lnTo>
                    <a:pt x="1663" y="1112"/>
                  </a:lnTo>
                  <a:lnTo>
                    <a:pt x="1657" y="1116"/>
                  </a:lnTo>
                  <a:lnTo>
                    <a:pt x="1651" y="1121"/>
                  </a:lnTo>
                  <a:lnTo>
                    <a:pt x="1646" y="1124"/>
                  </a:lnTo>
                  <a:lnTo>
                    <a:pt x="1639" y="1128"/>
                  </a:lnTo>
                  <a:lnTo>
                    <a:pt x="1632" y="1130"/>
                  </a:lnTo>
                  <a:lnTo>
                    <a:pt x="1624" y="1132"/>
                  </a:lnTo>
                  <a:lnTo>
                    <a:pt x="1617" y="1134"/>
                  </a:lnTo>
                  <a:lnTo>
                    <a:pt x="1609" y="1134"/>
                  </a:lnTo>
                  <a:lnTo>
                    <a:pt x="248" y="1134"/>
                  </a:lnTo>
                  <a:lnTo>
                    <a:pt x="240" y="1134"/>
                  </a:lnTo>
                  <a:lnTo>
                    <a:pt x="233" y="1132"/>
                  </a:lnTo>
                  <a:lnTo>
                    <a:pt x="225" y="1130"/>
                  </a:lnTo>
                  <a:lnTo>
                    <a:pt x="218" y="1128"/>
                  </a:lnTo>
                  <a:lnTo>
                    <a:pt x="211" y="1124"/>
                  </a:lnTo>
                  <a:lnTo>
                    <a:pt x="205" y="1121"/>
                  </a:lnTo>
                  <a:lnTo>
                    <a:pt x="200" y="1116"/>
                  </a:lnTo>
                  <a:lnTo>
                    <a:pt x="194" y="1112"/>
                  </a:lnTo>
                  <a:lnTo>
                    <a:pt x="189" y="1106"/>
                  </a:lnTo>
                  <a:lnTo>
                    <a:pt x="185" y="1100"/>
                  </a:lnTo>
                  <a:lnTo>
                    <a:pt x="180" y="1093"/>
                  </a:lnTo>
                  <a:lnTo>
                    <a:pt x="178" y="1088"/>
                  </a:lnTo>
                  <a:lnTo>
                    <a:pt x="174" y="1080"/>
                  </a:lnTo>
                  <a:lnTo>
                    <a:pt x="173" y="1073"/>
                  </a:lnTo>
                  <a:lnTo>
                    <a:pt x="172" y="1065"/>
                  </a:lnTo>
                  <a:lnTo>
                    <a:pt x="171" y="1058"/>
                  </a:lnTo>
                  <a:close/>
                  <a:moveTo>
                    <a:pt x="1854" y="1138"/>
                  </a:moveTo>
                  <a:lnTo>
                    <a:pt x="1850" y="1135"/>
                  </a:lnTo>
                  <a:lnTo>
                    <a:pt x="1845" y="1134"/>
                  </a:lnTo>
                  <a:lnTo>
                    <a:pt x="1673" y="1134"/>
                  </a:lnTo>
                  <a:lnTo>
                    <a:pt x="1681" y="1127"/>
                  </a:lnTo>
                  <a:lnTo>
                    <a:pt x="1688" y="1119"/>
                  </a:lnTo>
                  <a:lnTo>
                    <a:pt x="1695" y="1109"/>
                  </a:lnTo>
                  <a:lnTo>
                    <a:pt x="1700" y="1100"/>
                  </a:lnTo>
                  <a:lnTo>
                    <a:pt x="1704" y="1090"/>
                  </a:lnTo>
                  <a:lnTo>
                    <a:pt x="1706" y="1080"/>
                  </a:lnTo>
                  <a:lnTo>
                    <a:pt x="1709" y="1069"/>
                  </a:lnTo>
                  <a:lnTo>
                    <a:pt x="1710" y="1058"/>
                  </a:lnTo>
                  <a:lnTo>
                    <a:pt x="1710" y="101"/>
                  </a:lnTo>
                  <a:lnTo>
                    <a:pt x="1709" y="91"/>
                  </a:lnTo>
                  <a:lnTo>
                    <a:pt x="1708" y="80"/>
                  </a:lnTo>
                  <a:lnTo>
                    <a:pt x="1705" y="71"/>
                  </a:lnTo>
                  <a:lnTo>
                    <a:pt x="1702" y="62"/>
                  </a:lnTo>
                  <a:lnTo>
                    <a:pt x="1697" y="53"/>
                  </a:lnTo>
                  <a:lnTo>
                    <a:pt x="1693" y="45"/>
                  </a:lnTo>
                  <a:lnTo>
                    <a:pt x="1687" y="37"/>
                  </a:lnTo>
                  <a:lnTo>
                    <a:pt x="1680" y="30"/>
                  </a:lnTo>
                  <a:lnTo>
                    <a:pt x="1673" y="23"/>
                  </a:lnTo>
                  <a:lnTo>
                    <a:pt x="1665" y="17"/>
                  </a:lnTo>
                  <a:lnTo>
                    <a:pt x="1657" y="13"/>
                  </a:lnTo>
                  <a:lnTo>
                    <a:pt x="1648" y="8"/>
                  </a:lnTo>
                  <a:lnTo>
                    <a:pt x="1639" y="5"/>
                  </a:lnTo>
                  <a:lnTo>
                    <a:pt x="1629" y="3"/>
                  </a:lnTo>
                  <a:lnTo>
                    <a:pt x="1619" y="1"/>
                  </a:lnTo>
                  <a:lnTo>
                    <a:pt x="1609" y="0"/>
                  </a:lnTo>
                  <a:lnTo>
                    <a:pt x="248" y="0"/>
                  </a:lnTo>
                  <a:lnTo>
                    <a:pt x="237" y="1"/>
                  </a:lnTo>
                  <a:lnTo>
                    <a:pt x="228" y="3"/>
                  </a:lnTo>
                  <a:lnTo>
                    <a:pt x="218" y="5"/>
                  </a:lnTo>
                  <a:lnTo>
                    <a:pt x="209" y="8"/>
                  </a:lnTo>
                  <a:lnTo>
                    <a:pt x="200" y="13"/>
                  </a:lnTo>
                  <a:lnTo>
                    <a:pt x="192" y="17"/>
                  </a:lnTo>
                  <a:lnTo>
                    <a:pt x="184" y="23"/>
                  </a:lnTo>
                  <a:lnTo>
                    <a:pt x="177" y="30"/>
                  </a:lnTo>
                  <a:lnTo>
                    <a:pt x="170" y="37"/>
                  </a:lnTo>
                  <a:lnTo>
                    <a:pt x="164" y="45"/>
                  </a:lnTo>
                  <a:lnTo>
                    <a:pt x="159" y="53"/>
                  </a:lnTo>
                  <a:lnTo>
                    <a:pt x="155" y="62"/>
                  </a:lnTo>
                  <a:lnTo>
                    <a:pt x="151" y="71"/>
                  </a:lnTo>
                  <a:lnTo>
                    <a:pt x="149" y="80"/>
                  </a:lnTo>
                  <a:lnTo>
                    <a:pt x="148" y="91"/>
                  </a:lnTo>
                  <a:lnTo>
                    <a:pt x="147" y="101"/>
                  </a:lnTo>
                  <a:lnTo>
                    <a:pt x="147" y="1058"/>
                  </a:lnTo>
                  <a:lnTo>
                    <a:pt x="148" y="1069"/>
                  </a:lnTo>
                  <a:lnTo>
                    <a:pt x="150" y="1080"/>
                  </a:lnTo>
                  <a:lnTo>
                    <a:pt x="153" y="1090"/>
                  </a:lnTo>
                  <a:lnTo>
                    <a:pt x="157" y="1100"/>
                  </a:lnTo>
                  <a:lnTo>
                    <a:pt x="163" y="1109"/>
                  </a:lnTo>
                  <a:lnTo>
                    <a:pt x="169" y="1119"/>
                  </a:lnTo>
                  <a:lnTo>
                    <a:pt x="176" y="1127"/>
                  </a:lnTo>
                  <a:lnTo>
                    <a:pt x="184" y="1134"/>
                  </a:lnTo>
                  <a:lnTo>
                    <a:pt x="12" y="1134"/>
                  </a:lnTo>
                  <a:lnTo>
                    <a:pt x="7" y="1135"/>
                  </a:lnTo>
                  <a:lnTo>
                    <a:pt x="3" y="1138"/>
                  </a:lnTo>
                  <a:lnTo>
                    <a:pt x="0" y="1142"/>
                  </a:lnTo>
                  <a:lnTo>
                    <a:pt x="0" y="1147"/>
                  </a:lnTo>
                  <a:lnTo>
                    <a:pt x="1" y="1161"/>
                  </a:lnTo>
                  <a:lnTo>
                    <a:pt x="5" y="1176"/>
                  </a:lnTo>
                  <a:lnTo>
                    <a:pt x="10" y="1188"/>
                  </a:lnTo>
                  <a:lnTo>
                    <a:pt x="16" y="1202"/>
                  </a:lnTo>
                  <a:lnTo>
                    <a:pt x="23" y="1215"/>
                  </a:lnTo>
                  <a:lnTo>
                    <a:pt x="32" y="1226"/>
                  </a:lnTo>
                  <a:lnTo>
                    <a:pt x="42" y="1237"/>
                  </a:lnTo>
                  <a:lnTo>
                    <a:pt x="52" y="1247"/>
                  </a:lnTo>
                  <a:lnTo>
                    <a:pt x="62" y="1256"/>
                  </a:lnTo>
                  <a:lnTo>
                    <a:pt x="74" y="1264"/>
                  </a:lnTo>
                  <a:lnTo>
                    <a:pt x="86" y="1271"/>
                  </a:lnTo>
                  <a:lnTo>
                    <a:pt x="98" y="1278"/>
                  </a:lnTo>
                  <a:lnTo>
                    <a:pt x="110" y="1282"/>
                  </a:lnTo>
                  <a:lnTo>
                    <a:pt x="123" y="1286"/>
                  </a:lnTo>
                  <a:lnTo>
                    <a:pt x="134" y="1288"/>
                  </a:lnTo>
                  <a:lnTo>
                    <a:pt x="146" y="1288"/>
                  </a:lnTo>
                  <a:lnTo>
                    <a:pt x="1711" y="1288"/>
                  </a:lnTo>
                  <a:lnTo>
                    <a:pt x="1722" y="1288"/>
                  </a:lnTo>
                  <a:lnTo>
                    <a:pt x="1734" y="1286"/>
                  </a:lnTo>
                  <a:lnTo>
                    <a:pt x="1746" y="1282"/>
                  </a:lnTo>
                  <a:lnTo>
                    <a:pt x="1759" y="1278"/>
                  </a:lnTo>
                  <a:lnTo>
                    <a:pt x="1771" y="1271"/>
                  </a:lnTo>
                  <a:lnTo>
                    <a:pt x="1783" y="1264"/>
                  </a:lnTo>
                  <a:lnTo>
                    <a:pt x="1795" y="1256"/>
                  </a:lnTo>
                  <a:lnTo>
                    <a:pt x="1805" y="1247"/>
                  </a:lnTo>
                  <a:lnTo>
                    <a:pt x="1815" y="1237"/>
                  </a:lnTo>
                  <a:lnTo>
                    <a:pt x="1824" y="1226"/>
                  </a:lnTo>
                  <a:lnTo>
                    <a:pt x="1833" y="1215"/>
                  </a:lnTo>
                  <a:lnTo>
                    <a:pt x="1840" y="1202"/>
                  </a:lnTo>
                  <a:lnTo>
                    <a:pt x="1847" y="1188"/>
                  </a:lnTo>
                  <a:lnTo>
                    <a:pt x="1852" y="1176"/>
                  </a:lnTo>
                  <a:lnTo>
                    <a:pt x="1855" y="1161"/>
                  </a:lnTo>
                  <a:lnTo>
                    <a:pt x="1856" y="1147"/>
                  </a:lnTo>
                  <a:lnTo>
                    <a:pt x="1856" y="1142"/>
                  </a:lnTo>
                  <a:lnTo>
                    <a:pt x="1854" y="1138"/>
                  </a:lnTo>
                  <a:close/>
                </a:path>
              </a:pathLst>
            </a:custGeom>
            <a:solidFill>
              <a:srgbClr val="00467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66"/>
            <p:cNvSpPr>
              <a:spLocks noEditPoints="1"/>
            </p:cNvSpPr>
            <p:nvPr/>
          </p:nvSpPr>
          <p:spPr bwMode="auto">
            <a:xfrm>
              <a:off x="5530850" y="1249363"/>
              <a:ext cx="538163" cy="379413"/>
            </a:xfrm>
            <a:custGeom>
              <a:avLst/>
              <a:gdLst>
                <a:gd name="T0" fmla="*/ 1333 w 1357"/>
                <a:gd name="T1" fmla="*/ 932 h 956"/>
                <a:gd name="T2" fmla="*/ 24 w 1357"/>
                <a:gd name="T3" fmla="*/ 932 h 956"/>
                <a:gd name="T4" fmla="*/ 24 w 1357"/>
                <a:gd name="T5" fmla="*/ 24 h 956"/>
                <a:gd name="T6" fmla="*/ 1333 w 1357"/>
                <a:gd name="T7" fmla="*/ 24 h 956"/>
                <a:gd name="T8" fmla="*/ 1333 w 1357"/>
                <a:gd name="T9" fmla="*/ 932 h 956"/>
                <a:gd name="T10" fmla="*/ 1357 w 1357"/>
                <a:gd name="T11" fmla="*/ 944 h 956"/>
                <a:gd name="T12" fmla="*/ 1357 w 1357"/>
                <a:gd name="T13" fmla="*/ 13 h 956"/>
                <a:gd name="T14" fmla="*/ 1357 w 1357"/>
                <a:gd name="T15" fmla="*/ 7 h 956"/>
                <a:gd name="T16" fmla="*/ 1353 w 1357"/>
                <a:gd name="T17" fmla="*/ 3 h 956"/>
                <a:gd name="T18" fmla="*/ 1350 w 1357"/>
                <a:gd name="T19" fmla="*/ 1 h 956"/>
                <a:gd name="T20" fmla="*/ 1345 w 1357"/>
                <a:gd name="T21" fmla="*/ 0 h 956"/>
                <a:gd name="T22" fmla="*/ 11 w 1357"/>
                <a:gd name="T23" fmla="*/ 0 h 956"/>
                <a:gd name="T24" fmla="*/ 7 w 1357"/>
                <a:gd name="T25" fmla="*/ 1 h 956"/>
                <a:gd name="T26" fmla="*/ 3 w 1357"/>
                <a:gd name="T27" fmla="*/ 3 h 956"/>
                <a:gd name="T28" fmla="*/ 0 w 1357"/>
                <a:gd name="T29" fmla="*/ 7 h 956"/>
                <a:gd name="T30" fmla="*/ 0 w 1357"/>
                <a:gd name="T31" fmla="*/ 13 h 956"/>
                <a:gd name="T32" fmla="*/ 0 w 1357"/>
                <a:gd name="T33" fmla="*/ 944 h 956"/>
                <a:gd name="T34" fmla="*/ 0 w 1357"/>
                <a:gd name="T35" fmla="*/ 949 h 956"/>
                <a:gd name="T36" fmla="*/ 3 w 1357"/>
                <a:gd name="T37" fmla="*/ 952 h 956"/>
                <a:gd name="T38" fmla="*/ 7 w 1357"/>
                <a:gd name="T39" fmla="*/ 956 h 956"/>
                <a:gd name="T40" fmla="*/ 11 w 1357"/>
                <a:gd name="T41" fmla="*/ 956 h 956"/>
                <a:gd name="T42" fmla="*/ 1345 w 1357"/>
                <a:gd name="T43" fmla="*/ 956 h 956"/>
                <a:gd name="T44" fmla="*/ 1350 w 1357"/>
                <a:gd name="T45" fmla="*/ 956 h 956"/>
                <a:gd name="T46" fmla="*/ 1353 w 1357"/>
                <a:gd name="T47" fmla="*/ 952 h 956"/>
                <a:gd name="T48" fmla="*/ 1357 w 1357"/>
                <a:gd name="T49" fmla="*/ 949 h 956"/>
                <a:gd name="T50" fmla="*/ 1357 w 1357"/>
                <a:gd name="T51" fmla="*/ 944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57" h="956">
                  <a:moveTo>
                    <a:pt x="1333" y="932"/>
                  </a:moveTo>
                  <a:lnTo>
                    <a:pt x="24" y="932"/>
                  </a:lnTo>
                  <a:lnTo>
                    <a:pt x="24" y="24"/>
                  </a:lnTo>
                  <a:lnTo>
                    <a:pt x="1333" y="24"/>
                  </a:lnTo>
                  <a:lnTo>
                    <a:pt x="1333" y="932"/>
                  </a:lnTo>
                  <a:close/>
                  <a:moveTo>
                    <a:pt x="1357" y="944"/>
                  </a:moveTo>
                  <a:lnTo>
                    <a:pt x="1357" y="13"/>
                  </a:lnTo>
                  <a:lnTo>
                    <a:pt x="1357" y="7"/>
                  </a:lnTo>
                  <a:lnTo>
                    <a:pt x="1353" y="3"/>
                  </a:lnTo>
                  <a:lnTo>
                    <a:pt x="1350" y="1"/>
                  </a:lnTo>
                  <a:lnTo>
                    <a:pt x="1345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0" y="7"/>
                  </a:lnTo>
                  <a:lnTo>
                    <a:pt x="0" y="13"/>
                  </a:lnTo>
                  <a:lnTo>
                    <a:pt x="0" y="944"/>
                  </a:lnTo>
                  <a:lnTo>
                    <a:pt x="0" y="949"/>
                  </a:lnTo>
                  <a:lnTo>
                    <a:pt x="3" y="952"/>
                  </a:lnTo>
                  <a:lnTo>
                    <a:pt x="7" y="956"/>
                  </a:lnTo>
                  <a:lnTo>
                    <a:pt x="11" y="956"/>
                  </a:lnTo>
                  <a:lnTo>
                    <a:pt x="1345" y="956"/>
                  </a:lnTo>
                  <a:lnTo>
                    <a:pt x="1350" y="956"/>
                  </a:lnTo>
                  <a:lnTo>
                    <a:pt x="1353" y="952"/>
                  </a:lnTo>
                  <a:lnTo>
                    <a:pt x="1357" y="949"/>
                  </a:lnTo>
                  <a:lnTo>
                    <a:pt x="1357" y="944"/>
                  </a:lnTo>
                  <a:close/>
                </a:path>
              </a:pathLst>
            </a:custGeom>
            <a:solidFill>
              <a:srgbClr val="00467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67"/>
            <p:cNvSpPr>
              <a:spLocks/>
            </p:cNvSpPr>
            <p:nvPr/>
          </p:nvSpPr>
          <p:spPr bwMode="auto">
            <a:xfrm>
              <a:off x="5784850" y="1230313"/>
              <a:ext cx="31750" cy="9525"/>
            </a:xfrm>
            <a:custGeom>
              <a:avLst/>
              <a:gdLst>
                <a:gd name="T0" fmla="*/ 11 w 82"/>
                <a:gd name="T1" fmla="*/ 24 h 24"/>
                <a:gd name="T2" fmla="*/ 71 w 82"/>
                <a:gd name="T3" fmla="*/ 24 h 24"/>
                <a:gd name="T4" fmla="*/ 75 w 82"/>
                <a:gd name="T5" fmla="*/ 23 h 24"/>
                <a:gd name="T6" fmla="*/ 79 w 82"/>
                <a:gd name="T7" fmla="*/ 20 h 24"/>
                <a:gd name="T8" fmla="*/ 82 w 82"/>
                <a:gd name="T9" fmla="*/ 17 h 24"/>
                <a:gd name="T10" fmla="*/ 82 w 82"/>
                <a:gd name="T11" fmla="*/ 11 h 24"/>
                <a:gd name="T12" fmla="*/ 82 w 82"/>
                <a:gd name="T13" fmla="*/ 8 h 24"/>
                <a:gd name="T14" fmla="*/ 79 w 82"/>
                <a:gd name="T15" fmla="*/ 3 h 24"/>
                <a:gd name="T16" fmla="*/ 75 w 82"/>
                <a:gd name="T17" fmla="*/ 1 h 24"/>
                <a:gd name="T18" fmla="*/ 71 w 82"/>
                <a:gd name="T19" fmla="*/ 0 h 24"/>
                <a:gd name="T20" fmla="*/ 11 w 82"/>
                <a:gd name="T21" fmla="*/ 0 h 24"/>
                <a:gd name="T22" fmla="*/ 7 w 82"/>
                <a:gd name="T23" fmla="*/ 1 h 24"/>
                <a:gd name="T24" fmla="*/ 3 w 82"/>
                <a:gd name="T25" fmla="*/ 3 h 24"/>
                <a:gd name="T26" fmla="*/ 1 w 82"/>
                <a:gd name="T27" fmla="*/ 8 h 24"/>
                <a:gd name="T28" fmla="*/ 0 w 82"/>
                <a:gd name="T29" fmla="*/ 11 h 24"/>
                <a:gd name="T30" fmla="*/ 1 w 82"/>
                <a:gd name="T31" fmla="*/ 17 h 24"/>
                <a:gd name="T32" fmla="*/ 3 w 82"/>
                <a:gd name="T33" fmla="*/ 20 h 24"/>
                <a:gd name="T34" fmla="*/ 7 w 82"/>
                <a:gd name="T35" fmla="*/ 23 h 24"/>
                <a:gd name="T36" fmla="*/ 11 w 82"/>
                <a:gd name="T3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24">
                  <a:moveTo>
                    <a:pt x="11" y="24"/>
                  </a:moveTo>
                  <a:lnTo>
                    <a:pt x="71" y="24"/>
                  </a:lnTo>
                  <a:lnTo>
                    <a:pt x="75" y="23"/>
                  </a:lnTo>
                  <a:lnTo>
                    <a:pt x="79" y="20"/>
                  </a:lnTo>
                  <a:lnTo>
                    <a:pt x="82" y="17"/>
                  </a:lnTo>
                  <a:lnTo>
                    <a:pt x="82" y="11"/>
                  </a:lnTo>
                  <a:lnTo>
                    <a:pt x="82" y="8"/>
                  </a:lnTo>
                  <a:lnTo>
                    <a:pt x="79" y="3"/>
                  </a:lnTo>
                  <a:lnTo>
                    <a:pt x="75" y="1"/>
                  </a:lnTo>
                  <a:lnTo>
                    <a:pt x="71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3" y="3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1" y="24"/>
                  </a:lnTo>
                  <a:close/>
                </a:path>
              </a:pathLst>
            </a:custGeom>
            <a:solidFill>
              <a:srgbClr val="00467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 68"/>
            <p:cNvSpPr>
              <a:spLocks/>
            </p:cNvSpPr>
            <p:nvPr/>
          </p:nvSpPr>
          <p:spPr bwMode="auto">
            <a:xfrm>
              <a:off x="5862638" y="1409701"/>
              <a:ext cx="44450" cy="44450"/>
            </a:xfrm>
            <a:custGeom>
              <a:avLst/>
              <a:gdLst>
                <a:gd name="T0" fmla="*/ 13 w 112"/>
                <a:gd name="T1" fmla="*/ 0 h 112"/>
                <a:gd name="T2" fmla="*/ 7 w 112"/>
                <a:gd name="T3" fmla="*/ 1 h 112"/>
                <a:gd name="T4" fmla="*/ 3 w 112"/>
                <a:gd name="T5" fmla="*/ 3 h 112"/>
                <a:gd name="T6" fmla="*/ 1 w 112"/>
                <a:gd name="T7" fmla="*/ 8 h 112"/>
                <a:gd name="T8" fmla="*/ 0 w 112"/>
                <a:gd name="T9" fmla="*/ 13 h 112"/>
                <a:gd name="T10" fmla="*/ 1 w 112"/>
                <a:gd name="T11" fmla="*/ 17 h 112"/>
                <a:gd name="T12" fmla="*/ 3 w 112"/>
                <a:gd name="T13" fmla="*/ 21 h 112"/>
                <a:gd name="T14" fmla="*/ 7 w 112"/>
                <a:gd name="T15" fmla="*/ 23 h 112"/>
                <a:gd name="T16" fmla="*/ 13 w 112"/>
                <a:gd name="T17" fmla="*/ 24 h 112"/>
                <a:gd name="T18" fmla="*/ 19 w 112"/>
                <a:gd name="T19" fmla="*/ 24 h 112"/>
                <a:gd name="T20" fmla="*/ 27 w 112"/>
                <a:gd name="T21" fmla="*/ 25 h 112"/>
                <a:gd name="T22" fmla="*/ 34 w 112"/>
                <a:gd name="T23" fmla="*/ 27 h 112"/>
                <a:gd name="T24" fmla="*/ 41 w 112"/>
                <a:gd name="T25" fmla="*/ 30 h 112"/>
                <a:gd name="T26" fmla="*/ 48 w 112"/>
                <a:gd name="T27" fmla="*/ 33 h 112"/>
                <a:gd name="T28" fmla="*/ 55 w 112"/>
                <a:gd name="T29" fmla="*/ 37 h 112"/>
                <a:gd name="T30" fmla="*/ 61 w 112"/>
                <a:gd name="T31" fmla="*/ 41 h 112"/>
                <a:gd name="T32" fmla="*/ 65 w 112"/>
                <a:gd name="T33" fmla="*/ 47 h 112"/>
                <a:gd name="T34" fmla="*/ 71 w 112"/>
                <a:gd name="T35" fmla="*/ 51 h 112"/>
                <a:gd name="T36" fmla="*/ 76 w 112"/>
                <a:gd name="T37" fmla="*/ 57 h 112"/>
                <a:gd name="T38" fmla="*/ 79 w 112"/>
                <a:gd name="T39" fmla="*/ 64 h 112"/>
                <a:gd name="T40" fmla="*/ 82 w 112"/>
                <a:gd name="T41" fmla="*/ 71 h 112"/>
                <a:gd name="T42" fmla="*/ 85 w 112"/>
                <a:gd name="T43" fmla="*/ 78 h 112"/>
                <a:gd name="T44" fmla="*/ 87 w 112"/>
                <a:gd name="T45" fmla="*/ 85 h 112"/>
                <a:gd name="T46" fmla="*/ 88 w 112"/>
                <a:gd name="T47" fmla="*/ 93 h 112"/>
                <a:gd name="T48" fmla="*/ 88 w 112"/>
                <a:gd name="T49" fmla="*/ 100 h 112"/>
                <a:gd name="T50" fmla="*/ 89 w 112"/>
                <a:gd name="T51" fmla="*/ 104 h 112"/>
                <a:gd name="T52" fmla="*/ 92 w 112"/>
                <a:gd name="T53" fmla="*/ 109 h 112"/>
                <a:gd name="T54" fmla="*/ 95 w 112"/>
                <a:gd name="T55" fmla="*/ 111 h 112"/>
                <a:gd name="T56" fmla="*/ 100 w 112"/>
                <a:gd name="T57" fmla="*/ 112 h 112"/>
                <a:gd name="T58" fmla="*/ 104 w 112"/>
                <a:gd name="T59" fmla="*/ 111 h 112"/>
                <a:gd name="T60" fmla="*/ 109 w 112"/>
                <a:gd name="T61" fmla="*/ 109 h 112"/>
                <a:gd name="T62" fmla="*/ 111 w 112"/>
                <a:gd name="T63" fmla="*/ 104 h 112"/>
                <a:gd name="T64" fmla="*/ 112 w 112"/>
                <a:gd name="T65" fmla="*/ 100 h 112"/>
                <a:gd name="T66" fmla="*/ 111 w 112"/>
                <a:gd name="T67" fmla="*/ 89 h 112"/>
                <a:gd name="T68" fmla="*/ 110 w 112"/>
                <a:gd name="T69" fmla="*/ 80 h 112"/>
                <a:gd name="T70" fmla="*/ 108 w 112"/>
                <a:gd name="T71" fmla="*/ 70 h 112"/>
                <a:gd name="T72" fmla="*/ 104 w 112"/>
                <a:gd name="T73" fmla="*/ 61 h 112"/>
                <a:gd name="T74" fmla="*/ 100 w 112"/>
                <a:gd name="T75" fmla="*/ 53 h 112"/>
                <a:gd name="T76" fmla="*/ 95 w 112"/>
                <a:gd name="T77" fmla="*/ 45 h 112"/>
                <a:gd name="T78" fmla="*/ 89 w 112"/>
                <a:gd name="T79" fmla="*/ 37 h 112"/>
                <a:gd name="T80" fmla="*/ 82 w 112"/>
                <a:gd name="T81" fmla="*/ 30 h 112"/>
                <a:gd name="T82" fmla="*/ 76 w 112"/>
                <a:gd name="T83" fmla="*/ 23 h 112"/>
                <a:gd name="T84" fmla="*/ 68 w 112"/>
                <a:gd name="T85" fmla="*/ 17 h 112"/>
                <a:gd name="T86" fmla="*/ 59 w 112"/>
                <a:gd name="T87" fmla="*/ 13 h 112"/>
                <a:gd name="T88" fmla="*/ 50 w 112"/>
                <a:gd name="T89" fmla="*/ 8 h 112"/>
                <a:gd name="T90" fmla="*/ 41 w 112"/>
                <a:gd name="T91" fmla="*/ 5 h 112"/>
                <a:gd name="T92" fmla="*/ 32 w 112"/>
                <a:gd name="T93" fmla="*/ 2 h 112"/>
                <a:gd name="T94" fmla="*/ 22 w 112"/>
                <a:gd name="T95" fmla="*/ 1 h 112"/>
                <a:gd name="T96" fmla="*/ 13 w 112"/>
                <a:gd name="T97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" h="112">
                  <a:moveTo>
                    <a:pt x="13" y="0"/>
                  </a:moveTo>
                  <a:lnTo>
                    <a:pt x="7" y="1"/>
                  </a:lnTo>
                  <a:lnTo>
                    <a:pt x="3" y="3"/>
                  </a:lnTo>
                  <a:lnTo>
                    <a:pt x="1" y="8"/>
                  </a:lnTo>
                  <a:lnTo>
                    <a:pt x="0" y="13"/>
                  </a:lnTo>
                  <a:lnTo>
                    <a:pt x="1" y="17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19" y="24"/>
                  </a:lnTo>
                  <a:lnTo>
                    <a:pt x="27" y="25"/>
                  </a:lnTo>
                  <a:lnTo>
                    <a:pt x="34" y="27"/>
                  </a:lnTo>
                  <a:lnTo>
                    <a:pt x="41" y="30"/>
                  </a:lnTo>
                  <a:lnTo>
                    <a:pt x="48" y="33"/>
                  </a:lnTo>
                  <a:lnTo>
                    <a:pt x="55" y="37"/>
                  </a:lnTo>
                  <a:lnTo>
                    <a:pt x="61" y="41"/>
                  </a:lnTo>
                  <a:lnTo>
                    <a:pt x="65" y="47"/>
                  </a:lnTo>
                  <a:lnTo>
                    <a:pt x="71" y="51"/>
                  </a:lnTo>
                  <a:lnTo>
                    <a:pt x="76" y="57"/>
                  </a:lnTo>
                  <a:lnTo>
                    <a:pt x="79" y="64"/>
                  </a:lnTo>
                  <a:lnTo>
                    <a:pt x="82" y="71"/>
                  </a:lnTo>
                  <a:lnTo>
                    <a:pt x="85" y="78"/>
                  </a:lnTo>
                  <a:lnTo>
                    <a:pt x="87" y="85"/>
                  </a:lnTo>
                  <a:lnTo>
                    <a:pt x="88" y="93"/>
                  </a:lnTo>
                  <a:lnTo>
                    <a:pt x="88" y="100"/>
                  </a:lnTo>
                  <a:lnTo>
                    <a:pt x="89" y="104"/>
                  </a:lnTo>
                  <a:lnTo>
                    <a:pt x="92" y="109"/>
                  </a:lnTo>
                  <a:lnTo>
                    <a:pt x="95" y="111"/>
                  </a:lnTo>
                  <a:lnTo>
                    <a:pt x="100" y="112"/>
                  </a:lnTo>
                  <a:lnTo>
                    <a:pt x="104" y="111"/>
                  </a:lnTo>
                  <a:lnTo>
                    <a:pt x="109" y="109"/>
                  </a:lnTo>
                  <a:lnTo>
                    <a:pt x="111" y="104"/>
                  </a:lnTo>
                  <a:lnTo>
                    <a:pt x="112" y="100"/>
                  </a:lnTo>
                  <a:lnTo>
                    <a:pt x="111" y="89"/>
                  </a:lnTo>
                  <a:lnTo>
                    <a:pt x="110" y="80"/>
                  </a:lnTo>
                  <a:lnTo>
                    <a:pt x="108" y="70"/>
                  </a:lnTo>
                  <a:lnTo>
                    <a:pt x="104" y="61"/>
                  </a:lnTo>
                  <a:lnTo>
                    <a:pt x="100" y="53"/>
                  </a:lnTo>
                  <a:lnTo>
                    <a:pt x="95" y="45"/>
                  </a:lnTo>
                  <a:lnTo>
                    <a:pt x="89" y="37"/>
                  </a:lnTo>
                  <a:lnTo>
                    <a:pt x="82" y="30"/>
                  </a:lnTo>
                  <a:lnTo>
                    <a:pt x="76" y="23"/>
                  </a:lnTo>
                  <a:lnTo>
                    <a:pt x="68" y="17"/>
                  </a:lnTo>
                  <a:lnTo>
                    <a:pt x="59" y="13"/>
                  </a:lnTo>
                  <a:lnTo>
                    <a:pt x="50" y="8"/>
                  </a:lnTo>
                  <a:lnTo>
                    <a:pt x="41" y="5"/>
                  </a:lnTo>
                  <a:lnTo>
                    <a:pt x="32" y="2"/>
                  </a:lnTo>
                  <a:lnTo>
                    <a:pt x="22" y="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206EB5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 69"/>
            <p:cNvSpPr>
              <a:spLocks/>
            </p:cNvSpPr>
            <p:nvPr/>
          </p:nvSpPr>
          <p:spPr bwMode="auto">
            <a:xfrm>
              <a:off x="5862638" y="1293813"/>
              <a:ext cx="161925" cy="160338"/>
            </a:xfrm>
            <a:custGeom>
              <a:avLst/>
              <a:gdLst>
                <a:gd name="T0" fmla="*/ 7 w 405"/>
                <a:gd name="T1" fmla="*/ 1 h 405"/>
                <a:gd name="T2" fmla="*/ 1 w 405"/>
                <a:gd name="T3" fmla="*/ 7 h 405"/>
                <a:gd name="T4" fmla="*/ 1 w 405"/>
                <a:gd name="T5" fmla="*/ 17 h 405"/>
                <a:gd name="T6" fmla="*/ 7 w 405"/>
                <a:gd name="T7" fmla="*/ 23 h 405"/>
                <a:gd name="T8" fmla="*/ 31 w 405"/>
                <a:gd name="T9" fmla="*/ 24 h 405"/>
                <a:gd name="T10" fmla="*/ 69 w 405"/>
                <a:gd name="T11" fmla="*/ 28 h 405"/>
                <a:gd name="T12" fmla="*/ 104 w 405"/>
                <a:gd name="T13" fmla="*/ 35 h 405"/>
                <a:gd name="T14" fmla="*/ 138 w 405"/>
                <a:gd name="T15" fmla="*/ 47 h 405"/>
                <a:gd name="T16" fmla="*/ 172 w 405"/>
                <a:gd name="T17" fmla="*/ 61 h 405"/>
                <a:gd name="T18" fmla="*/ 204 w 405"/>
                <a:gd name="T19" fmla="*/ 78 h 405"/>
                <a:gd name="T20" fmla="*/ 232 w 405"/>
                <a:gd name="T21" fmla="*/ 97 h 405"/>
                <a:gd name="T22" fmla="*/ 260 w 405"/>
                <a:gd name="T23" fmla="*/ 120 h 405"/>
                <a:gd name="T24" fmla="*/ 285 w 405"/>
                <a:gd name="T25" fmla="*/ 145 h 405"/>
                <a:gd name="T26" fmla="*/ 308 w 405"/>
                <a:gd name="T27" fmla="*/ 173 h 405"/>
                <a:gd name="T28" fmla="*/ 327 w 405"/>
                <a:gd name="T29" fmla="*/ 201 h 405"/>
                <a:gd name="T30" fmla="*/ 345 w 405"/>
                <a:gd name="T31" fmla="*/ 233 h 405"/>
                <a:gd name="T32" fmla="*/ 358 w 405"/>
                <a:gd name="T33" fmla="*/ 267 h 405"/>
                <a:gd name="T34" fmla="*/ 370 w 405"/>
                <a:gd name="T35" fmla="*/ 301 h 405"/>
                <a:gd name="T36" fmla="*/ 377 w 405"/>
                <a:gd name="T37" fmla="*/ 336 h 405"/>
                <a:gd name="T38" fmla="*/ 381 w 405"/>
                <a:gd name="T39" fmla="*/ 374 h 405"/>
                <a:gd name="T40" fmla="*/ 382 w 405"/>
                <a:gd name="T41" fmla="*/ 397 h 405"/>
                <a:gd name="T42" fmla="*/ 388 w 405"/>
                <a:gd name="T43" fmla="*/ 404 h 405"/>
                <a:gd name="T44" fmla="*/ 398 w 405"/>
                <a:gd name="T45" fmla="*/ 404 h 405"/>
                <a:gd name="T46" fmla="*/ 404 w 405"/>
                <a:gd name="T47" fmla="*/ 397 h 405"/>
                <a:gd name="T48" fmla="*/ 404 w 405"/>
                <a:gd name="T49" fmla="*/ 373 h 405"/>
                <a:gd name="T50" fmla="*/ 401 w 405"/>
                <a:gd name="T51" fmla="*/ 333 h 405"/>
                <a:gd name="T52" fmla="*/ 393 w 405"/>
                <a:gd name="T53" fmla="*/ 295 h 405"/>
                <a:gd name="T54" fmla="*/ 381 w 405"/>
                <a:gd name="T55" fmla="*/ 257 h 405"/>
                <a:gd name="T56" fmla="*/ 366 w 405"/>
                <a:gd name="T57" fmla="*/ 223 h 405"/>
                <a:gd name="T58" fmla="*/ 348 w 405"/>
                <a:gd name="T59" fmla="*/ 189 h 405"/>
                <a:gd name="T60" fmla="*/ 327 w 405"/>
                <a:gd name="T61" fmla="*/ 158 h 405"/>
                <a:gd name="T62" fmla="*/ 303 w 405"/>
                <a:gd name="T63" fmla="*/ 129 h 405"/>
                <a:gd name="T64" fmla="*/ 276 w 405"/>
                <a:gd name="T65" fmla="*/ 102 h 405"/>
                <a:gd name="T66" fmla="*/ 247 w 405"/>
                <a:gd name="T67" fmla="*/ 78 h 405"/>
                <a:gd name="T68" fmla="*/ 215 w 405"/>
                <a:gd name="T69" fmla="*/ 57 h 405"/>
                <a:gd name="T70" fmla="*/ 182 w 405"/>
                <a:gd name="T71" fmla="*/ 39 h 405"/>
                <a:gd name="T72" fmla="*/ 147 w 405"/>
                <a:gd name="T73" fmla="*/ 24 h 405"/>
                <a:gd name="T74" fmla="*/ 110 w 405"/>
                <a:gd name="T75" fmla="*/ 12 h 405"/>
                <a:gd name="T76" fmla="*/ 72 w 405"/>
                <a:gd name="T77" fmla="*/ 4 h 405"/>
                <a:gd name="T78" fmla="*/ 32 w 405"/>
                <a:gd name="T79" fmla="*/ 1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" h="405">
                  <a:moveTo>
                    <a:pt x="13" y="0"/>
                  </a:moveTo>
                  <a:lnTo>
                    <a:pt x="7" y="1"/>
                  </a:lnTo>
                  <a:lnTo>
                    <a:pt x="3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31" y="24"/>
                  </a:lnTo>
                  <a:lnTo>
                    <a:pt x="49" y="26"/>
                  </a:lnTo>
                  <a:lnTo>
                    <a:pt x="69" y="28"/>
                  </a:lnTo>
                  <a:lnTo>
                    <a:pt x="86" y="32"/>
                  </a:lnTo>
                  <a:lnTo>
                    <a:pt x="104" y="35"/>
                  </a:lnTo>
                  <a:lnTo>
                    <a:pt x="121" y="41"/>
                  </a:lnTo>
                  <a:lnTo>
                    <a:pt x="138" y="47"/>
                  </a:lnTo>
                  <a:lnTo>
                    <a:pt x="156" y="53"/>
                  </a:lnTo>
                  <a:lnTo>
                    <a:pt x="172" y="61"/>
                  </a:lnTo>
                  <a:lnTo>
                    <a:pt x="188" y="69"/>
                  </a:lnTo>
                  <a:lnTo>
                    <a:pt x="204" y="78"/>
                  </a:lnTo>
                  <a:lnTo>
                    <a:pt x="219" y="87"/>
                  </a:lnTo>
                  <a:lnTo>
                    <a:pt x="232" y="97"/>
                  </a:lnTo>
                  <a:lnTo>
                    <a:pt x="247" y="109"/>
                  </a:lnTo>
                  <a:lnTo>
                    <a:pt x="260" y="120"/>
                  </a:lnTo>
                  <a:lnTo>
                    <a:pt x="272" y="132"/>
                  </a:lnTo>
                  <a:lnTo>
                    <a:pt x="285" y="145"/>
                  </a:lnTo>
                  <a:lnTo>
                    <a:pt x="297" y="158"/>
                  </a:lnTo>
                  <a:lnTo>
                    <a:pt x="308" y="173"/>
                  </a:lnTo>
                  <a:lnTo>
                    <a:pt x="318" y="186"/>
                  </a:lnTo>
                  <a:lnTo>
                    <a:pt x="327" y="201"/>
                  </a:lnTo>
                  <a:lnTo>
                    <a:pt x="337" y="217"/>
                  </a:lnTo>
                  <a:lnTo>
                    <a:pt x="345" y="233"/>
                  </a:lnTo>
                  <a:lnTo>
                    <a:pt x="353" y="249"/>
                  </a:lnTo>
                  <a:lnTo>
                    <a:pt x="358" y="267"/>
                  </a:lnTo>
                  <a:lnTo>
                    <a:pt x="364" y="284"/>
                  </a:lnTo>
                  <a:lnTo>
                    <a:pt x="370" y="301"/>
                  </a:lnTo>
                  <a:lnTo>
                    <a:pt x="373" y="318"/>
                  </a:lnTo>
                  <a:lnTo>
                    <a:pt x="377" y="336"/>
                  </a:lnTo>
                  <a:lnTo>
                    <a:pt x="379" y="355"/>
                  </a:lnTo>
                  <a:lnTo>
                    <a:pt x="381" y="374"/>
                  </a:lnTo>
                  <a:lnTo>
                    <a:pt x="381" y="393"/>
                  </a:lnTo>
                  <a:lnTo>
                    <a:pt x="382" y="397"/>
                  </a:lnTo>
                  <a:lnTo>
                    <a:pt x="385" y="402"/>
                  </a:lnTo>
                  <a:lnTo>
                    <a:pt x="388" y="404"/>
                  </a:lnTo>
                  <a:lnTo>
                    <a:pt x="393" y="405"/>
                  </a:lnTo>
                  <a:lnTo>
                    <a:pt x="398" y="404"/>
                  </a:lnTo>
                  <a:lnTo>
                    <a:pt x="402" y="402"/>
                  </a:lnTo>
                  <a:lnTo>
                    <a:pt x="404" y="397"/>
                  </a:lnTo>
                  <a:lnTo>
                    <a:pt x="405" y="393"/>
                  </a:lnTo>
                  <a:lnTo>
                    <a:pt x="404" y="373"/>
                  </a:lnTo>
                  <a:lnTo>
                    <a:pt x="403" y="352"/>
                  </a:lnTo>
                  <a:lnTo>
                    <a:pt x="401" y="333"/>
                  </a:lnTo>
                  <a:lnTo>
                    <a:pt x="397" y="314"/>
                  </a:lnTo>
                  <a:lnTo>
                    <a:pt x="393" y="295"/>
                  </a:lnTo>
                  <a:lnTo>
                    <a:pt x="387" y="276"/>
                  </a:lnTo>
                  <a:lnTo>
                    <a:pt x="381" y="257"/>
                  </a:lnTo>
                  <a:lnTo>
                    <a:pt x="374" y="240"/>
                  </a:lnTo>
                  <a:lnTo>
                    <a:pt x="366" y="223"/>
                  </a:lnTo>
                  <a:lnTo>
                    <a:pt x="357" y="206"/>
                  </a:lnTo>
                  <a:lnTo>
                    <a:pt x="348" y="189"/>
                  </a:lnTo>
                  <a:lnTo>
                    <a:pt x="338" y="174"/>
                  </a:lnTo>
                  <a:lnTo>
                    <a:pt x="327" y="158"/>
                  </a:lnTo>
                  <a:lnTo>
                    <a:pt x="315" y="143"/>
                  </a:lnTo>
                  <a:lnTo>
                    <a:pt x="303" y="129"/>
                  </a:lnTo>
                  <a:lnTo>
                    <a:pt x="290" y="115"/>
                  </a:lnTo>
                  <a:lnTo>
                    <a:pt x="276" y="102"/>
                  </a:lnTo>
                  <a:lnTo>
                    <a:pt x="262" y="90"/>
                  </a:lnTo>
                  <a:lnTo>
                    <a:pt x="247" y="78"/>
                  </a:lnTo>
                  <a:lnTo>
                    <a:pt x="231" y="67"/>
                  </a:lnTo>
                  <a:lnTo>
                    <a:pt x="215" y="57"/>
                  </a:lnTo>
                  <a:lnTo>
                    <a:pt x="199" y="48"/>
                  </a:lnTo>
                  <a:lnTo>
                    <a:pt x="182" y="39"/>
                  </a:lnTo>
                  <a:lnTo>
                    <a:pt x="165" y="31"/>
                  </a:lnTo>
                  <a:lnTo>
                    <a:pt x="147" y="24"/>
                  </a:lnTo>
                  <a:lnTo>
                    <a:pt x="129" y="18"/>
                  </a:lnTo>
                  <a:lnTo>
                    <a:pt x="110" y="12"/>
                  </a:lnTo>
                  <a:lnTo>
                    <a:pt x="92" y="8"/>
                  </a:lnTo>
                  <a:lnTo>
                    <a:pt x="72" y="4"/>
                  </a:lnTo>
                  <a:lnTo>
                    <a:pt x="53" y="2"/>
                  </a:lnTo>
                  <a:lnTo>
                    <a:pt x="32" y="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206EB5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 70"/>
            <p:cNvSpPr>
              <a:spLocks/>
            </p:cNvSpPr>
            <p:nvPr/>
          </p:nvSpPr>
          <p:spPr bwMode="auto">
            <a:xfrm>
              <a:off x="5862638" y="1352551"/>
              <a:ext cx="103188" cy="101600"/>
            </a:xfrm>
            <a:custGeom>
              <a:avLst/>
              <a:gdLst>
                <a:gd name="T0" fmla="*/ 13 w 259"/>
                <a:gd name="T1" fmla="*/ 0 h 259"/>
                <a:gd name="T2" fmla="*/ 7 w 259"/>
                <a:gd name="T3" fmla="*/ 2 h 259"/>
                <a:gd name="T4" fmla="*/ 3 w 259"/>
                <a:gd name="T5" fmla="*/ 4 h 259"/>
                <a:gd name="T6" fmla="*/ 1 w 259"/>
                <a:gd name="T7" fmla="*/ 7 h 259"/>
                <a:gd name="T8" fmla="*/ 0 w 259"/>
                <a:gd name="T9" fmla="*/ 12 h 259"/>
                <a:gd name="T10" fmla="*/ 1 w 259"/>
                <a:gd name="T11" fmla="*/ 18 h 259"/>
                <a:gd name="T12" fmla="*/ 3 w 259"/>
                <a:gd name="T13" fmla="*/ 21 h 259"/>
                <a:gd name="T14" fmla="*/ 7 w 259"/>
                <a:gd name="T15" fmla="*/ 23 h 259"/>
                <a:gd name="T16" fmla="*/ 13 w 259"/>
                <a:gd name="T17" fmla="*/ 24 h 259"/>
                <a:gd name="T18" fmla="*/ 34 w 259"/>
                <a:gd name="T19" fmla="*/ 26 h 259"/>
                <a:gd name="T20" fmla="*/ 57 w 259"/>
                <a:gd name="T21" fmla="*/ 29 h 259"/>
                <a:gd name="T22" fmla="*/ 78 w 259"/>
                <a:gd name="T23" fmla="*/ 35 h 259"/>
                <a:gd name="T24" fmla="*/ 98 w 259"/>
                <a:gd name="T25" fmla="*/ 42 h 259"/>
                <a:gd name="T26" fmla="*/ 118 w 259"/>
                <a:gd name="T27" fmla="*/ 52 h 259"/>
                <a:gd name="T28" fmla="*/ 136 w 259"/>
                <a:gd name="T29" fmla="*/ 62 h 259"/>
                <a:gd name="T30" fmla="*/ 153 w 259"/>
                <a:gd name="T31" fmla="*/ 75 h 259"/>
                <a:gd name="T32" fmla="*/ 169 w 259"/>
                <a:gd name="T33" fmla="*/ 90 h 259"/>
                <a:gd name="T34" fmla="*/ 183 w 259"/>
                <a:gd name="T35" fmla="*/ 106 h 259"/>
                <a:gd name="T36" fmla="*/ 197 w 259"/>
                <a:gd name="T37" fmla="*/ 123 h 259"/>
                <a:gd name="T38" fmla="*/ 207 w 259"/>
                <a:gd name="T39" fmla="*/ 141 h 259"/>
                <a:gd name="T40" fmla="*/ 217 w 259"/>
                <a:gd name="T41" fmla="*/ 161 h 259"/>
                <a:gd name="T42" fmla="*/ 224 w 259"/>
                <a:gd name="T43" fmla="*/ 181 h 259"/>
                <a:gd name="T44" fmla="*/ 230 w 259"/>
                <a:gd name="T45" fmla="*/ 202 h 259"/>
                <a:gd name="T46" fmla="*/ 234 w 259"/>
                <a:gd name="T47" fmla="*/ 224 h 259"/>
                <a:gd name="T48" fmla="*/ 235 w 259"/>
                <a:gd name="T49" fmla="*/ 247 h 259"/>
                <a:gd name="T50" fmla="*/ 236 w 259"/>
                <a:gd name="T51" fmla="*/ 251 h 259"/>
                <a:gd name="T52" fmla="*/ 238 w 259"/>
                <a:gd name="T53" fmla="*/ 256 h 259"/>
                <a:gd name="T54" fmla="*/ 242 w 259"/>
                <a:gd name="T55" fmla="*/ 258 h 259"/>
                <a:gd name="T56" fmla="*/ 246 w 259"/>
                <a:gd name="T57" fmla="*/ 259 h 259"/>
                <a:gd name="T58" fmla="*/ 251 w 259"/>
                <a:gd name="T59" fmla="*/ 258 h 259"/>
                <a:gd name="T60" fmla="*/ 255 w 259"/>
                <a:gd name="T61" fmla="*/ 256 h 259"/>
                <a:gd name="T62" fmla="*/ 258 w 259"/>
                <a:gd name="T63" fmla="*/ 251 h 259"/>
                <a:gd name="T64" fmla="*/ 259 w 259"/>
                <a:gd name="T65" fmla="*/ 247 h 259"/>
                <a:gd name="T66" fmla="*/ 259 w 259"/>
                <a:gd name="T67" fmla="*/ 234 h 259"/>
                <a:gd name="T68" fmla="*/ 258 w 259"/>
                <a:gd name="T69" fmla="*/ 221 h 259"/>
                <a:gd name="T70" fmla="*/ 255 w 259"/>
                <a:gd name="T71" fmla="*/ 210 h 259"/>
                <a:gd name="T72" fmla="*/ 254 w 259"/>
                <a:gd name="T73" fmla="*/ 197 h 259"/>
                <a:gd name="T74" fmla="*/ 251 w 259"/>
                <a:gd name="T75" fmla="*/ 186 h 259"/>
                <a:gd name="T76" fmla="*/ 247 w 259"/>
                <a:gd name="T77" fmla="*/ 173 h 259"/>
                <a:gd name="T78" fmla="*/ 244 w 259"/>
                <a:gd name="T79" fmla="*/ 162 h 259"/>
                <a:gd name="T80" fmla="*/ 239 w 259"/>
                <a:gd name="T81" fmla="*/ 152 h 259"/>
                <a:gd name="T82" fmla="*/ 235 w 259"/>
                <a:gd name="T83" fmla="*/ 140 h 259"/>
                <a:gd name="T84" fmla="*/ 229 w 259"/>
                <a:gd name="T85" fmla="*/ 130 h 259"/>
                <a:gd name="T86" fmla="*/ 223 w 259"/>
                <a:gd name="T87" fmla="*/ 119 h 259"/>
                <a:gd name="T88" fmla="*/ 216 w 259"/>
                <a:gd name="T89" fmla="*/ 109 h 259"/>
                <a:gd name="T90" fmla="*/ 203 w 259"/>
                <a:gd name="T91" fmla="*/ 91 h 259"/>
                <a:gd name="T92" fmla="*/ 187 w 259"/>
                <a:gd name="T93" fmla="*/ 73 h 259"/>
                <a:gd name="T94" fmla="*/ 168 w 259"/>
                <a:gd name="T95" fmla="*/ 56 h 259"/>
                <a:gd name="T96" fmla="*/ 150 w 259"/>
                <a:gd name="T97" fmla="*/ 43 h 259"/>
                <a:gd name="T98" fmla="*/ 140 w 259"/>
                <a:gd name="T99" fmla="*/ 36 h 259"/>
                <a:gd name="T100" fmla="*/ 129 w 259"/>
                <a:gd name="T101" fmla="*/ 30 h 259"/>
                <a:gd name="T102" fmla="*/ 119 w 259"/>
                <a:gd name="T103" fmla="*/ 24 h 259"/>
                <a:gd name="T104" fmla="*/ 108 w 259"/>
                <a:gd name="T105" fmla="*/ 20 h 259"/>
                <a:gd name="T106" fmla="*/ 96 w 259"/>
                <a:gd name="T107" fmla="*/ 15 h 259"/>
                <a:gd name="T108" fmla="*/ 85 w 259"/>
                <a:gd name="T109" fmla="*/ 12 h 259"/>
                <a:gd name="T110" fmla="*/ 73 w 259"/>
                <a:gd name="T111" fmla="*/ 8 h 259"/>
                <a:gd name="T112" fmla="*/ 62 w 259"/>
                <a:gd name="T113" fmla="*/ 5 h 259"/>
                <a:gd name="T114" fmla="*/ 49 w 259"/>
                <a:gd name="T115" fmla="*/ 4 h 259"/>
                <a:gd name="T116" fmla="*/ 38 w 259"/>
                <a:gd name="T117" fmla="*/ 2 h 259"/>
                <a:gd name="T118" fmla="*/ 25 w 259"/>
                <a:gd name="T119" fmla="*/ 0 h 259"/>
                <a:gd name="T120" fmla="*/ 13 w 259"/>
                <a:gd name="T12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259">
                  <a:moveTo>
                    <a:pt x="13" y="0"/>
                  </a:moveTo>
                  <a:lnTo>
                    <a:pt x="7" y="2"/>
                  </a:lnTo>
                  <a:lnTo>
                    <a:pt x="3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3" y="21"/>
                  </a:lnTo>
                  <a:lnTo>
                    <a:pt x="7" y="23"/>
                  </a:lnTo>
                  <a:lnTo>
                    <a:pt x="13" y="24"/>
                  </a:lnTo>
                  <a:lnTo>
                    <a:pt x="34" y="26"/>
                  </a:lnTo>
                  <a:lnTo>
                    <a:pt x="57" y="29"/>
                  </a:lnTo>
                  <a:lnTo>
                    <a:pt x="78" y="35"/>
                  </a:lnTo>
                  <a:lnTo>
                    <a:pt x="98" y="42"/>
                  </a:lnTo>
                  <a:lnTo>
                    <a:pt x="118" y="52"/>
                  </a:lnTo>
                  <a:lnTo>
                    <a:pt x="136" y="62"/>
                  </a:lnTo>
                  <a:lnTo>
                    <a:pt x="153" y="75"/>
                  </a:lnTo>
                  <a:lnTo>
                    <a:pt x="169" y="90"/>
                  </a:lnTo>
                  <a:lnTo>
                    <a:pt x="183" y="106"/>
                  </a:lnTo>
                  <a:lnTo>
                    <a:pt x="197" y="123"/>
                  </a:lnTo>
                  <a:lnTo>
                    <a:pt x="207" y="141"/>
                  </a:lnTo>
                  <a:lnTo>
                    <a:pt x="217" y="161"/>
                  </a:lnTo>
                  <a:lnTo>
                    <a:pt x="224" y="181"/>
                  </a:lnTo>
                  <a:lnTo>
                    <a:pt x="230" y="202"/>
                  </a:lnTo>
                  <a:lnTo>
                    <a:pt x="234" y="224"/>
                  </a:lnTo>
                  <a:lnTo>
                    <a:pt x="235" y="247"/>
                  </a:lnTo>
                  <a:lnTo>
                    <a:pt x="236" y="251"/>
                  </a:lnTo>
                  <a:lnTo>
                    <a:pt x="238" y="256"/>
                  </a:lnTo>
                  <a:lnTo>
                    <a:pt x="242" y="258"/>
                  </a:lnTo>
                  <a:lnTo>
                    <a:pt x="246" y="259"/>
                  </a:lnTo>
                  <a:lnTo>
                    <a:pt x="251" y="258"/>
                  </a:lnTo>
                  <a:lnTo>
                    <a:pt x="255" y="256"/>
                  </a:lnTo>
                  <a:lnTo>
                    <a:pt x="258" y="251"/>
                  </a:lnTo>
                  <a:lnTo>
                    <a:pt x="259" y="247"/>
                  </a:lnTo>
                  <a:lnTo>
                    <a:pt x="259" y="234"/>
                  </a:lnTo>
                  <a:lnTo>
                    <a:pt x="258" y="221"/>
                  </a:lnTo>
                  <a:lnTo>
                    <a:pt x="255" y="210"/>
                  </a:lnTo>
                  <a:lnTo>
                    <a:pt x="254" y="197"/>
                  </a:lnTo>
                  <a:lnTo>
                    <a:pt x="251" y="186"/>
                  </a:lnTo>
                  <a:lnTo>
                    <a:pt x="247" y="173"/>
                  </a:lnTo>
                  <a:lnTo>
                    <a:pt x="244" y="162"/>
                  </a:lnTo>
                  <a:lnTo>
                    <a:pt x="239" y="152"/>
                  </a:lnTo>
                  <a:lnTo>
                    <a:pt x="235" y="140"/>
                  </a:lnTo>
                  <a:lnTo>
                    <a:pt x="229" y="130"/>
                  </a:lnTo>
                  <a:lnTo>
                    <a:pt x="223" y="119"/>
                  </a:lnTo>
                  <a:lnTo>
                    <a:pt x="216" y="109"/>
                  </a:lnTo>
                  <a:lnTo>
                    <a:pt x="203" y="91"/>
                  </a:lnTo>
                  <a:lnTo>
                    <a:pt x="187" y="73"/>
                  </a:lnTo>
                  <a:lnTo>
                    <a:pt x="168" y="56"/>
                  </a:lnTo>
                  <a:lnTo>
                    <a:pt x="150" y="43"/>
                  </a:lnTo>
                  <a:lnTo>
                    <a:pt x="140" y="36"/>
                  </a:lnTo>
                  <a:lnTo>
                    <a:pt x="129" y="30"/>
                  </a:lnTo>
                  <a:lnTo>
                    <a:pt x="119" y="24"/>
                  </a:lnTo>
                  <a:lnTo>
                    <a:pt x="108" y="20"/>
                  </a:lnTo>
                  <a:lnTo>
                    <a:pt x="96" y="15"/>
                  </a:lnTo>
                  <a:lnTo>
                    <a:pt x="85" y="12"/>
                  </a:lnTo>
                  <a:lnTo>
                    <a:pt x="73" y="8"/>
                  </a:lnTo>
                  <a:lnTo>
                    <a:pt x="62" y="5"/>
                  </a:lnTo>
                  <a:lnTo>
                    <a:pt x="49" y="4"/>
                  </a:lnTo>
                  <a:lnTo>
                    <a:pt x="38" y="2"/>
                  </a:lnTo>
                  <a:lnTo>
                    <a:pt x="25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206EB5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0" name="Овал 219"/>
          <p:cNvSpPr/>
          <p:nvPr/>
        </p:nvSpPr>
        <p:spPr>
          <a:xfrm>
            <a:off x="646483" y="2610693"/>
            <a:ext cx="416788" cy="418783"/>
          </a:xfrm>
          <a:prstGeom prst="ellipse">
            <a:avLst/>
          </a:prstGeom>
          <a:noFill/>
          <a:ln w="12700">
            <a:solidFill>
              <a:srgbClr val="545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8" name="Группа 237"/>
          <p:cNvGrpSpPr/>
          <p:nvPr/>
        </p:nvGrpSpPr>
        <p:grpSpPr>
          <a:xfrm>
            <a:off x="1442746" y="2708619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239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0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2" name="Прямоугольник 101"/>
          <p:cNvSpPr/>
          <p:nvPr/>
        </p:nvSpPr>
        <p:spPr>
          <a:xfrm>
            <a:off x="1952758" y="3176429"/>
            <a:ext cx="39110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ключение влияния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еловеческого фактора на корректность результатов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змерений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пущенного продукта</a:t>
            </a:r>
          </a:p>
        </p:txBody>
      </p:sp>
      <p:grpSp>
        <p:nvGrpSpPr>
          <p:cNvPr id="121" name="engineer"/>
          <p:cNvGrpSpPr>
            <a:grpSpLocks noChangeAspect="1"/>
          </p:cNvGrpSpPr>
          <p:nvPr/>
        </p:nvGrpSpPr>
        <p:grpSpPr>
          <a:xfrm>
            <a:off x="775577" y="3162523"/>
            <a:ext cx="158601" cy="335589"/>
            <a:chOff x="784225" y="1839913"/>
            <a:chExt cx="328613" cy="695325"/>
          </a:xfrm>
        </p:grpSpPr>
        <p:sp>
          <p:nvSpPr>
            <p:cNvPr id="122" name="Freeform 115"/>
            <p:cNvSpPr>
              <a:spLocks noEditPoints="1"/>
            </p:cNvSpPr>
            <p:nvPr/>
          </p:nvSpPr>
          <p:spPr bwMode="auto">
            <a:xfrm>
              <a:off x="827088" y="1909763"/>
              <a:ext cx="242888" cy="142875"/>
            </a:xfrm>
            <a:custGeom>
              <a:avLst/>
              <a:gdLst>
                <a:gd name="T0" fmla="*/ 287 w 610"/>
                <a:gd name="T1" fmla="*/ 356 h 362"/>
                <a:gd name="T2" fmla="*/ 275 w 610"/>
                <a:gd name="T3" fmla="*/ 362 h 362"/>
                <a:gd name="T4" fmla="*/ 264 w 610"/>
                <a:gd name="T5" fmla="*/ 353 h 362"/>
                <a:gd name="T6" fmla="*/ 245 w 610"/>
                <a:gd name="T7" fmla="*/ 245 h 362"/>
                <a:gd name="T8" fmla="*/ 183 w 610"/>
                <a:gd name="T9" fmla="*/ 237 h 362"/>
                <a:gd name="T10" fmla="*/ 94 w 610"/>
                <a:gd name="T11" fmla="*/ 267 h 362"/>
                <a:gd name="T12" fmla="*/ 40 w 610"/>
                <a:gd name="T13" fmla="*/ 299 h 362"/>
                <a:gd name="T14" fmla="*/ 18 w 610"/>
                <a:gd name="T15" fmla="*/ 324 h 362"/>
                <a:gd name="T16" fmla="*/ 6 w 610"/>
                <a:gd name="T17" fmla="*/ 324 h 362"/>
                <a:gd name="T18" fmla="*/ 2 w 610"/>
                <a:gd name="T19" fmla="*/ 308 h 362"/>
                <a:gd name="T20" fmla="*/ 46 w 610"/>
                <a:gd name="T21" fmla="*/ 266 h 362"/>
                <a:gd name="T22" fmla="*/ 106 w 610"/>
                <a:gd name="T23" fmla="*/ 236 h 362"/>
                <a:gd name="T24" fmla="*/ 211 w 610"/>
                <a:gd name="T25" fmla="*/ 206 h 362"/>
                <a:gd name="T26" fmla="*/ 196 w 610"/>
                <a:gd name="T27" fmla="*/ 118 h 362"/>
                <a:gd name="T28" fmla="*/ 174 w 610"/>
                <a:gd name="T29" fmla="*/ 87 h 362"/>
                <a:gd name="T30" fmla="*/ 178 w 610"/>
                <a:gd name="T31" fmla="*/ 61 h 362"/>
                <a:gd name="T32" fmla="*/ 178 w 610"/>
                <a:gd name="T33" fmla="*/ 26 h 362"/>
                <a:gd name="T34" fmla="*/ 184 w 610"/>
                <a:gd name="T35" fmla="*/ 1 h 362"/>
                <a:gd name="T36" fmla="*/ 200 w 610"/>
                <a:gd name="T37" fmla="*/ 6 h 362"/>
                <a:gd name="T38" fmla="*/ 205 w 610"/>
                <a:gd name="T39" fmla="*/ 54 h 362"/>
                <a:gd name="T40" fmla="*/ 203 w 610"/>
                <a:gd name="T41" fmla="*/ 67 h 362"/>
                <a:gd name="T42" fmla="*/ 197 w 610"/>
                <a:gd name="T43" fmla="*/ 76 h 362"/>
                <a:gd name="T44" fmla="*/ 203 w 610"/>
                <a:gd name="T45" fmla="*/ 92 h 362"/>
                <a:gd name="T46" fmla="*/ 225 w 610"/>
                <a:gd name="T47" fmla="*/ 113 h 362"/>
                <a:gd name="T48" fmla="*/ 235 w 610"/>
                <a:gd name="T49" fmla="*/ 139 h 362"/>
                <a:gd name="T50" fmla="*/ 259 w 610"/>
                <a:gd name="T51" fmla="*/ 169 h 362"/>
                <a:gd name="T52" fmla="*/ 292 w 610"/>
                <a:gd name="T53" fmla="*/ 184 h 362"/>
                <a:gd name="T54" fmla="*/ 330 w 610"/>
                <a:gd name="T55" fmla="*/ 178 h 362"/>
                <a:gd name="T56" fmla="*/ 356 w 610"/>
                <a:gd name="T57" fmla="*/ 157 h 362"/>
                <a:gd name="T58" fmla="*/ 374 w 610"/>
                <a:gd name="T59" fmla="*/ 121 h 362"/>
                <a:gd name="T60" fmla="*/ 386 w 610"/>
                <a:gd name="T61" fmla="*/ 104 h 362"/>
                <a:gd name="T62" fmla="*/ 403 w 610"/>
                <a:gd name="T63" fmla="*/ 83 h 362"/>
                <a:gd name="T64" fmla="*/ 402 w 610"/>
                <a:gd name="T65" fmla="*/ 71 h 362"/>
                <a:gd name="T66" fmla="*/ 396 w 610"/>
                <a:gd name="T67" fmla="*/ 61 h 362"/>
                <a:gd name="T68" fmla="*/ 400 w 610"/>
                <a:gd name="T69" fmla="*/ 31 h 362"/>
                <a:gd name="T70" fmla="*/ 408 w 610"/>
                <a:gd name="T71" fmla="*/ 2 h 362"/>
                <a:gd name="T72" fmla="*/ 424 w 610"/>
                <a:gd name="T73" fmla="*/ 8 h 362"/>
                <a:gd name="T74" fmla="*/ 421 w 610"/>
                <a:gd name="T75" fmla="*/ 48 h 362"/>
                <a:gd name="T76" fmla="*/ 427 w 610"/>
                <a:gd name="T77" fmla="*/ 72 h 362"/>
                <a:gd name="T78" fmla="*/ 420 w 610"/>
                <a:gd name="T79" fmla="*/ 101 h 362"/>
                <a:gd name="T80" fmla="*/ 397 w 610"/>
                <a:gd name="T81" fmla="*/ 129 h 362"/>
                <a:gd name="T82" fmla="*/ 395 w 610"/>
                <a:gd name="T83" fmla="*/ 206 h 362"/>
                <a:gd name="T84" fmla="*/ 501 w 610"/>
                <a:gd name="T85" fmla="*/ 236 h 362"/>
                <a:gd name="T86" fmla="*/ 564 w 610"/>
                <a:gd name="T87" fmla="*/ 266 h 362"/>
                <a:gd name="T88" fmla="*/ 609 w 610"/>
                <a:gd name="T89" fmla="*/ 308 h 362"/>
                <a:gd name="T90" fmla="*/ 605 w 610"/>
                <a:gd name="T91" fmla="*/ 324 h 362"/>
                <a:gd name="T92" fmla="*/ 588 w 610"/>
                <a:gd name="T93" fmla="*/ 319 h 362"/>
                <a:gd name="T94" fmla="*/ 546 w 610"/>
                <a:gd name="T95" fmla="*/ 282 h 362"/>
                <a:gd name="T96" fmla="*/ 484 w 610"/>
                <a:gd name="T97" fmla="*/ 255 h 362"/>
                <a:gd name="T98" fmla="*/ 385 w 610"/>
                <a:gd name="T99" fmla="*/ 230 h 362"/>
                <a:gd name="T100" fmla="*/ 343 w 610"/>
                <a:gd name="T101" fmla="*/ 305 h 362"/>
                <a:gd name="T102" fmla="*/ 340 w 610"/>
                <a:gd name="T103" fmla="*/ 361 h 362"/>
                <a:gd name="T104" fmla="*/ 330 w 610"/>
                <a:gd name="T105" fmla="*/ 361 h 362"/>
                <a:gd name="T106" fmla="*/ 320 w 610"/>
                <a:gd name="T107" fmla="*/ 315 h 362"/>
                <a:gd name="T108" fmla="*/ 334 w 610"/>
                <a:gd name="T109" fmla="*/ 262 h 362"/>
                <a:gd name="T110" fmla="*/ 303 w 610"/>
                <a:gd name="T111" fmla="*/ 278 h 362"/>
                <a:gd name="T112" fmla="*/ 305 w 610"/>
                <a:gd name="T113" fmla="*/ 252 h 362"/>
                <a:gd name="T114" fmla="*/ 358 w 610"/>
                <a:gd name="T115" fmla="*/ 190 h 362"/>
                <a:gd name="T116" fmla="*/ 324 w 610"/>
                <a:gd name="T117" fmla="*/ 207 h 362"/>
                <a:gd name="T118" fmla="*/ 282 w 610"/>
                <a:gd name="T119" fmla="*/ 207 h 362"/>
                <a:gd name="T120" fmla="*/ 247 w 610"/>
                <a:gd name="T121" fmla="*/ 191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10" h="362">
                  <a:moveTo>
                    <a:pt x="320" y="315"/>
                  </a:moveTo>
                  <a:lnTo>
                    <a:pt x="291" y="315"/>
                  </a:lnTo>
                  <a:lnTo>
                    <a:pt x="288" y="351"/>
                  </a:lnTo>
                  <a:lnTo>
                    <a:pt x="287" y="356"/>
                  </a:lnTo>
                  <a:lnTo>
                    <a:pt x="283" y="359"/>
                  </a:lnTo>
                  <a:lnTo>
                    <a:pt x="280" y="361"/>
                  </a:lnTo>
                  <a:lnTo>
                    <a:pt x="276" y="362"/>
                  </a:lnTo>
                  <a:lnTo>
                    <a:pt x="275" y="362"/>
                  </a:lnTo>
                  <a:lnTo>
                    <a:pt x="275" y="362"/>
                  </a:lnTo>
                  <a:lnTo>
                    <a:pt x="270" y="361"/>
                  </a:lnTo>
                  <a:lnTo>
                    <a:pt x="266" y="358"/>
                  </a:lnTo>
                  <a:lnTo>
                    <a:pt x="264" y="353"/>
                  </a:lnTo>
                  <a:lnTo>
                    <a:pt x="264" y="348"/>
                  </a:lnTo>
                  <a:lnTo>
                    <a:pt x="268" y="305"/>
                  </a:lnTo>
                  <a:lnTo>
                    <a:pt x="246" y="247"/>
                  </a:lnTo>
                  <a:lnTo>
                    <a:pt x="245" y="245"/>
                  </a:lnTo>
                  <a:lnTo>
                    <a:pt x="245" y="244"/>
                  </a:lnTo>
                  <a:lnTo>
                    <a:pt x="220" y="230"/>
                  </a:lnTo>
                  <a:lnTo>
                    <a:pt x="206" y="232"/>
                  </a:lnTo>
                  <a:lnTo>
                    <a:pt x="183" y="237"/>
                  </a:lnTo>
                  <a:lnTo>
                    <a:pt x="155" y="244"/>
                  </a:lnTo>
                  <a:lnTo>
                    <a:pt x="125" y="255"/>
                  </a:lnTo>
                  <a:lnTo>
                    <a:pt x="109" y="261"/>
                  </a:lnTo>
                  <a:lnTo>
                    <a:pt x="94" y="267"/>
                  </a:lnTo>
                  <a:lnTo>
                    <a:pt x="79" y="275"/>
                  </a:lnTo>
                  <a:lnTo>
                    <a:pt x="65" y="282"/>
                  </a:lnTo>
                  <a:lnTo>
                    <a:pt x="52" y="290"/>
                  </a:lnTo>
                  <a:lnTo>
                    <a:pt x="40" y="299"/>
                  </a:lnTo>
                  <a:lnTo>
                    <a:pt x="30" y="308"/>
                  </a:lnTo>
                  <a:lnTo>
                    <a:pt x="23" y="319"/>
                  </a:lnTo>
                  <a:lnTo>
                    <a:pt x="20" y="322"/>
                  </a:lnTo>
                  <a:lnTo>
                    <a:pt x="18" y="324"/>
                  </a:lnTo>
                  <a:lnTo>
                    <a:pt x="16" y="325"/>
                  </a:lnTo>
                  <a:lnTo>
                    <a:pt x="12" y="325"/>
                  </a:lnTo>
                  <a:lnTo>
                    <a:pt x="10" y="325"/>
                  </a:lnTo>
                  <a:lnTo>
                    <a:pt x="6" y="324"/>
                  </a:lnTo>
                  <a:lnTo>
                    <a:pt x="2" y="321"/>
                  </a:lnTo>
                  <a:lnTo>
                    <a:pt x="1" y="317"/>
                  </a:lnTo>
                  <a:lnTo>
                    <a:pt x="0" y="312"/>
                  </a:lnTo>
                  <a:lnTo>
                    <a:pt x="2" y="308"/>
                  </a:lnTo>
                  <a:lnTo>
                    <a:pt x="11" y="296"/>
                  </a:lnTo>
                  <a:lnTo>
                    <a:pt x="20" y="285"/>
                  </a:lnTo>
                  <a:lnTo>
                    <a:pt x="33" y="276"/>
                  </a:lnTo>
                  <a:lnTo>
                    <a:pt x="46" y="266"/>
                  </a:lnTo>
                  <a:lnTo>
                    <a:pt x="60" y="258"/>
                  </a:lnTo>
                  <a:lnTo>
                    <a:pt x="75" y="250"/>
                  </a:lnTo>
                  <a:lnTo>
                    <a:pt x="91" y="243"/>
                  </a:lnTo>
                  <a:lnTo>
                    <a:pt x="106" y="236"/>
                  </a:lnTo>
                  <a:lnTo>
                    <a:pt x="138" y="225"/>
                  </a:lnTo>
                  <a:lnTo>
                    <a:pt x="167" y="216"/>
                  </a:lnTo>
                  <a:lnTo>
                    <a:pt x="192" y="210"/>
                  </a:lnTo>
                  <a:lnTo>
                    <a:pt x="211" y="206"/>
                  </a:lnTo>
                  <a:lnTo>
                    <a:pt x="209" y="140"/>
                  </a:lnTo>
                  <a:lnTo>
                    <a:pt x="206" y="133"/>
                  </a:lnTo>
                  <a:lnTo>
                    <a:pt x="203" y="126"/>
                  </a:lnTo>
                  <a:lnTo>
                    <a:pt x="196" y="118"/>
                  </a:lnTo>
                  <a:lnTo>
                    <a:pt x="185" y="107"/>
                  </a:lnTo>
                  <a:lnTo>
                    <a:pt x="182" y="101"/>
                  </a:lnTo>
                  <a:lnTo>
                    <a:pt x="177" y="94"/>
                  </a:lnTo>
                  <a:lnTo>
                    <a:pt x="174" y="87"/>
                  </a:lnTo>
                  <a:lnTo>
                    <a:pt x="173" y="78"/>
                  </a:lnTo>
                  <a:lnTo>
                    <a:pt x="173" y="72"/>
                  </a:lnTo>
                  <a:lnTo>
                    <a:pt x="175" y="66"/>
                  </a:lnTo>
                  <a:lnTo>
                    <a:pt x="178" y="61"/>
                  </a:lnTo>
                  <a:lnTo>
                    <a:pt x="180" y="55"/>
                  </a:lnTo>
                  <a:lnTo>
                    <a:pt x="179" y="48"/>
                  </a:lnTo>
                  <a:lnTo>
                    <a:pt x="178" y="38"/>
                  </a:lnTo>
                  <a:lnTo>
                    <a:pt x="178" y="26"/>
                  </a:lnTo>
                  <a:lnTo>
                    <a:pt x="177" y="13"/>
                  </a:lnTo>
                  <a:lnTo>
                    <a:pt x="178" y="8"/>
                  </a:lnTo>
                  <a:lnTo>
                    <a:pt x="180" y="3"/>
                  </a:lnTo>
                  <a:lnTo>
                    <a:pt x="184" y="1"/>
                  </a:lnTo>
                  <a:lnTo>
                    <a:pt x="189" y="0"/>
                  </a:lnTo>
                  <a:lnTo>
                    <a:pt x="192" y="1"/>
                  </a:lnTo>
                  <a:lnTo>
                    <a:pt x="196" y="3"/>
                  </a:lnTo>
                  <a:lnTo>
                    <a:pt x="200" y="6"/>
                  </a:lnTo>
                  <a:lnTo>
                    <a:pt x="201" y="11"/>
                  </a:lnTo>
                  <a:lnTo>
                    <a:pt x="202" y="29"/>
                  </a:lnTo>
                  <a:lnTo>
                    <a:pt x="203" y="43"/>
                  </a:lnTo>
                  <a:lnTo>
                    <a:pt x="205" y="54"/>
                  </a:lnTo>
                  <a:lnTo>
                    <a:pt x="205" y="58"/>
                  </a:lnTo>
                  <a:lnTo>
                    <a:pt x="206" y="61"/>
                  </a:lnTo>
                  <a:lnTo>
                    <a:pt x="205" y="65"/>
                  </a:lnTo>
                  <a:lnTo>
                    <a:pt x="203" y="67"/>
                  </a:lnTo>
                  <a:lnTo>
                    <a:pt x="201" y="70"/>
                  </a:lnTo>
                  <a:lnTo>
                    <a:pt x="200" y="71"/>
                  </a:lnTo>
                  <a:lnTo>
                    <a:pt x="198" y="73"/>
                  </a:lnTo>
                  <a:lnTo>
                    <a:pt x="197" y="76"/>
                  </a:lnTo>
                  <a:lnTo>
                    <a:pt x="197" y="78"/>
                  </a:lnTo>
                  <a:lnTo>
                    <a:pt x="198" y="83"/>
                  </a:lnTo>
                  <a:lnTo>
                    <a:pt x="200" y="87"/>
                  </a:lnTo>
                  <a:lnTo>
                    <a:pt x="203" y="92"/>
                  </a:lnTo>
                  <a:lnTo>
                    <a:pt x="207" y="95"/>
                  </a:lnTo>
                  <a:lnTo>
                    <a:pt x="214" y="104"/>
                  </a:lnTo>
                  <a:lnTo>
                    <a:pt x="222" y="110"/>
                  </a:lnTo>
                  <a:lnTo>
                    <a:pt x="225" y="113"/>
                  </a:lnTo>
                  <a:lnTo>
                    <a:pt x="226" y="117"/>
                  </a:lnTo>
                  <a:lnTo>
                    <a:pt x="228" y="121"/>
                  </a:lnTo>
                  <a:lnTo>
                    <a:pt x="230" y="128"/>
                  </a:lnTo>
                  <a:lnTo>
                    <a:pt x="235" y="139"/>
                  </a:lnTo>
                  <a:lnTo>
                    <a:pt x="242" y="151"/>
                  </a:lnTo>
                  <a:lnTo>
                    <a:pt x="247" y="157"/>
                  </a:lnTo>
                  <a:lnTo>
                    <a:pt x="253" y="163"/>
                  </a:lnTo>
                  <a:lnTo>
                    <a:pt x="259" y="169"/>
                  </a:lnTo>
                  <a:lnTo>
                    <a:pt x="266" y="174"/>
                  </a:lnTo>
                  <a:lnTo>
                    <a:pt x="274" y="178"/>
                  </a:lnTo>
                  <a:lnTo>
                    <a:pt x="282" y="181"/>
                  </a:lnTo>
                  <a:lnTo>
                    <a:pt x="292" y="184"/>
                  </a:lnTo>
                  <a:lnTo>
                    <a:pt x="303" y="184"/>
                  </a:lnTo>
                  <a:lnTo>
                    <a:pt x="314" y="184"/>
                  </a:lnTo>
                  <a:lnTo>
                    <a:pt x="322" y="181"/>
                  </a:lnTo>
                  <a:lnTo>
                    <a:pt x="330" y="178"/>
                  </a:lnTo>
                  <a:lnTo>
                    <a:pt x="339" y="174"/>
                  </a:lnTo>
                  <a:lnTo>
                    <a:pt x="345" y="169"/>
                  </a:lnTo>
                  <a:lnTo>
                    <a:pt x="351" y="163"/>
                  </a:lnTo>
                  <a:lnTo>
                    <a:pt x="356" y="157"/>
                  </a:lnTo>
                  <a:lnTo>
                    <a:pt x="361" y="151"/>
                  </a:lnTo>
                  <a:lnTo>
                    <a:pt x="368" y="139"/>
                  </a:lnTo>
                  <a:lnTo>
                    <a:pt x="372" y="128"/>
                  </a:lnTo>
                  <a:lnTo>
                    <a:pt x="374" y="121"/>
                  </a:lnTo>
                  <a:lnTo>
                    <a:pt x="375" y="117"/>
                  </a:lnTo>
                  <a:lnTo>
                    <a:pt x="377" y="113"/>
                  </a:lnTo>
                  <a:lnTo>
                    <a:pt x="380" y="110"/>
                  </a:lnTo>
                  <a:lnTo>
                    <a:pt x="386" y="104"/>
                  </a:lnTo>
                  <a:lnTo>
                    <a:pt x="395" y="95"/>
                  </a:lnTo>
                  <a:lnTo>
                    <a:pt x="398" y="92"/>
                  </a:lnTo>
                  <a:lnTo>
                    <a:pt x="401" y="87"/>
                  </a:lnTo>
                  <a:lnTo>
                    <a:pt x="403" y="83"/>
                  </a:lnTo>
                  <a:lnTo>
                    <a:pt x="404" y="78"/>
                  </a:lnTo>
                  <a:lnTo>
                    <a:pt x="404" y="76"/>
                  </a:lnTo>
                  <a:lnTo>
                    <a:pt x="403" y="73"/>
                  </a:lnTo>
                  <a:lnTo>
                    <a:pt x="402" y="71"/>
                  </a:lnTo>
                  <a:lnTo>
                    <a:pt x="400" y="70"/>
                  </a:lnTo>
                  <a:lnTo>
                    <a:pt x="398" y="67"/>
                  </a:lnTo>
                  <a:lnTo>
                    <a:pt x="397" y="65"/>
                  </a:lnTo>
                  <a:lnTo>
                    <a:pt x="396" y="61"/>
                  </a:lnTo>
                  <a:lnTo>
                    <a:pt x="396" y="58"/>
                  </a:lnTo>
                  <a:lnTo>
                    <a:pt x="397" y="54"/>
                  </a:lnTo>
                  <a:lnTo>
                    <a:pt x="398" y="44"/>
                  </a:lnTo>
                  <a:lnTo>
                    <a:pt x="400" y="31"/>
                  </a:lnTo>
                  <a:lnTo>
                    <a:pt x="401" y="13"/>
                  </a:lnTo>
                  <a:lnTo>
                    <a:pt x="402" y="8"/>
                  </a:lnTo>
                  <a:lnTo>
                    <a:pt x="404" y="4"/>
                  </a:lnTo>
                  <a:lnTo>
                    <a:pt x="408" y="2"/>
                  </a:lnTo>
                  <a:lnTo>
                    <a:pt x="413" y="2"/>
                  </a:lnTo>
                  <a:lnTo>
                    <a:pt x="418" y="2"/>
                  </a:lnTo>
                  <a:lnTo>
                    <a:pt x="421" y="4"/>
                  </a:lnTo>
                  <a:lnTo>
                    <a:pt x="424" y="8"/>
                  </a:lnTo>
                  <a:lnTo>
                    <a:pt x="424" y="13"/>
                  </a:lnTo>
                  <a:lnTo>
                    <a:pt x="424" y="26"/>
                  </a:lnTo>
                  <a:lnTo>
                    <a:pt x="423" y="38"/>
                  </a:lnTo>
                  <a:lnTo>
                    <a:pt x="421" y="48"/>
                  </a:lnTo>
                  <a:lnTo>
                    <a:pt x="420" y="55"/>
                  </a:lnTo>
                  <a:lnTo>
                    <a:pt x="424" y="61"/>
                  </a:lnTo>
                  <a:lnTo>
                    <a:pt x="426" y="66"/>
                  </a:lnTo>
                  <a:lnTo>
                    <a:pt x="427" y="72"/>
                  </a:lnTo>
                  <a:lnTo>
                    <a:pt x="429" y="78"/>
                  </a:lnTo>
                  <a:lnTo>
                    <a:pt x="427" y="87"/>
                  </a:lnTo>
                  <a:lnTo>
                    <a:pt x="424" y="94"/>
                  </a:lnTo>
                  <a:lnTo>
                    <a:pt x="420" y="101"/>
                  </a:lnTo>
                  <a:lnTo>
                    <a:pt x="416" y="107"/>
                  </a:lnTo>
                  <a:lnTo>
                    <a:pt x="406" y="118"/>
                  </a:lnTo>
                  <a:lnTo>
                    <a:pt x="397" y="126"/>
                  </a:lnTo>
                  <a:lnTo>
                    <a:pt x="397" y="129"/>
                  </a:lnTo>
                  <a:lnTo>
                    <a:pt x="396" y="133"/>
                  </a:lnTo>
                  <a:lnTo>
                    <a:pt x="396" y="135"/>
                  </a:lnTo>
                  <a:lnTo>
                    <a:pt x="396" y="136"/>
                  </a:lnTo>
                  <a:lnTo>
                    <a:pt x="395" y="206"/>
                  </a:lnTo>
                  <a:lnTo>
                    <a:pt x="413" y="209"/>
                  </a:lnTo>
                  <a:lnTo>
                    <a:pt x="438" y="216"/>
                  </a:lnTo>
                  <a:lnTo>
                    <a:pt x="469" y="225"/>
                  </a:lnTo>
                  <a:lnTo>
                    <a:pt x="501" y="236"/>
                  </a:lnTo>
                  <a:lnTo>
                    <a:pt x="518" y="243"/>
                  </a:lnTo>
                  <a:lnTo>
                    <a:pt x="534" y="250"/>
                  </a:lnTo>
                  <a:lnTo>
                    <a:pt x="550" y="258"/>
                  </a:lnTo>
                  <a:lnTo>
                    <a:pt x="564" y="266"/>
                  </a:lnTo>
                  <a:lnTo>
                    <a:pt x="578" y="276"/>
                  </a:lnTo>
                  <a:lnTo>
                    <a:pt x="590" y="285"/>
                  </a:lnTo>
                  <a:lnTo>
                    <a:pt x="601" y="296"/>
                  </a:lnTo>
                  <a:lnTo>
                    <a:pt x="609" y="308"/>
                  </a:lnTo>
                  <a:lnTo>
                    <a:pt x="610" y="312"/>
                  </a:lnTo>
                  <a:lnTo>
                    <a:pt x="610" y="317"/>
                  </a:lnTo>
                  <a:lnTo>
                    <a:pt x="609" y="321"/>
                  </a:lnTo>
                  <a:lnTo>
                    <a:pt x="605" y="324"/>
                  </a:lnTo>
                  <a:lnTo>
                    <a:pt x="601" y="325"/>
                  </a:lnTo>
                  <a:lnTo>
                    <a:pt x="596" y="325"/>
                  </a:lnTo>
                  <a:lnTo>
                    <a:pt x="592" y="323"/>
                  </a:lnTo>
                  <a:lnTo>
                    <a:pt x="588" y="319"/>
                  </a:lnTo>
                  <a:lnTo>
                    <a:pt x="581" y="308"/>
                  </a:lnTo>
                  <a:lnTo>
                    <a:pt x="571" y="299"/>
                  </a:lnTo>
                  <a:lnTo>
                    <a:pt x="559" y="290"/>
                  </a:lnTo>
                  <a:lnTo>
                    <a:pt x="546" y="282"/>
                  </a:lnTo>
                  <a:lnTo>
                    <a:pt x="532" y="275"/>
                  </a:lnTo>
                  <a:lnTo>
                    <a:pt x="516" y="267"/>
                  </a:lnTo>
                  <a:lnTo>
                    <a:pt x="500" y="261"/>
                  </a:lnTo>
                  <a:lnTo>
                    <a:pt x="484" y="255"/>
                  </a:lnTo>
                  <a:lnTo>
                    <a:pt x="452" y="244"/>
                  </a:lnTo>
                  <a:lnTo>
                    <a:pt x="424" y="237"/>
                  </a:lnTo>
                  <a:lnTo>
                    <a:pt x="401" y="232"/>
                  </a:lnTo>
                  <a:lnTo>
                    <a:pt x="385" y="230"/>
                  </a:lnTo>
                  <a:lnTo>
                    <a:pt x="367" y="241"/>
                  </a:lnTo>
                  <a:lnTo>
                    <a:pt x="367" y="244"/>
                  </a:lnTo>
                  <a:lnTo>
                    <a:pt x="366" y="247"/>
                  </a:lnTo>
                  <a:lnTo>
                    <a:pt x="343" y="305"/>
                  </a:lnTo>
                  <a:lnTo>
                    <a:pt x="346" y="348"/>
                  </a:lnTo>
                  <a:lnTo>
                    <a:pt x="346" y="353"/>
                  </a:lnTo>
                  <a:lnTo>
                    <a:pt x="344" y="358"/>
                  </a:lnTo>
                  <a:lnTo>
                    <a:pt x="340" y="361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4" y="362"/>
                  </a:lnTo>
                  <a:lnTo>
                    <a:pt x="330" y="361"/>
                  </a:lnTo>
                  <a:lnTo>
                    <a:pt x="327" y="359"/>
                  </a:lnTo>
                  <a:lnTo>
                    <a:pt x="323" y="356"/>
                  </a:lnTo>
                  <a:lnTo>
                    <a:pt x="322" y="351"/>
                  </a:lnTo>
                  <a:lnTo>
                    <a:pt x="320" y="315"/>
                  </a:lnTo>
                  <a:close/>
                  <a:moveTo>
                    <a:pt x="277" y="262"/>
                  </a:moveTo>
                  <a:lnTo>
                    <a:pt x="288" y="293"/>
                  </a:lnTo>
                  <a:lnTo>
                    <a:pt x="323" y="293"/>
                  </a:lnTo>
                  <a:lnTo>
                    <a:pt x="334" y="262"/>
                  </a:lnTo>
                  <a:lnTo>
                    <a:pt x="312" y="277"/>
                  </a:lnTo>
                  <a:lnTo>
                    <a:pt x="309" y="278"/>
                  </a:lnTo>
                  <a:lnTo>
                    <a:pt x="306" y="278"/>
                  </a:lnTo>
                  <a:lnTo>
                    <a:pt x="303" y="278"/>
                  </a:lnTo>
                  <a:lnTo>
                    <a:pt x="299" y="277"/>
                  </a:lnTo>
                  <a:lnTo>
                    <a:pt x="277" y="262"/>
                  </a:lnTo>
                  <a:close/>
                  <a:moveTo>
                    <a:pt x="235" y="208"/>
                  </a:moveTo>
                  <a:lnTo>
                    <a:pt x="305" y="252"/>
                  </a:lnTo>
                  <a:lnTo>
                    <a:pt x="370" y="208"/>
                  </a:lnTo>
                  <a:lnTo>
                    <a:pt x="372" y="178"/>
                  </a:lnTo>
                  <a:lnTo>
                    <a:pt x="366" y="184"/>
                  </a:lnTo>
                  <a:lnTo>
                    <a:pt x="358" y="190"/>
                  </a:lnTo>
                  <a:lnTo>
                    <a:pt x="351" y="195"/>
                  </a:lnTo>
                  <a:lnTo>
                    <a:pt x="343" y="199"/>
                  </a:lnTo>
                  <a:lnTo>
                    <a:pt x="334" y="203"/>
                  </a:lnTo>
                  <a:lnTo>
                    <a:pt x="324" y="207"/>
                  </a:lnTo>
                  <a:lnTo>
                    <a:pt x="314" y="208"/>
                  </a:lnTo>
                  <a:lnTo>
                    <a:pt x="303" y="209"/>
                  </a:lnTo>
                  <a:lnTo>
                    <a:pt x="292" y="208"/>
                  </a:lnTo>
                  <a:lnTo>
                    <a:pt x="282" y="207"/>
                  </a:lnTo>
                  <a:lnTo>
                    <a:pt x="272" y="204"/>
                  </a:lnTo>
                  <a:lnTo>
                    <a:pt x="263" y="201"/>
                  </a:lnTo>
                  <a:lnTo>
                    <a:pt x="254" y="196"/>
                  </a:lnTo>
                  <a:lnTo>
                    <a:pt x="247" y="191"/>
                  </a:lnTo>
                  <a:lnTo>
                    <a:pt x="240" y="185"/>
                  </a:lnTo>
                  <a:lnTo>
                    <a:pt x="234" y="179"/>
                  </a:lnTo>
                  <a:lnTo>
                    <a:pt x="235" y="208"/>
                  </a:lnTo>
                  <a:close/>
                </a:path>
              </a:pathLst>
            </a:custGeom>
            <a:solidFill>
              <a:srgbClr val="004077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 116"/>
            <p:cNvSpPr>
              <a:spLocks noEditPoints="1"/>
            </p:cNvSpPr>
            <p:nvPr/>
          </p:nvSpPr>
          <p:spPr bwMode="auto">
            <a:xfrm>
              <a:off x="871538" y="2235201"/>
              <a:ext cx="152400" cy="271463"/>
            </a:xfrm>
            <a:custGeom>
              <a:avLst/>
              <a:gdLst>
                <a:gd name="T0" fmla="*/ 261 w 382"/>
                <a:gd name="T1" fmla="*/ 657 h 682"/>
                <a:gd name="T2" fmla="*/ 322 w 382"/>
                <a:gd name="T3" fmla="*/ 657 h 682"/>
                <a:gd name="T4" fmla="*/ 358 w 382"/>
                <a:gd name="T5" fmla="*/ 25 h 682"/>
                <a:gd name="T6" fmla="*/ 24 w 382"/>
                <a:gd name="T7" fmla="*/ 25 h 682"/>
                <a:gd name="T8" fmla="*/ 59 w 382"/>
                <a:gd name="T9" fmla="*/ 657 h 682"/>
                <a:gd name="T10" fmla="*/ 121 w 382"/>
                <a:gd name="T11" fmla="*/ 657 h 682"/>
                <a:gd name="T12" fmla="*/ 147 w 382"/>
                <a:gd name="T13" fmla="*/ 72 h 682"/>
                <a:gd name="T14" fmla="*/ 149 w 382"/>
                <a:gd name="T15" fmla="*/ 68 h 682"/>
                <a:gd name="T16" fmla="*/ 151 w 382"/>
                <a:gd name="T17" fmla="*/ 64 h 682"/>
                <a:gd name="T18" fmla="*/ 155 w 382"/>
                <a:gd name="T19" fmla="*/ 62 h 682"/>
                <a:gd name="T20" fmla="*/ 158 w 382"/>
                <a:gd name="T21" fmla="*/ 60 h 682"/>
                <a:gd name="T22" fmla="*/ 158 w 382"/>
                <a:gd name="T23" fmla="*/ 60 h 682"/>
                <a:gd name="T24" fmla="*/ 160 w 382"/>
                <a:gd name="T25" fmla="*/ 60 h 682"/>
                <a:gd name="T26" fmla="*/ 223 w 382"/>
                <a:gd name="T27" fmla="*/ 60 h 682"/>
                <a:gd name="T28" fmla="*/ 227 w 382"/>
                <a:gd name="T29" fmla="*/ 62 h 682"/>
                <a:gd name="T30" fmla="*/ 231 w 382"/>
                <a:gd name="T31" fmla="*/ 64 h 682"/>
                <a:gd name="T32" fmla="*/ 233 w 382"/>
                <a:gd name="T33" fmla="*/ 68 h 682"/>
                <a:gd name="T34" fmla="*/ 235 w 382"/>
                <a:gd name="T35" fmla="*/ 72 h 682"/>
                <a:gd name="T36" fmla="*/ 261 w 382"/>
                <a:gd name="T37" fmla="*/ 657 h 682"/>
                <a:gd name="T38" fmla="*/ 334 w 382"/>
                <a:gd name="T39" fmla="*/ 682 h 682"/>
                <a:gd name="T40" fmla="*/ 249 w 382"/>
                <a:gd name="T41" fmla="*/ 682 h 682"/>
                <a:gd name="T42" fmla="*/ 244 w 382"/>
                <a:gd name="T43" fmla="*/ 680 h 682"/>
                <a:gd name="T44" fmla="*/ 241 w 382"/>
                <a:gd name="T45" fmla="*/ 678 h 682"/>
                <a:gd name="T46" fmla="*/ 238 w 382"/>
                <a:gd name="T47" fmla="*/ 673 h 682"/>
                <a:gd name="T48" fmla="*/ 237 w 382"/>
                <a:gd name="T49" fmla="*/ 668 h 682"/>
                <a:gd name="T50" fmla="*/ 212 w 382"/>
                <a:gd name="T51" fmla="*/ 83 h 682"/>
                <a:gd name="T52" fmla="*/ 170 w 382"/>
                <a:gd name="T53" fmla="*/ 83 h 682"/>
                <a:gd name="T54" fmla="*/ 145 w 382"/>
                <a:gd name="T55" fmla="*/ 668 h 682"/>
                <a:gd name="T56" fmla="*/ 144 w 382"/>
                <a:gd name="T57" fmla="*/ 673 h 682"/>
                <a:gd name="T58" fmla="*/ 141 w 382"/>
                <a:gd name="T59" fmla="*/ 678 h 682"/>
                <a:gd name="T60" fmla="*/ 138 w 382"/>
                <a:gd name="T61" fmla="*/ 680 h 682"/>
                <a:gd name="T62" fmla="*/ 133 w 382"/>
                <a:gd name="T63" fmla="*/ 682 h 682"/>
                <a:gd name="T64" fmla="*/ 48 w 382"/>
                <a:gd name="T65" fmla="*/ 682 h 682"/>
                <a:gd name="T66" fmla="*/ 43 w 382"/>
                <a:gd name="T67" fmla="*/ 680 h 682"/>
                <a:gd name="T68" fmla="*/ 40 w 382"/>
                <a:gd name="T69" fmla="*/ 678 h 682"/>
                <a:gd name="T70" fmla="*/ 37 w 382"/>
                <a:gd name="T71" fmla="*/ 674 h 682"/>
                <a:gd name="T72" fmla="*/ 36 w 382"/>
                <a:gd name="T73" fmla="*/ 671 h 682"/>
                <a:gd name="T74" fmla="*/ 0 w 382"/>
                <a:gd name="T75" fmla="*/ 13 h 682"/>
                <a:gd name="T76" fmla="*/ 0 w 382"/>
                <a:gd name="T77" fmla="*/ 11 h 682"/>
                <a:gd name="T78" fmla="*/ 0 w 382"/>
                <a:gd name="T79" fmla="*/ 8 h 682"/>
                <a:gd name="T80" fmla="*/ 1 w 382"/>
                <a:gd name="T81" fmla="*/ 6 h 682"/>
                <a:gd name="T82" fmla="*/ 2 w 382"/>
                <a:gd name="T83" fmla="*/ 5 h 682"/>
                <a:gd name="T84" fmla="*/ 6 w 382"/>
                <a:gd name="T85" fmla="*/ 1 h 682"/>
                <a:gd name="T86" fmla="*/ 11 w 382"/>
                <a:gd name="T87" fmla="*/ 0 h 682"/>
                <a:gd name="T88" fmla="*/ 11 w 382"/>
                <a:gd name="T89" fmla="*/ 0 h 682"/>
                <a:gd name="T90" fmla="*/ 370 w 382"/>
                <a:gd name="T91" fmla="*/ 0 h 682"/>
                <a:gd name="T92" fmla="*/ 375 w 382"/>
                <a:gd name="T93" fmla="*/ 1 h 682"/>
                <a:gd name="T94" fmla="*/ 379 w 382"/>
                <a:gd name="T95" fmla="*/ 5 h 682"/>
                <a:gd name="T96" fmla="*/ 382 w 382"/>
                <a:gd name="T97" fmla="*/ 8 h 682"/>
                <a:gd name="T98" fmla="*/ 382 w 382"/>
                <a:gd name="T99" fmla="*/ 13 h 682"/>
                <a:gd name="T100" fmla="*/ 346 w 382"/>
                <a:gd name="T101" fmla="*/ 671 h 682"/>
                <a:gd name="T102" fmla="*/ 345 w 382"/>
                <a:gd name="T103" fmla="*/ 674 h 682"/>
                <a:gd name="T104" fmla="*/ 342 w 382"/>
                <a:gd name="T105" fmla="*/ 678 h 682"/>
                <a:gd name="T106" fmla="*/ 339 w 382"/>
                <a:gd name="T107" fmla="*/ 680 h 682"/>
                <a:gd name="T108" fmla="*/ 334 w 382"/>
                <a:gd name="T109" fmla="*/ 68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682">
                  <a:moveTo>
                    <a:pt x="261" y="657"/>
                  </a:moveTo>
                  <a:lnTo>
                    <a:pt x="322" y="657"/>
                  </a:lnTo>
                  <a:lnTo>
                    <a:pt x="358" y="25"/>
                  </a:lnTo>
                  <a:lnTo>
                    <a:pt x="24" y="25"/>
                  </a:lnTo>
                  <a:lnTo>
                    <a:pt x="59" y="657"/>
                  </a:lnTo>
                  <a:lnTo>
                    <a:pt x="121" y="657"/>
                  </a:lnTo>
                  <a:lnTo>
                    <a:pt x="147" y="72"/>
                  </a:lnTo>
                  <a:lnTo>
                    <a:pt x="149" y="68"/>
                  </a:lnTo>
                  <a:lnTo>
                    <a:pt x="151" y="64"/>
                  </a:lnTo>
                  <a:lnTo>
                    <a:pt x="155" y="62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60" y="60"/>
                  </a:lnTo>
                  <a:lnTo>
                    <a:pt x="223" y="60"/>
                  </a:lnTo>
                  <a:lnTo>
                    <a:pt x="227" y="62"/>
                  </a:lnTo>
                  <a:lnTo>
                    <a:pt x="231" y="64"/>
                  </a:lnTo>
                  <a:lnTo>
                    <a:pt x="233" y="68"/>
                  </a:lnTo>
                  <a:lnTo>
                    <a:pt x="235" y="72"/>
                  </a:lnTo>
                  <a:lnTo>
                    <a:pt x="261" y="657"/>
                  </a:lnTo>
                  <a:close/>
                  <a:moveTo>
                    <a:pt x="334" y="682"/>
                  </a:moveTo>
                  <a:lnTo>
                    <a:pt x="249" y="682"/>
                  </a:lnTo>
                  <a:lnTo>
                    <a:pt x="244" y="680"/>
                  </a:lnTo>
                  <a:lnTo>
                    <a:pt x="241" y="678"/>
                  </a:lnTo>
                  <a:lnTo>
                    <a:pt x="238" y="673"/>
                  </a:lnTo>
                  <a:lnTo>
                    <a:pt x="237" y="668"/>
                  </a:lnTo>
                  <a:lnTo>
                    <a:pt x="212" y="83"/>
                  </a:lnTo>
                  <a:lnTo>
                    <a:pt x="170" y="83"/>
                  </a:lnTo>
                  <a:lnTo>
                    <a:pt x="145" y="668"/>
                  </a:lnTo>
                  <a:lnTo>
                    <a:pt x="144" y="673"/>
                  </a:lnTo>
                  <a:lnTo>
                    <a:pt x="141" y="678"/>
                  </a:lnTo>
                  <a:lnTo>
                    <a:pt x="138" y="680"/>
                  </a:lnTo>
                  <a:lnTo>
                    <a:pt x="133" y="682"/>
                  </a:lnTo>
                  <a:lnTo>
                    <a:pt x="48" y="682"/>
                  </a:lnTo>
                  <a:lnTo>
                    <a:pt x="43" y="680"/>
                  </a:lnTo>
                  <a:lnTo>
                    <a:pt x="40" y="678"/>
                  </a:lnTo>
                  <a:lnTo>
                    <a:pt x="37" y="674"/>
                  </a:lnTo>
                  <a:lnTo>
                    <a:pt x="36" y="671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8"/>
                  </a:lnTo>
                  <a:lnTo>
                    <a:pt x="1" y="6"/>
                  </a:lnTo>
                  <a:lnTo>
                    <a:pt x="2" y="5"/>
                  </a:lnTo>
                  <a:lnTo>
                    <a:pt x="6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370" y="0"/>
                  </a:lnTo>
                  <a:lnTo>
                    <a:pt x="375" y="1"/>
                  </a:lnTo>
                  <a:lnTo>
                    <a:pt x="379" y="5"/>
                  </a:lnTo>
                  <a:lnTo>
                    <a:pt x="382" y="8"/>
                  </a:lnTo>
                  <a:lnTo>
                    <a:pt x="382" y="13"/>
                  </a:lnTo>
                  <a:lnTo>
                    <a:pt x="346" y="671"/>
                  </a:lnTo>
                  <a:lnTo>
                    <a:pt x="345" y="674"/>
                  </a:lnTo>
                  <a:lnTo>
                    <a:pt x="342" y="678"/>
                  </a:lnTo>
                  <a:lnTo>
                    <a:pt x="339" y="680"/>
                  </a:lnTo>
                  <a:lnTo>
                    <a:pt x="334" y="682"/>
                  </a:lnTo>
                  <a:close/>
                </a:path>
              </a:pathLst>
            </a:custGeom>
            <a:solidFill>
              <a:srgbClr val="004077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 117"/>
            <p:cNvSpPr>
              <a:spLocks noEditPoints="1"/>
            </p:cNvSpPr>
            <p:nvPr/>
          </p:nvSpPr>
          <p:spPr bwMode="auto">
            <a:xfrm>
              <a:off x="854075" y="2497138"/>
              <a:ext cx="76200" cy="38100"/>
            </a:xfrm>
            <a:custGeom>
              <a:avLst/>
              <a:gdLst>
                <a:gd name="T0" fmla="*/ 33 w 190"/>
                <a:gd name="T1" fmla="*/ 74 h 100"/>
                <a:gd name="T2" fmla="*/ 166 w 190"/>
                <a:gd name="T3" fmla="*/ 74 h 100"/>
                <a:gd name="T4" fmla="*/ 166 w 190"/>
                <a:gd name="T5" fmla="*/ 25 h 100"/>
                <a:gd name="T6" fmla="*/ 96 w 190"/>
                <a:gd name="T7" fmla="*/ 25 h 100"/>
                <a:gd name="T8" fmla="*/ 86 w 190"/>
                <a:gd name="T9" fmla="*/ 29 h 100"/>
                <a:gd name="T10" fmla="*/ 77 w 190"/>
                <a:gd name="T11" fmla="*/ 34 h 100"/>
                <a:gd name="T12" fmla="*/ 69 w 190"/>
                <a:gd name="T13" fmla="*/ 39 h 100"/>
                <a:gd name="T14" fmla="*/ 60 w 190"/>
                <a:gd name="T15" fmla="*/ 45 h 100"/>
                <a:gd name="T16" fmla="*/ 53 w 190"/>
                <a:gd name="T17" fmla="*/ 52 h 100"/>
                <a:gd name="T18" fmla="*/ 46 w 190"/>
                <a:gd name="T19" fmla="*/ 59 h 100"/>
                <a:gd name="T20" fmla="*/ 40 w 190"/>
                <a:gd name="T21" fmla="*/ 67 h 100"/>
                <a:gd name="T22" fmla="*/ 33 w 190"/>
                <a:gd name="T23" fmla="*/ 74 h 100"/>
                <a:gd name="T24" fmla="*/ 178 w 190"/>
                <a:gd name="T25" fmla="*/ 100 h 100"/>
                <a:gd name="T26" fmla="*/ 11 w 190"/>
                <a:gd name="T27" fmla="*/ 100 h 100"/>
                <a:gd name="T28" fmla="*/ 8 w 190"/>
                <a:gd name="T29" fmla="*/ 99 h 100"/>
                <a:gd name="T30" fmla="*/ 6 w 190"/>
                <a:gd name="T31" fmla="*/ 97 h 100"/>
                <a:gd name="T32" fmla="*/ 4 w 190"/>
                <a:gd name="T33" fmla="*/ 96 h 100"/>
                <a:gd name="T34" fmla="*/ 1 w 190"/>
                <a:gd name="T35" fmla="*/ 92 h 100"/>
                <a:gd name="T36" fmla="*/ 0 w 190"/>
                <a:gd name="T37" fmla="*/ 90 h 100"/>
                <a:gd name="T38" fmla="*/ 0 w 190"/>
                <a:gd name="T39" fmla="*/ 88 h 100"/>
                <a:gd name="T40" fmla="*/ 0 w 190"/>
                <a:gd name="T41" fmla="*/ 85 h 100"/>
                <a:gd name="T42" fmla="*/ 1 w 190"/>
                <a:gd name="T43" fmla="*/ 82 h 100"/>
                <a:gd name="T44" fmla="*/ 10 w 190"/>
                <a:gd name="T45" fmla="*/ 68 h 100"/>
                <a:gd name="T46" fmla="*/ 18 w 190"/>
                <a:gd name="T47" fmla="*/ 56 h 100"/>
                <a:gd name="T48" fmla="*/ 28 w 190"/>
                <a:gd name="T49" fmla="*/ 44 h 100"/>
                <a:gd name="T50" fmla="*/ 39 w 190"/>
                <a:gd name="T51" fmla="*/ 33 h 100"/>
                <a:gd name="T52" fmla="*/ 50 w 190"/>
                <a:gd name="T53" fmla="*/ 23 h 100"/>
                <a:gd name="T54" fmla="*/ 62 w 190"/>
                <a:gd name="T55" fmla="*/ 15 h 100"/>
                <a:gd name="T56" fmla="*/ 75 w 190"/>
                <a:gd name="T57" fmla="*/ 6 h 100"/>
                <a:gd name="T58" fmla="*/ 88 w 190"/>
                <a:gd name="T59" fmla="*/ 0 h 100"/>
                <a:gd name="T60" fmla="*/ 91 w 190"/>
                <a:gd name="T61" fmla="*/ 0 h 100"/>
                <a:gd name="T62" fmla="*/ 93 w 190"/>
                <a:gd name="T63" fmla="*/ 0 h 100"/>
                <a:gd name="T64" fmla="*/ 178 w 190"/>
                <a:gd name="T65" fmla="*/ 0 h 100"/>
                <a:gd name="T66" fmla="*/ 183 w 190"/>
                <a:gd name="T67" fmla="*/ 2 h 100"/>
                <a:gd name="T68" fmla="*/ 186 w 190"/>
                <a:gd name="T69" fmla="*/ 3 h 100"/>
                <a:gd name="T70" fmla="*/ 189 w 190"/>
                <a:gd name="T71" fmla="*/ 6 h 100"/>
                <a:gd name="T72" fmla="*/ 190 w 190"/>
                <a:gd name="T73" fmla="*/ 11 h 100"/>
                <a:gd name="T74" fmla="*/ 190 w 190"/>
                <a:gd name="T75" fmla="*/ 88 h 100"/>
                <a:gd name="T76" fmla="*/ 189 w 190"/>
                <a:gd name="T77" fmla="*/ 92 h 100"/>
                <a:gd name="T78" fmla="*/ 186 w 190"/>
                <a:gd name="T79" fmla="*/ 96 h 100"/>
                <a:gd name="T80" fmla="*/ 183 w 190"/>
                <a:gd name="T81" fmla="*/ 99 h 100"/>
                <a:gd name="T82" fmla="*/ 178 w 190"/>
                <a:gd name="T8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100">
                  <a:moveTo>
                    <a:pt x="33" y="74"/>
                  </a:moveTo>
                  <a:lnTo>
                    <a:pt x="166" y="74"/>
                  </a:lnTo>
                  <a:lnTo>
                    <a:pt x="166" y="25"/>
                  </a:lnTo>
                  <a:lnTo>
                    <a:pt x="96" y="25"/>
                  </a:lnTo>
                  <a:lnTo>
                    <a:pt x="86" y="29"/>
                  </a:lnTo>
                  <a:lnTo>
                    <a:pt x="77" y="34"/>
                  </a:lnTo>
                  <a:lnTo>
                    <a:pt x="69" y="39"/>
                  </a:lnTo>
                  <a:lnTo>
                    <a:pt x="60" y="45"/>
                  </a:lnTo>
                  <a:lnTo>
                    <a:pt x="53" y="52"/>
                  </a:lnTo>
                  <a:lnTo>
                    <a:pt x="46" y="59"/>
                  </a:lnTo>
                  <a:lnTo>
                    <a:pt x="40" y="67"/>
                  </a:lnTo>
                  <a:lnTo>
                    <a:pt x="33" y="74"/>
                  </a:lnTo>
                  <a:close/>
                  <a:moveTo>
                    <a:pt x="178" y="100"/>
                  </a:moveTo>
                  <a:lnTo>
                    <a:pt x="11" y="100"/>
                  </a:lnTo>
                  <a:lnTo>
                    <a:pt x="8" y="99"/>
                  </a:lnTo>
                  <a:lnTo>
                    <a:pt x="6" y="97"/>
                  </a:lnTo>
                  <a:lnTo>
                    <a:pt x="4" y="96"/>
                  </a:lnTo>
                  <a:lnTo>
                    <a:pt x="1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1" y="82"/>
                  </a:lnTo>
                  <a:lnTo>
                    <a:pt x="10" y="68"/>
                  </a:lnTo>
                  <a:lnTo>
                    <a:pt x="18" y="56"/>
                  </a:lnTo>
                  <a:lnTo>
                    <a:pt x="28" y="44"/>
                  </a:lnTo>
                  <a:lnTo>
                    <a:pt x="39" y="33"/>
                  </a:lnTo>
                  <a:lnTo>
                    <a:pt x="50" y="23"/>
                  </a:lnTo>
                  <a:lnTo>
                    <a:pt x="62" y="15"/>
                  </a:lnTo>
                  <a:lnTo>
                    <a:pt x="75" y="6"/>
                  </a:lnTo>
                  <a:lnTo>
                    <a:pt x="88" y="0"/>
                  </a:lnTo>
                  <a:lnTo>
                    <a:pt x="91" y="0"/>
                  </a:lnTo>
                  <a:lnTo>
                    <a:pt x="93" y="0"/>
                  </a:lnTo>
                  <a:lnTo>
                    <a:pt x="178" y="0"/>
                  </a:lnTo>
                  <a:lnTo>
                    <a:pt x="183" y="2"/>
                  </a:lnTo>
                  <a:lnTo>
                    <a:pt x="186" y="3"/>
                  </a:lnTo>
                  <a:lnTo>
                    <a:pt x="189" y="6"/>
                  </a:lnTo>
                  <a:lnTo>
                    <a:pt x="190" y="11"/>
                  </a:lnTo>
                  <a:lnTo>
                    <a:pt x="190" y="88"/>
                  </a:lnTo>
                  <a:lnTo>
                    <a:pt x="189" y="92"/>
                  </a:lnTo>
                  <a:lnTo>
                    <a:pt x="186" y="96"/>
                  </a:lnTo>
                  <a:lnTo>
                    <a:pt x="183" y="99"/>
                  </a:lnTo>
                  <a:lnTo>
                    <a:pt x="178" y="100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 118"/>
            <p:cNvSpPr>
              <a:spLocks noEditPoints="1"/>
            </p:cNvSpPr>
            <p:nvPr/>
          </p:nvSpPr>
          <p:spPr bwMode="auto">
            <a:xfrm>
              <a:off x="966788" y="2497138"/>
              <a:ext cx="74613" cy="38100"/>
            </a:xfrm>
            <a:custGeom>
              <a:avLst/>
              <a:gdLst>
                <a:gd name="T0" fmla="*/ 24 w 190"/>
                <a:gd name="T1" fmla="*/ 74 h 100"/>
                <a:gd name="T2" fmla="*/ 156 w 190"/>
                <a:gd name="T3" fmla="*/ 74 h 100"/>
                <a:gd name="T4" fmla="*/ 150 w 190"/>
                <a:gd name="T5" fmla="*/ 67 h 100"/>
                <a:gd name="T6" fmla="*/ 143 w 190"/>
                <a:gd name="T7" fmla="*/ 59 h 100"/>
                <a:gd name="T8" fmla="*/ 136 w 190"/>
                <a:gd name="T9" fmla="*/ 52 h 100"/>
                <a:gd name="T10" fmla="*/ 128 w 190"/>
                <a:gd name="T11" fmla="*/ 45 h 100"/>
                <a:gd name="T12" fmla="*/ 121 w 190"/>
                <a:gd name="T13" fmla="*/ 39 h 100"/>
                <a:gd name="T14" fmla="*/ 113 w 190"/>
                <a:gd name="T15" fmla="*/ 34 h 100"/>
                <a:gd name="T16" fmla="*/ 103 w 190"/>
                <a:gd name="T17" fmla="*/ 29 h 100"/>
                <a:gd name="T18" fmla="*/ 95 w 190"/>
                <a:gd name="T19" fmla="*/ 25 h 100"/>
                <a:gd name="T20" fmla="*/ 24 w 190"/>
                <a:gd name="T21" fmla="*/ 25 h 100"/>
                <a:gd name="T22" fmla="*/ 24 w 190"/>
                <a:gd name="T23" fmla="*/ 74 h 100"/>
                <a:gd name="T24" fmla="*/ 178 w 190"/>
                <a:gd name="T25" fmla="*/ 100 h 100"/>
                <a:gd name="T26" fmla="*/ 12 w 190"/>
                <a:gd name="T27" fmla="*/ 100 h 100"/>
                <a:gd name="T28" fmla="*/ 7 w 190"/>
                <a:gd name="T29" fmla="*/ 99 h 100"/>
                <a:gd name="T30" fmla="*/ 4 w 190"/>
                <a:gd name="T31" fmla="*/ 96 h 100"/>
                <a:gd name="T32" fmla="*/ 1 w 190"/>
                <a:gd name="T33" fmla="*/ 92 h 100"/>
                <a:gd name="T34" fmla="*/ 0 w 190"/>
                <a:gd name="T35" fmla="*/ 88 h 100"/>
                <a:gd name="T36" fmla="*/ 0 w 190"/>
                <a:gd name="T37" fmla="*/ 11 h 100"/>
                <a:gd name="T38" fmla="*/ 1 w 190"/>
                <a:gd name="T39" fmla="*/ 6 h 100"/>
                <a:gd name="T40" fmla="*/ 4 w 190"/>
                <a:gd name="T41" fmla="*/ 3 h 100"/>
                <a:gd name="T42" fmla="*/ 7 w 190"/>
                <a:gd name="T43" fmla="*/ 2 h 100"/>
                <a:gd name="T44" fmla="*/ 12 w 190"/>
                <a:gd name="T45" fmla="*/ 0 h 100"/>
                <a:gd name="T46" fmla="*/ 97 w 190"/>
                <a:gd name="T47" fmla="*/ 0 h 100"/>
                <a:gd name="T48" fmla="*/ 99 w 190"/>
                <a:gd name="T49" fmla="*/ 0 h 100"/>
                <a:gd name="T50" fmla="*/ 102 w 190"/>
                <a:gd name="T51" fmla="*/ 0 h 100"/>
                <a:gd name="T52" fmla="*/ 115 w 190"/>
                <a:gd name="T53" fmla="*/ 6 h 100"/>
                <a:gd name="T54" fmla="*/ 128 w 190"/>
                <a:gd name="T55" fmla="*/ 15 h 100"/>
                <a:gd name="T56" fmla="*/ 141 w 190"/>
                <a:gd name="T57" fmla="*/ 23 h 100"/>
                <a:gd name="T58" fmla="*/ 151 w 190"/>
                <a:gd name="T59" fmla="*/ 33 h 100"/>
                <a:gd name="T60" fmla="*/ 162 w 190"/>
                <a:gd name="T61" fmla="*/ 44 h 100"/>
                <a:gd name="T62" fmla="*/ 172 w 190"/>
                <a:gd name="T63" fmla="*/ 56 h 100"/>
                <a:gd name="T64" fmla="*/ 181 w 190"/>
                <a:gd name="T65" fmla="*/ 68 h 100"/>
                <a:gd name="T66" fmla="*/ 189 w 190"/>
                <a:gd name="T67" fmla="*/ 82 h 100"/>
                <a:gd name="T68" fmla="*/ 190 w 190"/>
                <a:gd name="T69" fmla="*/ 85 h 100"/>
                <a:gd name="T70" fmla="*/ 190 w 190"/>
                <a:gd name="T71" fmla="*/ 88 h 100"/>
                <a:gd name="T72" fmla="*/ 190 w 190"/>
                <a:gd name="T73" fmla="*/ 90 h 100"/>
                <a:gd name="T74" fmla="*/ 189 w 190"/>
                <a:gd name="T75" fmla="*/ 92 h 100"/>
                <a:gd name="T76" fmla="*/ 187 w 190"/>
                <a:gd name="T77" fmla="*/ 96 h 100"/>
                <a:gd name="T78" fmla="*/ 184 w 190"/>
                <a:gd name="T79" fmla="*/ 97 h 100"/>
                <a:gd name="T80" fmla="*/ 182 w 190"/>
                <a:gd name="T81" fmla="*/ 99 h 100"/>
                <a:gd name="T82" fmla="*/ 178 w 190"/>
                <a:gd name="T8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100">
                  <a:moveTo>
                    <a:pt x="24" y="74"/>
                  </a:moveTo>
                  <a:lnTo>
                    <a:pt x="156" y="74"/>
                  </a:lnTo>
                  <a:lnTo>
                    <a:pt x="150" y="67"/>
                  </a:lnTo>
                  <a:lnTo>
                    <a:pt x="143" y="59"/>
                  </a:lnTo>
                  <a:lnTo>
                    <a:pt x="136" y="52"/>
                  </a:lnTo>
                  <a:lnTo>
                    <a:pt x="128" y="45"/>
                  </a:lnTo>
                  <a:lnTo>
                    <a:pt x="121" y="39"/>
                  </a:lnTo>
                  <a:lnTo>
                    <a:pt x="113" y="34"/>
                  </a:lnTo>
                  <a:lnTo>
                    <a:pt x="103" y="29"/>
                  </a:lnTo>
                  <a:lnTo>
                    <a:pt x="95" y="25"/>
                  </a:lnTo>
                  <a:lnTo>
                    <a:pt x="24" y="25"/>
                  </a:lnTo>
                  <a:lnTo>
                    <a:pt x="24" y="74"/>
                  </a:lnTo>
                  <a:close/>
                  <a:moveTo>
                    <a:pt x="178" y="100"/>
                  </a:moveTo>
                  <a:lnTo>
                    <a:pt x="12" y="100"/>
                  </a:lnTo>
                  <a:lnTo>
                    <a:pt x="7" y="99"/>
                  </a:lnTo>
                  <a:lnTo>
                    <a:pt x="4" y="96"/>
                  </a:lnTo>
                  <a:lnTo>
                    <a:pt x="1" y="92"/>
                  </a:lnTo>
                  <a:lnTo>
                    <a:pt x="0" y="88"/>
                  </a:lnTo>
                  <a:lnTo>
                    <a:pt x="0" y="11"/>
                  </a:lnTo>
                  <a:lnTo>
                    <a:pt x="1" y="6"/>
                  </a:lnTo>
                  <a:lnTo>
                    <a:pt x="4" y="3"/>
                  </a:lnTo>
                  <a:lnTo>
                    <a:pt x="7" y="2"/>
                  </a:lnTo>
                  <a:lnTo>
                    <a:pt x="12" y="0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102" y="0"/>
                  </a:lnTo>
                  <a:lnTo>
                    <a:pt x="115" y="6"/>
                  </a:lnTo>
                  <a:lnTo>
                    <a:pt x="128" y="15"/>
                  </a:lnTo>
                  <a:lnTo>
                    <a:pt x="141" y="23"/>
                  </a:lnTo>
                  <a:lnTo>
                    <a:pt x="151" y="33"/>
                  </a:lnTo>
                  <a:lnTo>
                    <a:pt x="162" y="44"/>
                  </a:lnTo>
                  <a:lnTo>
                    <a:pt x="172" y="56"/>
                  </a:lnTo>
                  <a:lnTo>
                    <a:pt x="181" y="68"/>
                  </a:lnTo>
                  <a:lnTo>
                    <a:pt x="189" y="82"/>
                  </a:lnTo>
                  <a:lnTo>
                    <a:pt x="190" y="85"/>
                  </a:lnTo>
                  <a:lnTo>
                    <a:pt x="190" y="88"/>
                  </a:lnTo>
                  <a:lnTo>
                    <a:pt x="190" y="90"/>
                  </a:lnTo>
                  <a:lnTo>
                    <a:pt x="189" y="92"/>
                  </a:lnTo>
                  <a:lnTo>
                    <a:pt x="187" y="96"/>
                  </a:lnTo>
                  <a:lnTo>
                    <a:pt x="184" y="97"/>
                  </a:lnTo>
                  <a:lnTo>
                    <a:pt x="182" y="99"/>
                  </a:lnTo>
                  <a:lnTo>
                    <a:pt x="178" y="100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Freeform 119"/>
            <p:cNvSpPr>
              <a:spLocks noEditPoints="1"/>
            </p:cNvSpPr>
            <p:nvPr/>
          </p:nvSpPr>
          <p:spPr bwMode="auto">
            <a:xfrm>
              <a:off x="885825" y="1839913"/>
              <a:ext cx="120650" cy="79375"/>
            </a:xfrm>
            <a:custGeom>
              <a:avLst/>
              <a:gdLst>
                <a:gd name="T0" fmla="*/ 29 w 304"/>
                <a:gd name="T1" fmla="*/ 200 h 200"/>
                <a:gd name="T2" fmla="*/ 12 w 304"/>
                <a:gd name="T3" fmla="*/ 200 h 200"/>
                <a:gd name="T4" fmla="*/ 3 w 304"/>
                <a:gd name="T5" fmla="*/ 196 h 200"/>
                <a:gd name="T6" fmla="*/ 0 w 304"/>
                <a:gd name="T7" fmla="*/ 187 h 200"/>
                <a:gd name="T8" fmla="*/ 3 w 304"/>
                <a:gd name="T9" fmla="*/ 179 h 200"/>
                <a:gd name="T10" fmla="*/ 12 w 304"/>
                <a:gd name="T11" fmla="*/ 176 h 200"/>
                <a:gd name="T12" fmla="*/ 17 w 304"/>
                <a:gd name="T13" fmla="*/ 164 h 200"/>
                <a:gd name="T14" fmla="*/ 19 w 304"/>
                <a:gd name="T15" fmla="*/ 140 h 200"/>
                <a:gd name="T16" fmla="*/ 28 w 304"/>
                <a:gd name="T17" fmla="*/ 111 h 200"/>
                <a:gd name="T18" fmla="*/ 46 w 304"/>
                <a:gd name="T19" fmla="*/ 80 h 200"/>
                <a:gd name="T20" fmla="*/ 70 w 304"/>
                <a:gd name="T21" fmla="*/ 55 h 200"/>
                <a:gd name="T22" fmla="*/ 99 w 304"/>
                <a:gd name="T23" fmla="*/ 38 h 200"/>
                <a:gd name="T24" fmla="*/ 115 w 304"/>
                <a:gd name="T25" fmla="*/ 13 h 200"/>
                <a:gd name="T26" fmla="*/ 117 w 304"/>
                <a:gd name="T27" fmla="*/ 5 h 200"/>
                <a:gd name="T28" fmla="*/ 127 w 304"/>
                <a:gd name="T29" fmla="*/ 0 h 200"/>
                <a:gd name="T30" fmla="*/ 181 w 304"/>
                <a:gd name="T31" fmla="*/ 1 h 200"/>
                <a:gd name="T32" fmla="*/ 188 w 304"/>
                <a:gd name="T33" fmla="*/ 8 h 200"/>
                <a:gd name="T34" fmla="*/ 188 w 304"/>
                <a:gd name="T35" fmla="*/ 31 h 200"/>
                <a:gd name="T36" fmla="*/ 207 w 304"/>
                <a:gd name="T37" fmla="*/ 39 h 200"/>
                <a:gd name="T38" fmla="*/ 225 w 304"/>
                <a:gd name="T39" fmla="*/ 48 h 200"/>
                <a:gd name="T40" fmla="*/ 241 w 304"/>
                <a:gd name="T41" fmla="*/ 61 h 200"/>
                <a:gd name="T42" fmla="*/ 255 w 304"/>
                <a:gd name="T43" fmla="*/ 76 h 200"/>
                <a:gd name="T44" fmla="*/ 272 w 304"/>
                <a:gd name="T45" fmla="*/ 107 h 200"/>
                <a:gd name="T46" fmla="*/ 282 w 304"/>
                <a:gd name="T47" fmla="*/ 139 h 200"/>
                <a:gd name="T48" fmla="*/ 284 w 304"/>
                <a:gd name="T49" fmla="*/ 162 h 200"/>
                <a:gd name="T50" fmla="*/ 292 w 304"/>
                <a:gd name="T51" fmla="*/ 176 h 200"/>
                <a:gd name="T52" fmla="*/ 300 w 304"/>
                <a:gd name="T53" fmla="*/ 179 h 200"/>
                <a:gd name="T54" fmla="*/ 304 w 304"/>
                <a:gd name="T55" fmla="*/ 187 h 200"/>
                <a:gd name="T56" fmla="*/ 300 w 304"/>
                <a:gd name="T57" fmla="*/ 196 h 200"/>
                <a:gd name="T58" fmla="*/ 292 w 304"/>
                <a:gd name="T59" fmla="*/ 200 h 200"/>
                <a:gd name="T60" fmla="*/ 274 w 304"/>
                <a:gd name="T61" fmla="*/ 200 h 200"/>
                <a:gd name="T62" fmla="*/ 140 w 304"/>
                <a:gd name="T63" fmla="*/ 39 h 200"/>
                <a:gd name="T64" fmla="*/ 142 w 304"/>
                <a:gd name="T65" fmla="*/ 40 h 200"/>
                <a:gd name="T66" fmla="*/ 158 w 304"/>
                <a:gd name="T67" fmla="*/ 87 h 200"/>
                <a:gd name="T68" fmla="*/ 140 w 304"/>
                <a:gd name="T69" fmla="*/ 24 h 200"/>
                <a:gd name="T70" fmla="*/ 119 w 304"/>
                <a:gd name="T71" fmla="*/ 57 h 200"/>
                <a:gd name="T72" fmla="*/ 93 w 304"/>
                <a:gd name="T73" fmla="*/ 68 h 200"/>
                <a:gd name="T74" fmla="*/ 73 w 304"/>
                <a:gd name="T75" fmla="*/ 85 h 200"/>
                <a:gd name="T76" fmla="*/ 57 w 304"/>
                <a:gd name="T77" fmla="*/ 108 h 200"/>
                <a:gd name="T78" fmla="*/ 46 w 304"/>
                <a:gd name="T79" fmla="*/ 136 h 200"/>
                <a:gd name="T80" fmla="*/ 42 w 304"/>
                <a:gd name="T81" fmla="*/ 155 h 200"/>
                <a:gd name="T82" fmla="*/ 40 w 304"/>
                <a:gd name="T83" fmla="*/ 176 h 200"/>
                <a:gd name="T84" fmla="*/ 261 w 304"/>
                <a:gd name="T85" fmla="*/ 165 h 200"/>
                <a:gd name="T86" fmla="*/ 258 w 304"/>
                <a:gd name="T87" fmla="*/ 142 h 200"/>
                <a:gd name="T88" fmla="*/ 251 w 304"/>
                <a:gd name="T89" fmla="*/ 115 h 200"/>
                <a:gd name="T90" fmla="*/ 236 w 304"/>
                <a:gd name="T91" fmla="*/ 90 h 200"/>
                <a:gd name="T92" fmla="*/ 213 w 304"/>
                <a:gd name="T93" fmla="*/ 70 h 200"/>
                <a:gd name="T94" fmla="*/ 185 w 304"/>
                <a:gd name="T95" fmla="*/ 57 h 200"/>
                <a:gd name="T96" fmla="*/ 180 w 304"/>
                <a:gd name="T97" fmla="*/ 104 h 200"/>
                <a:gd name="T98" fmla="*/ 174 w 304"/>
                <a:gd name="T99" fmla="*/ 109 h 200"/>
                <a:gd name="T100" fmla="*/ 134 w 304"/>
                <a:gd name="T101" fmla="*/ 110 h 200"/>
                <a:gd name="T102" fmla="*/ 126 w 304"/>
                <a:gd name="T103" fmla="*/ 108 h 200"/>
                <a:gd name="T104" fmla="*/ 122 w 304"/>
                <a:gd name="T105" fmla="*/ 10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4" h="200">
                  <a:moveTo>
                    <a:pt x="274" y="200"/>
                  </a:moveTo>
                  <a:lnTo>
                    <a:pt x="29" y="200"/>
                  </a:lnTo>
                  <a:lnTo>
                    <a:pt x="29" y="200"/>
                  </a:lnTo>
                  <a:lnTo>
                    <a:pt x="12" y="200"/>
                  </a:lnTo>
                  <a:lnTo>
                    <a:pt x="7" y="199"/>
                  </a:lnTo>
                  <a:lnTo>
                    <a:pt x="3" y="196"/>
                  </a:lnTo>
                  <a:lnTo>
                    <a:pt x="1" y="191"/>
                  </a:lnTo>
                  <a:lnTo>
                    <a:pt x="0" y="187"/>
                  </a:lnTo>
                  <a:lnTo>
                    <a:pt x="1" y="183"/>
                  </a:lnTo>
                  <a:lnTo>
                    <a:pt x="3" y="179"/>
                  </a:lnTo>
                  <a:lnTo>
                    <a:pt x="7" y="177"/>
                  </a:lnTo>
                  <a:lnTo>
                    <a:pt x="12" y="176"/>
                  </a:lnTo>
                  <a:lnTo>
                    <a:pt x="17" y="176"/>
                  </a:lnTo>
                  <a:lnTo>
                    <a:pt x="17" y="164"/>
                  </a:lnTo>
                  <a:lnTo>
                    <a:pt x="18" y="151"/>
                  </a:lnTo>
                  <a:lnTo>
                    <a:pt x="19" y="140"/>
                  </a:lnTo>
                  <a:lnTo>
                    <a:pt x="23" y="128"/>
                  </a:lnTo>
                  <a:lnTo>
                    <a:pt x="28" y="111"/>
                  </a:lnTo>
                  <a:lnTo>
                    <a:pt x="36" y="94"/>
                  </a:lnTo>
                  <a:lnTo>
                    <a:pt x="46" y="80"/>
                  </a:lnTo>
                  <a:lnTo>
                    <a:pt x="57" y="67"/>
                  </a:lnTo>
                  <a:lnTo>
                    <a:pt x="70" y="55"/>
                  </a:lnTo>
                  <a:lnTo>
                    <a:pt x="83" y="45"/>
                  </a:lnTo>
                  <a:lnTo>
                    <a:pt x="99" y="38"/>
                  </a:lnTo>
                  <a:lnTo>
                    <a:pt x="116" y="31"/>
                  </a:lnTo>
                  <a:lnTo>
                    <a:pt x="115" y="13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2" y="1"/>
                  </a:lnTo>
                  <a:lnTo>
                    <a:pt x="127" y="0"/>
                  </a:lnTo>
                  <a:lnTo>
                    <a:pt x="177" y="0"/>
                  </a:lnTo>
                  <a:lnTo>
                    <a:pt x="181" y="1"/>
                  </a:lnTo>
                  <a:lnTo>
                    <a:pt x="185" y="5"/>
                  </a:lnTo>
                  <a:lnTo>
                    <a:pt x="188" y="8"/>
                  </a:lnTo>
                  <a:lnTo>
                    <a:pt x="189" y="13"/>
                  </a:lnTo>
                  <a:lnTo>
                    <a:pt x="188" y="31"/>
                  </a:lnTo>
                  <a:lnTo>
                    <a:pt x="197" y="34"/>
                  </a:lnTo>
                  <a:lnTo>
                    <a:pt x="207" y="39"/>
                  </a:lnTo>
                  <a:lnTo>
                    <a:pt x="215" y="44"/>
                  </a:lnTo>
                  <a:lnTo>
                    <a:pt x="225" y="48"/>
                  </a:lnTo>
                  <a:lnTo>
                    <a:pt x="234" y="55"/>
                  </a:lnTo>
                  <a:lnTo>
                    <a:pt x="241" y="61"/>
                  </a:lnTo>
                  <a:lnTo>
                    <a:pt x="248" y="68"/>
                  </a:lnTo>
                  <a:lnTo>
                    <a:pt x="255" y="76"/>
                  </a:lnTo>
                  <a:lnTo>
                    <a:pt x="265" y="91"/>
                  </a:lnTo>
                  <a:lnTo>
                    <a:pt x="272" y="107"/>
                  </a:lnTo>
                  <a:lnTo>
                    <a:pt x="278" y="122"/>
                  </a:lnTo>
                  <a:lnTo>
                    <a:pt x="282" y="139"/>
                  </a:lnTo>
                  <a:lnTo>
                    <a:pt x="282" y="144"/>
                  </a:lnTo>
                  <a:lnTo>
                    <a:pt x="284" y="162"/>
                  </a:lnTo>
                  <a:lnTo>
                    <a:pt x="287" y="176"/>
                  </a:lnTo>
                  <a:lnTo>
                    <a:pt x="292" y="176"/>
                  </a:lnTo>
                  <a:lnTo>
                    <a:pt x="297" y="177"/>
                  </a:lnTo>
                  <a:lnTo>
                    <a:pt x="300" y="179"/>
                  </a:lnTo>
                  <a:lnTo>
                    <a:pt x="303" y="183"/>
                  </a:lnTo>
                  <a:lnTo>
                    <a:pt x="304" y="187"/>
                  </a:lnTo>
                  <a:lnTo>
                    <a:pt x="303" y="191"/>
                  </a:lnTo>
                  <a:lnTo>
                    <a:pt x="300" y="196"/>
                  </a:lnTo>
                  <a:lnTo>
                    <a:pt x="297" y="199"/>
                  </a:lnTo>
                  <a:lnTo>
                    <a:pt x="292" y="200"/>
                  </a:lnTo>
                  <a:lnTo>
                    <a:pt x="274" y="200"/>
                  </a:lnTo>
                  <a:lnTo>
                    <a:pt x="274" y="200"/>
                  </a:lnTo>
                  <a:close/>
                  <a:moveTo>
                    <a:pt x="140" y="38"/>
                  </a:moveTo>
                  <a:lnTo>
                    <a:pt x="140" y="39"/>
                  </a:lnTo>
                  <a:lnTo>
                    <a:pt x="142" y="40"/>
                  </a:lnTo>
                  <a:lnTo>
                    <a:pt x="142" y="40"/>
                  </a:lnTo>
                  <a:lnTo>
                    <a:pt x="145" y="87"/>
                  </a:lnTo>
                  <a:lnTo>
                    <a:pt x="158" y="87"/>
                  </a:lnTo>
                  <a:lnTo>
                    <a:pt x="163" y="24"/>
                  </a:lnTo>
                  <a:lnTo>
                    <a:pt x="140" y="24"/>
                  </a:lnTo>
                  <a:lnTo>
                    <a:pt x="140" y="38"/>
                  </a:lnTo>
                  <a:close/>
                  <a:moveTo>
                    <a:pt x="119" y="57"/>
                  </a:moveTo>
                  <a:lnTo>
                    <a:pt x="105" y="62"/>
                  </a:lnTo>
                  <a:lnTo>
                    <a:pt x="93" y="68"/>
                  </a:lnTo>
                  <a:lnTo>
                    <a:pt x="82" y="75"/>
                  </a:lnTo>
                  <a:lnTo>
                    <a:pt x="73" y="85"/>
                  </a:lnTo>
                  <a:lnTo>
                    <a:pt x="64" y="96"/>
                  </a:lnTo>
                  <a:lnTo>
                    <a:pt x="57" y="108"/>
                  </a:lnTo>
                  <a:lnTo>
                    <a:pt x="51" y="121"/>
                  </a:lnTo>
                  <a:lnTo>
                    <a:pt x="46" y="136"/>
                  </a:lnTo>
                  <a:lnTo>
                    <a:pt x="43" y="145"/>
                  </a:lnTo>
                  <a:lnTo>
                    <a:pt x="42" y="155"/>
                  </a:lnTo>
                  <a:lnTo>
                    <a:pt x="41" y="166"/>
                  </a:lnTo>
                  <a:lnTo>
                    <a:pt x="40" y="176"/>
                  </a:lnTo>
                  <a:lnTo>
                    <a:pt x="263" y="176"/>
                  </a:lnTo>
                  <a:lnTo>
                    <a:pt x="261" y="165"/>
                  </a:lnTo>
                  <a:lnTo>
                    <a:pt x="259" y="147"/>
                  </a:lnTo>
                  <a:lnTo>
                    <a:pt x="258" y="142"/>
                  </a:lnTo>
                  <a:lnTo>
                    <a:pt x="255" y="128"/>
                  </a:lnTo>
                  <a:lnTo>
                    <a:pt x="251" y="115"/>
                  </a:lnTo>
                  <a:lnTo>
                    <a:pt x="244" y="102"/>
                  </a:lnTo>
                  <a:lnTo>
                    <a:pt x="236" y="90"/>
                  </a:lnTo>
                  <a:lnTo>
                    <a:pt x="225" y="79"/>
                  </a:lnTo>
                  <a:lnTo>
                    <a:pt x="213" y="70"/>
                  </a:lnTo>
                  <a:lnTo>
                    <a:pt x="200" y="62"/>
                  </a:lnTo>
                  <a:lnTo>
                    <a:pt x="185" y="57"/>
                  </a:lnTo>
                  <a:lnTo>
                    <a:pt x="181" y="99"/>
                  </a:lnTo>
                  <a:lnTo>
                    <a:pt x="180" y="104"/>
                  </a:lnTo>
                  <a:lnTo>
                    <a:pt x="178" y="108"/>
                  </a:lnTo>
                  <a:lnTo>
                    <a:pt x="174" y="109"/>
                  </a:lnTo>
                  <a:lnTo>
                    <a:pt x="169" y="110"/>
                  </a:lnTo>
                  <a:lnTo>
                    <a:pt x="134" y="110"/>
                  </a:lnTo>
                  <a:lnTo>
                    <a:pt x="129" y="109"/>
                  </a:lnTo>
                  <a:lnTo>
                    <a:pt x="126" y="108"/>
                  </a:lnTo>
                  <a:lnTo>
                    <a:pt x="123" y="104"/>
                  </a:lnTo>
                  <a:lnTo>
                    <a:pt x="122" y="102"/>
                  </a:lnTo>
                  <a:lnTo>
                    <a:pt x="119" y="57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Freeform 120"/>
            <p:cNvSpPr>
              <a:spLocks/>
            </p:cNvSpPr>
            <p:nvPr/>
          </p:nvSpPr>
          <p:spPr bwMode="auto">
            <a:xfrm>
              <a:off x="798513" y="2025651"/>
              <a:ext cx="9525" cy="73025"/>
            </a:xfrm>
            <a:custGeom>
              <a:avLst/>
              <a:gdLst>
                <a:gd name="T0" fmla="*/ 12 w 24"/>
                <a:gd name="T1" fmla="*/ 180 h 180"/>
                <a:gd name="T2" fmla="*/ 7 w 24"/>
                <a:gd name="T3" fmla="*/ 179 h 180"/>
                <a:gd name="T4" fmla="*/ 4 w 24"/>
                <a:gd name="T5" fmla="*/ 177 h 180"/>
                <a:gd name="T6" fmla="*/ 1 w 24"/>
                <a:gd name="T7" fmla="*/ 172 h 180"/>
                <a:gd name="T8" fmla="*/ 0 w 24"/>
                <a:gd name="T9" fmla="*/ 167 h 180"/>
                <a:gd name="T10" fmla="*/ 0 w 24"/>
                <a:gd name="T11" fmla="*/ 14 h 180"/>
                <a:gd name="T12" fmla="*/ 1 w 24"/>
                <a:gd name="T13" fmla="*/ 8 h 180"/>
                <a:gd name="T14" fmla="*/ 4 w 24"/>
                <a:gd name="T15" fmla="*/ 5 h 180"/>
                <a:gd name="T16" fmla="*/ 7 w 24"/>
                <a:gd name="T17" fmla="*/ 1 h 180"/>
                <a:gd name="T18" fmla="*/ 12 w 24"/>
                <a:gd name="T19" fmla="*/ 0 h 180"/>
                <a:gd name="T20" fmla="*/ 17 w 24"/>
                <a:gd name="T21" fmla="*/ 1 h 180"/>
                <a:gd name="T22" fmla="*/ 21 w 24"/>
                <a:gd name="T23" fmla="*/ 5 h 180"/>
                <a:gd name="T24" fmla="*/ 23 w 24"/>
                <a:gd name="T25" fmla="*/ 8 h 180"/>
                <a:gd name="T26" fmla="*/ 24 w 24"/>
                <a:gd name="T27" fmla="*/ 14 h 180"/>
                <a:gd name="T28" fmla="*/ 24 w 24"/>
                <a:gd name="T29" fmla="*/ 167 h 180"/>
                <a:gd name="T30" fmla="*/ 23 w 24"/>
                <a:gd name="T31" fmla="*/ 172 h 180"/>
                <a:gd name="T32" fmla="*/ 21 w 24"/>
                <a:gd name="T33" fmla="*/ 177 h 180"/>
                <a:gd name="T34" fmla="*/ 17 w 24"/>
                <a:gd name="T35" fmla="*/ 179 h 180"/>
                <a:gd name="T36" fmla="*/ 12 w 24"/>
                <a:gd name="T3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80">
                  <a:moveTo>
                    <a:pt x="12" y="180"/>
                  </a:moveTo>
                  <a:lnTo>
                    <a:pt x="7" y="179"/>
                  </a:lnTo>
                  <a:lnTo>
                    <a:pt x="4" y="177"/>
                  </a:lnTo>
                  <a:lnTo>
                    <a:pt x="1" y="172"/>
                  </a:lnTo>
                  <a:lnTo>
                    <a:pt x="0" y="167"/>
                  </a:lnTo>
                  <a:lnTo>
                    <a:pt x="0" y="14"/>
                  </a:lnTo>
                  <a:lnTo>
                    <a:pt x="1" y="8"/>
                  </a:lnTo>
                  <a:lnTo>
                    <a:pt x="4" y="5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5"/>
                  </a:lnTo>
                  <a:lnTo>
                    <a:pt x="23" y="8"/>
                  </a:lnTo>
                  <a:lnTo>
                    <a:pt x="24" y="14"/>
                  </a:lnTo>
                  <a:lnTo>
                    <a:pt x="24" y="167"/>
                  </a:lnTo>
                  <a:lnTo>
                    <a:pt x="23" y="172"/>
                  </a:lnTo>
                  <a:lnTo>
                    <a:pt x="21" y="177"/>
                  </a:lnTo>
                  <a:lnTo>
                    <a:pt x="17" y="179"/>
                  </a:lnTo>
                  <a:lnTo>
                    <a:pt x="12" y="180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 121"/>
            <p:cNvSpPr>
              <a:spLocks noEditPoints="1"/>
            </p:cNvSpPr>
            <p:nvPr/>
          </p:nvSpPr>
          <p:spPr bwMode="auto">
            <a:xfrm>
              <a:off x="798513" y="2009776"/>
              <a:ext cx="300038" cy="236538"/>
            </a:xfrm>
            <a:custGeom>
              <a:avLst/>
              <a:gdLst>
                <a:gd name="T0" fmla="*/ 44 w 759"/>
                <a:gd name="T1" fmla="*/ 591 h 592"/>
                <a:gd name="T2" fmla="*/ 16 w 759"/>
                <a:gd name="T3" fmla="*/ 575 h 592"/>
                <a:gd name="T4" fmla="*/ 1 w 759"/>
                <a:gd name="T5" fmla="*/ 549 h 592"/>
                <a:gd name="T6" fmla="*/ 1 w 759"/>
                <a:gd name="T7" fmla="*/ 308 h 592"/>
                <a:gd name="T8" fmla="*/ 12 w 759"/>
                <a:gd name="T9" fmla="*/ 302 h 592"/>
                <a:gd name="T10" fmla="*/ 23 w 759"/>
                <a:gd name="T11" fmla="*/ 308 h 592"/>
                <a:gd name="T12" fmla="*/ 25 w 759"/>
                <a:gd name="T13" fmla="*/ 544 h 592"/>
                <a:gd name="T14" fmla="*/ 33 w 759"/>
                <a:gd name="T15" fmla="*/ 558 h 592"/>
                <a:gd name="T16" fmla="*/ 48 w 759"/>
                <a:gd name="T17" fmla="*/ 567 h 592"/>
                <a:gd name="T18" fmla="*/ 711 w 759"/>
                <a:gd name="T19" fmla="*/ 567 h 592"/>
                <a:gd name="T20" fmla="*/ 727 w 759"/>
                <a:gd name="T21" fmla="*/ 558 h 592"/>
                <a:gd name="T22" fmla="*/ 734 w 759"/>
                <a:gd name="T23" fmla="*/ 544 h 592"/>
                <a:gd name="T24" fmla="*/ 736 w 759"/>
                <a:gd name="T25" fmla="*/ 309 h 592"/>
                <a:gd name="T26" fmla="*/ 747 w 759"/>
                <a:gd name="T27" fmla="*/ 302 h 592"/>
                <a:gd name="T28" fmla="*/ 758 w 759"/>
                <a:gd name="T29" fmla="*/ 309 h 592"/>
                <a:gd name="T30" fmla="*/ 758 w 759"/>
                <a:gd name="T31" fmla="*/ 549 h 592"/>
                <a:gd name="T32" fmla="*/ 744 w 759"/>
                <a:gd name="T33" fmla="*/ 575 h 592"/>
                <a:gd name="T34" fmla="*/ 716 w 759"/>
                <a:gd name="T35" fmla="*/ 591 h 592"/>
                <a:gd name="T36" fmla="*/ 705 w 759"/>
                <a:gd name="T37" fmla="*/ 84 h 592"/>
                <a:gd name="T38" fmla="*/ 722 w 759"/>
                <a:gd name="T39" fmla="*/ 77 h 592"/>
                <a:gd name="T40" fmla="*/ 733 w 759"/>
                <a:gd name="T41" fmla="*/ 65 h 592"/>
                <a:gd name="T42" fmla="*/ 734 w 759"/>
                <a:gd name="T43" fmla="*/ 47 h 592"/>
                <a:gd name="T44" fmla="*/ 727 w 759"/>
                <a:gd name="T45" fmla="*/ 31 h 592"/>
                <a:gd name="T46" fmla="*/ 711 w 759"/>
                <a:gd name="T47" fmla="*/ 23 h 592"/>
                <a:gd name="T48" fmla="*/ 685 w 759"/>
                <a:gd name="T49" fmla="*/ 84 h 592"/>
                <a:gd name="T50" fmla="*/ 42 w 759"/>
                <a:gd name="T51" fmla="*/ 25 h 592"/>
                <a:gd name="T52" fmla="*/ 29 w 759"/>
                <a:gd name="T53" fmla="*/ 36 h 592"/>
                <a:gd name="T54" fmla="*/ 24 w 759"/>
                <a:gd name="T55" fmla="*/ 54 h 592"/>
                <a:gd name="T56" fmla="*/ 29 w 759"/>
                <a:gd name="T57" fmla="*/ 70 h 592"/>
                <a:gd name="T58" fmla="*/ 42 w 759"/>
                <a:gd name="T59" fmla="*/ 81 h 592"/>
                <a:gd name="T60" fmla="*/ 74 w 759"/>
                <a:gd name="T61" fmla="*/ 84 h 592"/>
                <a:gd name="T62" fmla="*/ 245 w 759"/>
                <a:gd name="T63" fmla="*/ 108 h 592"/>
                <a:gd name="T64" fmla="*/ 34 w 759"/>
                <a:gd name="T65" fmla="*/ 104 h 592"/>
                <a:gd name="T66" fmla="*/ 10 w 759"/>
                <a:gd name="T67" fmla="*/ 84 h 592"/>
                <a:gd name="T68" fmla="*/ 0 w 759"/>
                <a:gd name="T69" fmla="*/ 54 h 592"/>
                <a:gd name="T70" fmla="*/ 10 w 759"/>
                <a:gd name="T71" fmla="*/ 23 h 592"/>
                <a:gd name="T72" fmla="*/ 34 w 759"/>
                <a:gd name="T73" fmla="*/ 4 h 592"/>
                <a:gd name="T74" fmla="*/ 85 w 759"/>
                <a:gd name="T75" fmla="*/ 0 h 592"/>
                <a:gd name="T76" fmla="*/ 96 w 759"/>
                <a:gd name="T77" fmla="*/ 6 h 592"/>
                <a:gd name="T78" fmla="*/ 245 w 759"/>
                <a:gd name="T79" fmla="*/ 84 h 592"/>
                <a:gd name="T80" fmla="*/ 664 w 759"/>
                <a:gd name="T81" fmla="*/ 6 h 592"/>
                <a:gd name="T82" fmla="*/ 675 w 759"/>
                <a:gd name="T83" fmla="*/ 0 h 592"/>
                <a:gd name="T84" fmla="*/ 725 w 759"/>
                <a:gd name="T85" fmla="*/ 4 h 592"/>
                <a:gd name="T86" fmla="*/ 750 w 759"/>
                <a:gd name="T87" fmla="*/ 23 h 592"/>
                <a:gd name="T88" fmla="*/ 759 w 759"/>
                <a:gd name="T89" fmla="*/ 53 h 592"/>
                <a:gd name="T90" fmla="*/ 758 w 759"/>
                <a:gd name="T91" fmla="*/ 212 h 592"/>
                <a:gd name="T92" fmla="*/ 747 w 759"/>
                <a:gd name="T93" fmla="*/ 220 h 592"/>
                <a:gd name="T94" fmla="*/ 736 w 759"/>
                <a:gd name="T95" fmla="*/ 212 h 592"/>
                <a:gd name="T96" fmla="*/ 728 w 759"/>
                <a:gd name="T97" fmla="*/ 103 h 592"/>
                <a:gd name="T98" fmla="*/ 705 w 759"/>
                <a:gd name="T99" fmla="*/ 10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59" h="592">
                  <a:moveTo>
                    <a:pt x="705" y="592"/>
                  </a:moveTo>
                  <a:lnTo>
                    <a:pt x="55" y="592"/>
                  </a:lnTo>
                  <a:lnTo>
                    <a:pt x="44" y="591"/>
                  </a:lnTo>
                  <a:lnTo>
                    <a:pt x="34" y="587"/>
                  </a:lnTo>
                  <a:lnTo>
                    <a:pt x="24" y="583"/>
                  </a:lnTo>
                  <a:lnTo>
                    <a:pt x="16" y="575"/>
                  </a:lnTo>
                  <a:lnTo>
                    <a:pt x="10" y="568"/>
                  </a:lnTo>
                  <a:lnTo>
                    <a:pt x="5" y="558"/>
                  </a:lnTo>
                  <a:lnTo>
                    <a:pt x="1" y="549"/>
                  </a:lnTo>
                  <a:lnTo>
                    <a:pt x="0" y="538"/>
                  </a:lnTo>
                  <a:lnTo>
                    <a:pt x="0" y="312"/>
                  </a:lnTo>
                  <a:lnTo>
                    <a:pt x="1" y="308"/>
                  </a:lnTo>
                  <a:lnTo>
                    <a:pt x="4" y="305"/>
                  </a:lnTo>
                  <a:lnTo>
                    <a:pt x="7" y="303"/>
                  </a:lnTo>
                  <a:lnTo>
                    <a:pt x="12" y="302"/>
                  </a:lnTo>
                  <a:lnTo>
                    <a:pt x="17" y="303"/>
                  </a:lnTo>
                  <a:lnTo>
                    <a:pt x="21" y="305"/>
                  </a:lnTo>
                  <a:lnTo>
                    <a:pt x="23" y="308"/>
                  </a:lnTo>
                  <a:lnTo>
                    <a:pt x="24" y="312"/>
                  </a:lnTo>
                  <a:lnTo>
                    <a:pt x="24" y="538"/>
                  </a:lnTo>
                  <a:lnTo>
                    <a:pt x="25" y="544"/>
                  </a:lnTo>
                  <a:lnTo>
                    <a:pt x="27" y="549"/>
                  </a:lnTo>
                  <a:lnTo>
                    <a:pt x="29" y="553"/>
                  </a:lnTo>
                  <a:lnTo>
                    <a:pt x="33" y="558"/>
                  </a:lnTo>
                  <a:lnTo>
                    <a:pt x="38" y="562"/>
                  </a:lnTo>
                  <a:lnTo>
                    <a:pt x="42" y="564"/>
                  </a:lnTo>
                  <a:lnTo>
                    <a:pt x="48" y="567"/>
                  </a:lnTo>
                  <a:lnTo>
                    <a:pt x="55" y="567"/>
                  </a:lnTo>
                  <a:lnTo>
                    <a:pt x="705" y="567"/>
                  </a:lnTo>
                  <a:lnTo>
                    <a:pt x="711" y="567"/>
                  </a:lnTo>
                  <a:lnTo>
                    <a:pt x="717" y="564"/>
                  </a:lnTo>
                  <a:lnTo>
                    <a:pt x="722" y="562"/>
                  </a:lnTo>
                  <a:lnTo>
                    <a:pt x="727" y="558"/>
                  </a:lnTo>
                  <a:lnTo>
                    <a:pt x="730" y="553"/>
                  </a:lnTo>
                  <a:lnTo>
                    <a:pt x="733" y="549"/>
                  </a:lnTo>
                  <a:lnTo>
                    <a:pt x="734" y="544"/>
                  </a:lnTo>
                  <a:lnTo>
                    <a:pt x="735" y="538"/>
                  </a:lnTo>
                  <a:lnTo>
                    <a:pt x="735" y="312"/>
                  </a:lnTo>
                  <a:lnTo>
                    <a:pt x="736" y="309"/>
                  </a:lnTo>
                  <a:lnTo>
                    <a:pt x="739" y="305"/>
                  </a:lnTo>
                  <a:lnTo>
                    <a:pt x="742" y="303"/>
                  </a:lnTo>
                  <a:lnTo>
                    <a:pt x="747" y="302"/>
                  </a:lnTo>
                  <a:lnTo>
                    <a:pt x="752" y="303"/>
                  </a:lnTo>
                  <a:lnTo>
                    <a:pt x="756" y="305"/>
                  </a:lnTo>
                  <a:lnTo>
                    <a:pt x="758" y="309"/>
                  </a:lnTo>
                  <a:lnTo>
                    <a:pt x="759" y="312"/>
                  </a:lnTo>
                  <a:lnTo>
                    <a:pt x="759" y="538"/>
                  </a:lnTo>
                  <a:lnTo>
                    <a:pt x="758" y="549"/>
                  </a:lnTo>
                  <a:lnTo>
                    <a:pt x="754" y="558"/>
                  </a:lnTo>
                  <a:lnTo>
                    <a:pt x="750" y="568"/>
                  </a:lnTo>
                  <a:lnTo>
                    <a:pt x="744" y="575"/>
                  </a:lnTo>
                  <a:lnTo>
                    <a:pt x="735" y="583"/>
                  </a:lnTo>
                  <a:lnTo>
                    <a:pt x="725" y="587"/>
                  </a:lnTo>
                  <a:lnTo>
                    <a:pt x="716" y="591"/>
                  </a:lnTo>
                  <a:lnTo>
                    <a:pt x="705" y="592"/>
                  </a:lnTo>
                  <a:close/>
                  <a:moveTo>
                    <a:pt x="685" y="84"/>
                  </a:moveTo>
                  <a:lnTo>
                    <a:pt x="705" y="84"/>
                  </a:lnTo>
                  <a:lnTo>
                    <a:pt x="711" y="82"/>
                  </a:lnTo>
                  <a:lnTo>
                    <a:pt x="717" y="81"/>
                  </a:lnTo>
                  <a:lnTo>
                    <a:pt x="722" y="77"/>
                  </a:lnTo>
                  <a:lnTo>
                    <a:pt x="727" y="75"/>
                  </a:lnTo>
                  <a:lnTo>
                    <a:pt x="730" y="70"/>
                  </a:lnTo>
                  <a:lnTo>
                    <a:pt x="733" y="65"/>
                  </a:lnTo>
                  <a:lnTo>
                    <a:pt x="734" y="59"/>
                  </a:lnTo>
                  <a:lnTo>
                    <a:pt x="735" y="54"/>
                  </a:lnTo>
                  <a:lnTo>
                    <a:pt x="734" y="47"/>
                  </a:lnTo>
                  <a:lnTo>
                    <a:pt x="733" y="41"/>
                  </a:lnTo>
                  <a:lnTo>
                    <a:pt x="730" y="36"/>
                  </a:lnTo>
                  <a:lnTo>
                    <a:pt x="727" y="31"/>
                  </a:lnTo>
                  <a:lnTo>
                    <a:pt x="722" y="28"/>
                  </a:lnTo>
                  <a:lnTo>
                    <a:pt x="717" y="25"/>
                  </a:lnTo>
                  <a:lnTo>
                    <a:pt x="711" y="23"/>
                  </a:lnTo>
                  <a:lnTo>
                    <a:pt x="705" y="23"/>
                  </a:lnTo>
                  <a:lnTo>
                    <a:pt x="687" y="23"/>
                  </a:lnTo>
                  <a:lnTo>
                    <a:pt x="685" y="84"/>
                  </a:lnTo>
                  <a:close/>
                  <a:moveTo>
                    <a:pt x="55" y="23"/>
                  </a:moveTo>
                  <a:lnTo>
                    <a:pt x="48" y="23"/>
                  </a:lnTo>
                  <a:lnTo>
                    <a:pt x="42" y="25"/>
                  </a:lnTo>
                  <a:lnTo>
                    <a:pt x="38" y="28"/>
                  </a:lnTo>
                  <a:lnTo>
                    <a:pt x="33" y="31"/>
                  </a:lnTo>
                  <a:lnTo>
                    <a:pt x="29" y="36"/>
                  </a:lnTo>
                  <a:lnTo>
                    <a:pt x="27" y="41"/>
                  </a:lnTo>
                  <a:lnTo>
                    <a:pt x="25" y="47"/>
                  </a:lnTo>
                  <a:lnTo>
                    <a:pt x="24" y="54"/>
                  </a:lnTo>
                  <a:lnTo>
                    <a:pt x="25" y="59"/>
                  </a:lnTo>
                  <a:lnTo>
                    <a:pt x="27" y="65"/>
                  </a:lnTo>
                  <a:lnTo>
                    <a:pt x="29" y="70"/>
                  </a:lnTo>
                  <a:lnTo>
                    <a:pt x="33" y="75"/>
                  </a:lnTo>
                  <a:lnTo>
                    <a:pt x="38" y="77"/>
                  </a:lnTo>
                  <a:lnTo>
                    <a:pt x="42" y="81"/>
                  </a:lnTo>
                  <a:lnTo>
                    <a:pt x="48" y="82"/>
                  </a:lnTo>
                  <a:lnTo>
                    <a:pt x="55" y="84"/>
                  </a:lnTo>
                  <a:lnTo>
                    <a:pt x="74" y="84"/>
                  </a:lnTo>
                  <a:lnTo>
                    <a:pt x="73" y="23"/>
                  </a:lnTo>
                  <a:lnTo>
                    <a:pt x="55" y="23"/>
                  </a:lnTo>
                  <a:close/>
                  <a:moveTo>
                    <a:pt x="245" y="108"/>
                  </a:moveTo>
                  <a:lnTo>
                    <a:pt x="55" y="108"/>
                  </a:lnTo>
                  <a:lnTo>
                    <a:pt x="44" y="107"/>
                  </a:lnTo>
                  <a:lnTo>
                    <a:pt x="34" y="104"/>
                  </a:lnTo>
                  <a:lnTo>
                    <a:pt x="24" y="98"/>
                  </a:lnTo>
                  <a:lnTo>
                    <a:pt x="16" y="92"/>
                  </a:lnTo>
                  <a:lnTo>
                    <a:pt x="10" y="84"/>
                  </a:lnTo>
                  <a:lnTo>
                    <a:pt x="5" y="75"/>
                  </a:lnTo>
                  <a:lnTo>
                    <a:pt x="1" y="64"/>
                  </a:lnTo>
                  <a:lnTo>
                    <a:pt x="0" y="54"/>
                  </a:lnTo>
                  <a:lnTo>
                    <a:pt x="1" y="42"/>
                  </a:lnTo>
                  <a:lnTo>
                    <a:pt x="5" y="33"/>
                  </a:lnTo>
                  <a:lnTo>
                    <a:pt x="10" y="23"/>
                  </a:lnTo>
                  <a:lnTo>
                    <a:pt x="16" y="14"/>
                  </a:lnTo>
                  <a:lnTo>
                    <a:pt x="24" y="8"/>
                  </a:lnTo>
                  <a:lnTo>
                    <a:pt x="34" y="4"/>
                  </a:lnTo>
                  <a:lnTo>
                    <a:pt x="44" y="1"/>
                  </a:lnTo>
                  <a:lnTo>
                    <a:pt x="55" y="0"/>
                  </a:lnTo>
                  <a:lnTo>
                    <a:pt x="85" y="0"/>
                  </a:lnTo>
                  <a:lnTo>
                    <a:pt x="90" y="1"/>
                  </a:lnTo>
                  <a:lnTo>
                    <a:pt x="93" y="2"/>
                  </a:lnTo>
                  <a:lnTo>
                    <a:pt x="96" y="6"/>
                  </a:lnTo>
                  <a:lnTo>
                    <a:pt x="97" y="11"/>
                  </a:lnTo>
                  <a:lnTo>
                    <a:pt x="98" y="84"/>
                  </a:lnTo>
                  <a:lnTo>
                    <a:pt x="245" y="84"/>
                  </a:lnTo>
                  <a:lnTo>
                    <a:pt x="661" y="84"/>
                  </a:lnTo>
                  <a:lnTo>
                    <a:pt x="662" y="11"/>
                  </a:lnTo>
                  <a:lnTo>
                    <a:pt x="664" y="6"/>
                  </a:lnTo>
                  <a:lnTo>
                    <a:pt x="666" y="2"/>
                  </a:lnTo>
                  <a:lnTo>
                    <a:pt x="670" y="1"/>
                  </a:lnTo>
                  <a:lnTo>
                    <a:pt x="675" y="0"/>
                  </a:lnTo>
                  <a:lnTo>
                    <a:pt x="705" y="0"/>
                  </a:lnTo>
                  <a:lnTo>
                    <a:pt x="716" y="1"/>
                  </a:lnTo>
                  <a:lnTo>
                    <a:pt x="725" y="4"/>
                  </a:lnTo>
                  <a:lnTo>
                    <a:pt x="735" y="8"/>
                  </a:lnTo>
                  <a:lnTo>
                    <a:pt x="744" y="14"/>
                  </a:lnTo>
                  <a:lnTo>
                    <a:pt x="750" y="23"/>
                  </a:lnTo>
                  <a:lnTo>
                    <a:pt x="754" y="31"/>
                  </a:lnTo>
                  <a:lnTo>
                    <a:pt x="758" y="42"/>
                  </a:lnTo>
                  <a:lnTo>
                    <a:pt x="759" y="53"/>
                  </a:lnTo>
                  <a:lnTo>
                    <a:pt x="759" y="54"/>
                  </a:lnTo>
                  <a:lnTo>
                    <a:pt x="759" y="207"/>
                  </a:lnTo>
                  <a:lnTo>
                    <a:pt x="758" y="212"/>
                  </a:lnTo>
                  <a:lnTo>
                    <a:pt x="756" y="217"/>
                  </a:lnTo>
                  <a:lnTo>
                    <a:pt x="752" y="219"/>
                  </a:lnTo>
                  <a:lnTo>
                    <a:pt x="747" y="220"/>
                  </a:lnTo>
                  <a:lnTo>
                    <a:pt x="742" y="219"/>
                  </a:lnTo>
                  <a:lnTo>
                    <a:pt x="739" y="217"/>
                  </a:lnTo>
                  <a:lnTo>
                    <a:pt x="736" y="212"/>
                  </a:lnTo>
                  <a:lnTo>
                    <a:pt x="735" y="207"/>
                  </a:lnTo>
                  <a:lnTo>
                    <a:pt x="735" y="98"/>
                  </a:lnTo>
                  <a:lnTo>
                    <a:pt x="728" y="103"/>
                  </a:lnTo>
                  <a:lnTo>
                    <a:pt x="721" y="105"/>
                  </a:lnTo>
                  <a:lnTo>
                    <a:pt x="713" y="108"/>
                  </a:lnTo>
                  <a:lnTo>
                    <a:pt x="705" y="108"/>
                  </a:lnTo>
                  <a:lnTo>
                    <a:pt x="245" y="108"/>
                  </a:lnTo>
                  <a:close/>
                </a:path>
              </a:pathLst>
            </a:custGeom>
            <a:solidFill>
              <a:srgbClr val="0070BA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 122"/>
            <p:cNvSpPr>
              <a:spLocks noEditPoints="1"/>
            </p:cNvSpPr>
            <p:nvPr/>
          </p:nvSpPr>
          <p:spPr bwMode="auto">
            <a:xfrm>
              <a:off x="784225" y="2085976"/>
              <a:ext cx="328613" cy="55563"/>
            </a:xfrm>
            <a:custGeom>
              <a:avLst/>
              <a:gdLst>
                <a:gd name="T0" fmla="*/ 28 w 825"/>
                <a:gd name="T1" fmla="*/ 45 h 139"/>
                <a:gd name="T2" fmla="*/ 25 w 825"/>
                <a:gd name="T3" fmla="*/ 85 h 139"/>
                <a:gd name="T4" fmla="*/ 27 w 825"/>
                <a:gd name="T5" fmla="*/ 115 h 139"/>
                <a:gd name="T6" fmla="*/ 65 w 825"/>
                <a:gd name="T7" fmla="*/ 108 h 139"/>
                <a:gd name="T8" fmla="*/ 79 w 825"/>
                <a:gd name="T9" fmla="*/ 97 h 139"/>
                <a:gd name="T10" fmla="*/ 77 w 825"/>
                <a:gd name="T11" fmla="*/ 68 h 139"/>
                <a:gd name="T12" fmla="*/ 60 w 825"/>
                <a:gd name="T13" fmla="*/ 40 h 139"/>
                <a:gd name="T14" fmla="*/ 792 w 825"/>
                <a:gd name="T15" fmla="*/ 27 h 139"/>
                <a:gd name="T16" fmla="*/ 760 w 825"/>
                <a:gd name="T17" fmla="*/ 46 h 139"/>
                <a:gd name="T18" fmla="*/ 750 w 825"/>
                <a:gd name="T19" fmla="*/ 68 h 139"/>
                <a:gd name="T20" fmla="*/ 746 w 825"/>
                <a:gd name="T21" fmla="*/ 91 h 139"/>
                <a:gd name="T22" fmla="*/ 750 w 825"/>
                <a:gd name="T23" fmla="*/ 104 h 139"/>
                <a:gd name="T24" fmla="*/ 787 w 825"/>
                <a:gd name="T25" fmla="*/ 113 h 139"/>
                <a:gd name="T26" fmla="*/ 801 w 825"/>
                <a:gd name="T27" fmla="*/ 97 h 139"/>
                <a:gd name="T28" fmla="*/ 800 w 825"/>
                <a:gd name="T29" fmla="*/ 58 h 139"/>
                <a:gd name="T30" fmla="*/ 792 w 825"/>
                <a:gd name="T31" fmla="*/ 27 h 139"/>
                <a:gd name="T32" fmla="*/ 778 w 825"/>
                <a:gd name="T33" fmla="*/ 136 h 139"/>
                <a:gd name="T34" fmla="*/ 748 w 825"/>
                <a:gd name="T35" fmla="*/ 127 h 139"/>
                <a:gd name="T36" fmla="*/ 729 w 825"/>
                <a:gd name="T37" fmla="*/ 116 h 139"/>
                <a:gd name="T38" fmla="*/ 723 w 825"/>
                <a:gd name="T39" fmla="*/ 102 h 139"/>
                <a:gd name="T40" fmla="*/ 722 w 825"/>
                <a:gd name="T41" fmla="*/ 83 h 139"/>
                <a:gd name="T42" fmla="*/ 731 w 825"/>
                <a:gd name="T43" fmla="*/ 50 h 139"/>
                <a:gd name="T44" fmla="*/ 741 w 825"/>
                <a:gd name="T45" fmla="*/ 29 h 139"/>
                <a:gd name="T46" fmla="*/ 772 w 825"/>
                <a:gd name="T47" fmla="*/ 10 h 139"/>
                <a:gd name="T48" fmla="*/ 792 w 825"/>
                <a:gd name="T49" fmla="*/ 0 h 139"/>
                <a:gd name="T50" fmla="*/ 808 w 825"/>
                <a:gd name="T51" fmla="*/ 8 h 139"/>
                <a:gd name="T52" fmla="*/ 819 w 825"/>
                <a:gd name="T53" fmla="*/ 33 h 139"/>
                <a:gd name="T54" fmla="*/ 824 w 825"/>
                <a:gd name="T55" fmla="*/ 70 h 139"/>
                <a:gd name="T56" fmla="*/ 824 w 825"/>
                <a:gd name="T57" fmla="*/ 109 h 139"/>
                <a:gd name="T58" fmla="*/ 815 w 825"/>
                <a:gd name="T59" fmla="*/ 133 h 139"/>
                <a:gd name="T60" fmla="*/ 804 w 825"/>
                <a:gd name="T61" fmla="*/ 139 h 139"/>
                <a:gd name="T62" fmla="*/ 12 w 825"/>
                <a:gd name="T63" fmla="*/ 134 h 139"/>
                <a:gd name="T64" fmla="*/ 3 w 825"/>
                <a:gd name="T65" fmla="*/ 115 h 139"/>
                <a:gd name="T66" fmla="*/ 0 w 825"/>
                <a:gd name="T67" fmla="*/ 83 h 139"/>
                <a:gd name="T68" fmla="*/ 4 w 825"/>
                <a:gd name="T69" fmla="*/ 45 h 139"/>
                <a:gd name="T70" fmla="*/ 14 w 825"/>
                <a:gd name="T71" fmla="*/ 14 h 139"/>
                <a:gd name="T72" fmla="*/ 27 w 825"/>
                <a:gd name="T73" fmla="*/ 1 h 139"/>
                <a:gd name="T74" fmla="*/ 37 w 825"/>
                <a:gd name="T75" fmla="*/ 2 h 139"/>
                <a:gd name="T76" fmla="*/ 54 w 825"/>
                <a:gd name="T77" fmla="*/ 10 h 139"/>
                <a:gd name="T78" fmla="*/ 84 w 825"/>
                <a:gd name="T79" fmla="*/ 29 h 139"/>
                <a:gd name="T80" fmla="*/ 96 w 825"/>
                <a:gd name="T81" fmla="*/ 50 h 139"/>
                <a:gd name="T82" fmla="*/ 103 w 825"/>
                <a:gd name="T83" fmla="*/ 83 h 139"/>
                <a:gd name="T84" fmla="*/ 98 w 825"/>
                <a:gd name="T85" fmla="*/ 113 h 139"/>
                <a:gd name="T86" fmla="*/ 86 w 825"/>
                <a:gd name="T87" fmla="*/ 123 h 139"/>
                <a:gd name="T88" fmla="*/ 57 w 825"/>
                <a:gd name="T89" fmla="*/ 133 h 139"/>
                <a:gd name="T90" fmla="*/ 25 w 825"/>
                <a:gd name="T9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25" h="139">
                  <a:moveTo>
                    <a:pt x="34" y="27"/>
                  </a:moveTo>
                  <a:lnTo>
                    <a:pt x="31" y="35"/>
                  </a:lnTo>
                  <a:lnTo>
                    <a:pt x="28" y="45"/>
                  </a:lnTo>
                  <a:lnTo>
                    <a:pt x="27" y="58"/>
                  </a:lnTo>
                  <a:lnTo>
                    <a:pt x="26" y="71"/>
                  </a:lnTo>
                  <a:lnTo>
                    <a:pt x="25" y="85"/>
                  </a:lnTo>
                  <a:lnTo>
                    <a:pt x="25" y="97"/>
                  </a:lnTo>
                  <a:lnTo>
                    <a:pt x="26" y="108"/>
                  </a:lnTo>
                  <a:lnTo>
                    <a:pt x="27" y="115"/>
                  </a:lnTo>
                  <a:lnTo>
                    <a:pt x="38" y="114"/>
                  </a:lnTo>
                  <a:lnTo>
                    <a:pt x="50" y="111"/>
                  </a:lnTo>
                  <a:lnTo>
                    <a:pt x="65" y="108"/>
                  </a:lnTo>
                  <a:lnTo>
                    <a:pt x="75" y="104"/>
                  </a:lnTo>
                  <a:lnTo>
                    <a:pt x="78" y="100"/>
                  </a:lnTo>
                  <a:lnTo>
                    <a:pt x="79" y="97"/>
                  </a:lnTo>
                  <a:lnTo>
                    <a:pt x="79" y="91"/>
                  </a:lnTo>
                  <a:lnTo>
                    <a:pt x="79" y="85"/>
                  </a:lnTo>
                  <a:lnTo>
                    <a:pt x="77" y="68"/>
                  </a:lnTo>
                  <a:lnTo>
                    <a:pt x="71" y="50"/>
                  </a:lnTo>
                  <a:lnTo>
                    <a:pt x="67" y="46"/>
                  </a:lnTo>
                  <a:lnTo>
                    <a:pt x="60" y="40"/>
                  </a:lnTo>
                  <a:lnTo>
                    <a:pt x="49" y="34"/>
                  </a:lnTo>
                  <a:lnTo>
                    <a:pt x="34" y="27"/>
                  </a:lnTo>
                  <a:close/>
                  <a:moveTo>
                    <a:pt x="792" y="27"/>
                  </a:moveTo>
                  <a:lnTo>
                    <a:pt x="778" y="34"/>
                  </a:lnTo>
                  <a:lnTo>
                    <a:pt x="767" y="40"/>
                  </a:lnTo>
                  <a:lnTo>
                    <a:pt x="760" y="46"/>
                  </a:lnTo>
                  <a:lnTo>
                    <a:pt x="756" y="50"/>
                  </a:lnTo>
                  <a:lnTo>
                    <a:pt x="752" y="59"/>
                  </a:lnTo>
                  <a:lnTo>
                    <a:pt x="750" y="68"/>
                  </a:lnTo>
                  <a:lnTo>
                    <a:pt x="748" y="76"/>
                  </a:lnTo>
                  <a:lnTo>
                    <a:pt x="746" y="85"/>
                  </a:lnTo>
                  <a:lnTo>
                    <a:pt x="746" y="91"/>
                  </a:lnTo>
                  <a:lnTo>
                    <a:pt x="746" y="97"/>
                  </a:lnTo>
                  <a:lnTo>
                    <a:pt x="748" y="100"/>
                  </a:lnTo>
                  <a:lnTo>
                    <a:pt x="750" y="104"/>
                  </a:lnTo>
                  <a:lnTo>
                    <a:pt x="761" y="108"/>
                  </a:lnTo>
                  <a:lnTo>
                    <a:pt x="774" y="111"/>
                  </a:lnTo>
                  <a:lnTo>
                    <a:pt x="787" y="113"/>
                  </a:lnTo>
                  <a:lnTo>
                    <a:pt x="798" y="115"/>
                  </a:lnTo>
                  <a:lnTo>
                    <a:pt x="800" y="108"/>
                  </a:lnTo>
                  <a:lnTo>
                    <a:pt x="801" y="97"/>
                  </a:lnTo>
                  <a:lnTo>
                    <a:pt x="801" y="85"/>
                  </a:lnTo>
                  <a:lnTo>
                    <a:pt x="801" y="71"/>
                  </a:lnTo>
                  <a:lnTo>
                    <a:pt x="800" y="58"/>
                  </a:lnTo>
                  <a:lnTo>
                    <a:pt x="797" y="45"/>
                  </a:lnTo>
                  <a:lnTo>
                    <a:pt x="795" y="35"/>
                  </a:lnTo>
                  <a:lnTo>
                    <a:pt x="792" y="27"/>
                  </a:lnTo>
                  <a:close/>
                  <a:moveTo>
                    <a:pt x="804" y="139"/>
                  </a:moveTo>
                  <a:lnTo>
                    <a:pt x="795" y="139"/>
                  </a:lnTo>
                  <a:lnTo>
                    <a:pt x="778" y="136"/>
                  </a:lnTo>
                  <a:lnTo>
                    <a:pt x="768" y="133"/>
                  </a:lnTo>
                  <a:lnTo>
                    <a:pt x="757" y="131"/>
                  </a:lnTo>
                  <a:lnTo>
                    <a:pt x="748" y="127"/>
                  </a:lnTo>
                  <a:lnTo>
                    <a:pt x="739" y="123"/>
                  </a:lnTo>
                  <a:lnTo>
                    <a:pt x="734" y="121"/>
                  </a:lnTo>
                  <a:lnTo>
                    <a:pt x="729" y="116"/>
                  </a:lnTo>
                  <a:lnTo>
                    <a:pt x="727" y="113"/>
                  </a:lnTo>
                  <a:lnTo>
                    <a:pt x="724" y="106"/>
                  </a:lnTo>
                  <a:lnTo>
                    <a:pt x="723" y="102"/>
                  </a:lnTo>
                  <a:lnTo>
                    <a:pt x="722" y="96"/>
                  </a:lnTo>
                  <a:lnTo>
                    <a:pt x="722" y="90"/>
                  </a:lnTo>
                  <a:lnTo>
                    <a:pt x="722" y="83"/>
                  </a:lnTo>
                  <a:lnTo>
                    <a:pt x="724" y="71"/>
                  </a:lnTo>
                  <a:lnTo>
                    <a:pt x="727" y="59"/>
                  </a:lnTo>
                  <a:lnTo>
                    <a:pt x="731" y="50"/>
                  </a:lnTo>
                  <a:lnTo>
                    <a:pt x="733" y="40"/>
                  </a:lnTo>
                  <a:lnTo>
                    <a:pt x="737" y="35"/>
                  </a:lnTo>
                  <a:lnTo>
                    <a:pt x="741" y="29"/>
                  </a:lnTo>
                  <a:lnTo>
                    <a:pt x="748" y="24"/>
                  </a:lnTo>
                  <a:lnTo>
                    <a:pt x="755" y="19"/>
                  </a:lnTo>
                  <a:lnTo>
                    <a:pt x="772" y="10"/>
                  </a:lnTo>
                  <a:lnTo>
                    <a:pt x="789" y="2"/>
                  </a:lnTo>
                  <a:lnTo>
                    <a:pt x="790" y="0"/>
                  </a:lnTo>
                  <a:lnTo>
                    <a:pt x="792" y="0"/>
                  </a:lnTo>
                  <a:lnTo>
                    <a:pt x="798" y="1"/>
                  </a:lnTo>
                  <a:lnTo>
                    <a:pt x="803" y="4"/>
                  </a:lnTo>
                  <a:lnTo>
                    <a:pt x="808" y="8"/>
                  </a:lnTo>
                  <a:lnTo>
                    <a:pt x="812" y="14"/>
                  </a:lnTo>
                  <a:lnTo>
                    <a:pt x="815" y="22"/>
                  </a:lnTo>
                  <a:lnTo>
                    <a:pt x="819" y="33"/>
                  </a:lnTo>
                  <a:lnTo>
                    <a:pt x="821" y="45"/>
                  </a:lnTo>
                  <a:lnTo>
                    <a:pt x="823" y="58"/>
                  </a:lnTo>
                  <a:lnTo>
                    <a:pt x="824" y="70"/>
                  </a:lnTo>
                  <a:lnTo>
                    <a:pt x="825" y="83"/>
                  </a:lnTo>
                  <a:lnTo>
                    <a:pt x="825" y="97"/>
                  </a:lnTo>
                  <a:lnTo>
                    <a:pt x="824" y="109"/>
                  </a:lnTo>
                  <a:lnTo>
                    <a:pt x="821" y="121"/>
                  </a:lnTo>
                  <a:lnTo>
                    <a:pt x="818" y="129"/>
                  </a:lnTo>
                  <a:lnTo>
                    <a:pt x="815" y="133"/>
                  </a:lnTo>
                  <a:lnTo>
                    <a:pt x="812" y="137"/>
                  </a:lnTo>
                  <a:lnTo>
                    <a:pt x="808" y="138"/>
                  </a:lnTo>
                  <a:lnTo>
                    <a:pt x="804" y="139"/>
                  </a:lnTo>
                  <a:close/>
                  <a:moveTo>
                    <a:pt x="25" y="139"/>
                  </a:moveTo>
                  <a:lnTo>
                    <a:pt x="17" y="138"/>
                  </a:lnTo>
                  <a:lnTo>
                    <a:pt x="12" y="134"/>
                  </a:lnTo>
                  <a:lnTo>
                    <a:pt x="9" y="131"/>
                  </a:lnTo>
                  <a:lnTo>
                    <a:pt x="5" y="125"/>
                  </a:lnTo>
                  <a:lnTo>
                    <a:pt x="3" y="115"/>
                  </a:lnTo>
                  <a:lnTo>
                    <a:pt x="2" y="105"/>
                  </a:lnTo>
                  <a:lnTo>
                    <a:pt x="0" y="94"/>
                  </a:lnTo>
                  <a:lnTo>
                    <a:pt x="0" y="83"/>
                  </a:lnTo>
                  <a:lnTo>
                    <a:pt x="2" y="70"/>
                  </a:lnTo>
                  <a:lnTo>
                    <a:pt x="3" y="58"/>
                  </a:lnTo>
                  <a:lnTo>
                    <a:pt x="4" y="45"/>
                  </a:lnTo>
                  <a:lnTo>
                    <a:pt x="6" y="33"/>
                  </a:lnTo>
                  <a:lnTo>
                    <a:pt x="10" y="22"/>
                  </a:lnTo>
                  <a:lnTo>
                    <a:pt x="14" y="14"/>
                  </a:lnTo>
                  <a:lnTo>
                    <a:pt x="17" y="8"/>
                  </a:lnTo>
                  <a:lnTo>
                    <a:pt x="22" y="4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7" y="2"/>
                  </a:lnTo>
                  <a:lnTo>
                    <a:pt x="32" y="13"/>
                  </a:lnTo>
                  <a:lnTo>
                    <a:pt x="37" y="2"/>
                  </a:lnTo>
                  <a:lnTo>
                    <a:pt x="54" y="10"/>
                  </a:lnTo>
                  <a:lnTo>
                    <a:pt x="71" y="19"/>
                  </a:lnTo>
                  <a:lnTo>
                    <a:pt x="78" y="24"/>
                  </a:lnTo>
                  <a:lnTo>
                    <a:pt x="84" y="29"/>
                  </a:lnTo>
                  <a:lnTo>
                    <a:pt x="89" y="35"/>
                  </a:lnTo>
                  <a:lnTo>
                    <a:pt x="92" y="40"/>
                  </a:lnTo>
                  <a:lnTo>
                    <a:pt x="96" y="50"/>
                  </a:lnTo>
                  <a:lnTo>
                    <a:pt x="98" y="59"/>
                  </a:lnTo>
                  <a:lnTo>
                    <a:pt x="102" y="71"/>
                  </a:lnTo>
                  <a:lnTo>
                    <a:pt x="103" y="83"/>
                  </a:lnTo>
                  <a:lnTo>
                    <a:pt x="103" y="96"/>
                  </a:lnTo>
                  <a:lnTo>
                    <a:pt x="101" y="106"/>
                  </a:lnTo>
                  <a:lnTo>
                    <a:pt x="98" y="113"/>
                  </a:lnTo>
                  <a:lnTo>
                    <a:pt x="96" y="116"/>
                  </a:lnTo>
                  <a:lnTo>
                    <a:pt x="91" y="121"/>
                  </a:lnTo>
                  <a:lnTo>
                    <a:pt x="86" y="123"/>
                  </a:lnTo>
                  <a:lnTo>
                    <a:pt x="78" y="127"/>
                  </a:lnTo>
                  <a:lnTo>
                    <a:pt x="68" y="131"/>
                  </a:lnTo>
                  <a:lnTo>
                    <a:pt x="57" y="133"/>
                  </a:lnTo>
                  <a:lnTo>
                    <a:pt x="48" y="136"/>
                  </a:lnTo>
                  <a:lnTo>
                    <a:pt x="32" y="139"/>
                  </a:lnTo>
                  <a:lnTo>
                    <a:pt x="25" y="139"/>
                  </a:lnTo>
                  <a:close/>
                </a:path>
              </a:pathLst>
            </a:custGeom>
            <a:solidFill>
              <a:srgbClr val="004077"/>
            </a:solidFill>
            <a:ln w="9525">
              <a:solidFill>
                <a:srgbClr val="EF6213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7" name="Овал 226"/>
          <p:cNvSpPr/>
          <p:nvPr/>
        </p:nvSpPr>
        <p:spPr>
          <a:xfrm>
            <a:off x="646483" y="3120926"/>
            <a:ext cx="416788" cy="418783"/>
          </a:xfrm>
          <a:prstGeom prst="ellipse">
            <a:avLst/>
          </a:prstGeom>
          <a:noFill/>
          <a:ln w="12700">
            <a:solidFill>
              <a:srgbClr val="545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1" name="Группа 240"/>
          <p:cNvGrpSpPr/>
          <p:nvPr/>
        </p:nvGrpSpPr>
        <p:grpSpPr>
          <a:xfrm>
            <a:off x="1442746" y="3218852"/>
            <a:ext cx="293272" cy="222931"/>
            <a:chOff x="1442746" y="1225492"/>
            <a:chExt cx="293272" cy="356100"/>
          </a:xfrm>
          <a:solidFill>
            <a:srgbClr val="4C4B4B"/>
          </a:solidFill>
        </p:grpSpPr>
        <p:sp>
          <p:nvSpPr>
            <p:cNvPr id="242" name="Нашивка 42"/>
            <p:cNvSpPr/>
            <p:nvPr/>
          </p:nvSpPr>
          <p:spPr>
            <a:xfrm>
              <a:off x="1442746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3" name="Нашивка 42"/>
            <p:cNvSpPr/>
            <p:nvPr/>
          </p:nvSpPr>
          <p:spPr>
            <a:xfrm>
              <a:off x="1576405" y="1225492"/>
              <a:ext cx="159613" cy="356100"/>
            </a:xfrm>
            <a:prstGeom prst="chevron">
              <a:avLst/>
            </a:prstGeom>
            <a:grpFill/>
            <a:ln w="0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6511811"/>
              </p:ext>
            </p:extLst>
          </p:nvPr>
        </p:nvGraphicFramePr>
        <p:xfrm>
          <a:off x="503548" y="3890549"/>
          <a:ext cx="8137277" cy="8414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746">
                  <a:extLst>
                    <a:ext uri="{9D8B030D-6E8A-4147-A177-3AD203B41FA5}">
                      <a16:colId xmlns:a16="http://schemas.microsoft.com/office/drawing/2014/main" val="2547951702"/>
                    </a:ext>
                  </a:extLst>
                </a:gridCol>
                <a:gridCol w="1054036">
                  <a:extLst>
                    <a:ext uri="{9D8B030D-6E8A-4147-A177-3AD203B41FA5}">
                      <a16:colId xmlns:a16="http://schemas.microsoft.com/office/drawing/2014/main" val="3667237563"/>
                    </a:ext>
                  </a:extLst>
                </a:gridCol>
                <a:gridCol w="422443">
                  <a:extLst>
                    <a:ext uri="{9D8B030D-6E8A-4147-A177-3AD203B41FA5}">
                      <a16:colId xmlns:a16="http://schemas.microsoft.com/office/drawing/2014/main" val="3595057028"/>
                    </a:ext>
                  </a:extLst>
                </a:gridCol>
                <a:gridCol w="359725">
                  <a:extLst>
                    <a:ext uri="{9D8B030D-6E8A-4147-A177-3AD203B41FA5}">
                      <a16:colId xmlns:a16="http://schemas.microsoft.com/office/drawing/2014/main" val="1046468609"/>
                    </a:ext>
                  </a:extLst>
                </a:gridCol>
                <a:gridCol w="699979">
                  <a:extLst>
                    <a:ext uri="{9D8B030D-6E8A-4147-A177-3AD203B41FA5}">
                      <a16:colId xmlns:a16="http://schemas.microsoft.com/office/drawing/2014/main" val="1444614167"/>
                    </a:ext>
                  </a:extLst>
                </a:gridCol>
                <a:gridCol w="521453">
                  <a:extLst>
                    <a:ext uri="{9D8B030D-6E8A-4147-A177-3AD203B41FA5}">
                      <a16:colId xmlns:a16="http://schemas.microsoft.com/office/drawing/2014/main" val="3202450011"/>
                    </a:ext>
                  </a:extLst>
                </a:gridCol>
                <a:gridCol w="521453">
                  <a:extLst>
                    <a:ext uri="{9D8B030D-6E8A-4147-A177-3AD203B41FA5}">
                      <a16:colId xmlns:a16="http://schemas.microsoft.com/office/drawing/2014/main" val="1558920569"/>
                    </a:ext>
                  </a:extLst>
                </a:gridCol>
                <a:gridCol w="521453">
                  <a:extLst>
                    <a:ext uri="{9D8B030D-6E8A-4147-A177-3AD203B41FA5}">
                      <a16:colId xmlns:a16="http://schemas.microsoft.com/office/drawing/2014/main" val="418382115"/>
                    </a:ext>
                  </a:extLst>
                </a:gridCol>
                <a:gridCol w="985151">
                  <a:extLst>
                    <a:ext uri="{9D8B030D-6E8A-4147-A177-3AD203B41FA5}">
                      <a16:colId xmlns:a16="http://schemas.microsoft.com/office/drawing/2014/main" val="3613187978"/>
                    </a:ext>
                  </a:extLst>
                </a:gridCol>
                <a:gridCol w="450496">
                  <a:extLst>
                    <a:ext uri="{9D8B030D-6E8A-4147-A177-3AD203B41FA5}">
                      <a16:colId xmlns:a16="http://schemas.microsoft.com/office/drawing/2014/main" val="4275730616"/>
                    </a:ext>
                  </a:extLst>
                </a:gridCol>
                <a:gridCol w="363037">
                  <a:extLst>
                    <a:ext uri="{9D8B030D-6E8A-4147-A177-3AD203B41FA5}">
                      <a16:colId xmlns:a16="http://schemas.microsoft.com/office/drawing/2014/main" val="517857005"/>
                    </a:ext>
                  </a:extLst>
                </a:gridCol>
                <a:gridCol w="351486">
                  <a:extLst>
                    <a:ext uri="{9D8B030D-6E8A-4147-A177-3AD203B41FA5}">
                      <a16:colId xmlns:a16="http://schemas.microsoft.com/office/drawing/2014/main" val="308844868"/>
                    </a:ext>
                  </a:extLst>
                </a:gridCol>
                <a:gridCol w="363037">
                  <a:extLst>
                    <a:ext uri="{9D8B030D-6E8A-4147-A177-3AD203B41FA5}">
                      <a16:colId xmlns:a16="http://schemas.microsoft.com/office/drawing/2014/main" val="1458599791"/>
                    </a:ext>
                  </a:extLst>
                </a:gridCol>
                <a:gridCol w="356437">
                  <a:extLst>
                    <a:ext uri="{9D8B030D-6E8A-4147-A177-3AD203B41FA5}">
                      <a16:colId xmlns:a16="http://schemas.microsoft.com/office/drawing/2014/main" val="3906701578"/>
                    </a:ext>
                  </a:extLst>
                </a:gridCol>
                <a:gridCol w="410892">
                  <a:extLst>
                    <a:ext uri="{9D8B030D-6E8A-4147-A177-3AD203B41FA5}">
                      <a16:colId xmlns:a16="http://schemas.microsoft.com/office/drawing/2014/main" val="1201883910"/>
                    </a:ext>
                  </a:extLst>
                </a:gridCol>
                <a:gridCol w="521453">
                  <a:extLst>
                    <a:ext uri="{9D8B030D-6E8A-4147-A177-3AD203B41FA5}">
                      <a16:colId xmlns:a16="http://schemas.microsoft.com/office/drawing/2014/main" val="1249855685"/>
                    </a:ext>
                  </a:extLst>
                </a:gridCol>
              </a:tblGrid>
              <a:tr h="355666"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 строки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оменклатура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Количество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Единица измерения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клад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Температура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лотность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екция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Место перевозки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Количество факт.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Объем факт.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Температура факт.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лотность факт.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лотность </a:t>
                      </a:r>
                      <a:r>
                        <a:rPr lang="ru-RU" sz="5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прив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Объем </a:t>
                      </a:r>
                      <a:endParaRPr lang="ru-RU" sz="500" b="1" u="none" strike="noStrike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 fontAlgn="t"/>
                      <a:r>
                        <a:rPr lang="ru-RU" sz="500" b="1" u="none" strike="noStrike" dirty="0" err="1" smtClean="0">
                          <a:solidFill>
                            <a:schemeClr val="bg1"/>
                          </a:solidFill>
                          <a:effectLst/>
                        </a:rPr>
                        <a:t>прив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сылка</a:t>
                      </a:r>
                      <a:r>
                        <a:rPr lang="ru-RU" sz="5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. Дата</a:t>
                      </a:r>
                      <a:endParaRPr lang="ru-RU" sz="5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662570"/>
                  </a:ext>
                </a:extLst>
              </a:tr>
              <a:tr h="132582"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Диз.топливо</a:t>
                      </a:r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ОПТИ летнее ДТ-Л-К5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,757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т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Резервуар ДТ Л ОПТИ Гладкое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>
                          <a:solidFill>
                            <a:schemeClr val="bg1"/>
                          </a:solidFill>
                          <a:effectLst/>
                        </a:rPr>
                        <a:t>16,60</a:t>
                      </a:r>
                      <a:endParaRPr lang="ru-RU" sz="500" b="0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0,8340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п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ПЦ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,754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 500,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,83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8337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834983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 484,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.09.2019 0:27:43</a:t>
                      </a:r>
                    </a:p>
                  </a:txBody>
                  <a:tcPr marL="9525" marR="9525" marT="9525" marB="0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795471"/>
                  </a:ext>
                </a:extLst>
              </a:tr>
              <a:tr h="132582"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Диз.топливо</a:t>
                      </a:r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ОПТИ летнее ДТ-Л-К5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170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т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Резервуар ДТ Л ОПТИ Гладкое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6,60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0,8340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п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ПЦ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171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003,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,65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8337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834912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995,7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.09.2019 0:27:43</a:t>
                      </a:r>
                    </a:p>
                  </a:txBody>
                  <a:tcPr marL="9525" marR="9525" marT="9525" marB="0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950680"/>
                  </a:ext>
                </a:extLst>
              </a:tr>
              <a:tr h="132582"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Диз.топливо</a:t>
                      </a:r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ОПТИ летнее ДТ-Л-К5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587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т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Резервуар ДТ Л ОПТИ Гладкое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6,60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5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0,8340</a:t>
                      </a:r>
                      <a:endParaRPr lang="ru-RU" sz="5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55" marR="4955" marT="495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5п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ПЦ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586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499,0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,51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834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835069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491,800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5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.09.2019 0:27:43</a:t>
                      </a:r>
                    </a:p>
                  </a:txBody>
                  <a:tcPr marL="9525" marR="9525" marT="9525" marB="0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3484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4132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2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656" name="Прямая соединительная линия 655"/>
          <p:cNvCxnSpPr/>
          <p:nvPr>
            <p:custDataLst>
              <p:tags r:id="rId4"/>
            </p:custDataLst>
          </p:nvPr>
        </p:nvCxnSpPr>
        <p:spPr bwMode="gray">
          <a:xfrm>
            <a:off x="5700713" y="2112963"/>
            <a:ext cx="201613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>
            <p:custDataLst>
              <p:tags r:id="rId5"/>
            </p:custDataLst>
          </p:nvPr>
        </p:nvCxnSpPr>
        <p:spPr bwMode="gray">
          <a:xfrm>
            <a:off x="3749675" y="2071688"/>
            <a:ext cx="201613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>
            <p:custDataLst>
              <p:tags r:id="rId6"/>
            </p:custDataLst>
          </p:nvPr>
        </p:nvCxnSpPr>
        <p:spPr bwMode="gray">
          <a:xfrm>
            <a:off x="3749675" y="2071688"/>
            <a:ext cx="201613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8" name="Прямая соединительная линия 687"/>
          <p:cNvCxnSpPr/>
          <p:nvPr>
            <p:custDataLst>
              <p:tags r:id="rId7"/>
            </p:custDataLst>
          </p:nvPr>
        </p:nvCxnSpPr>
        <p:spPr bwMode="auto">
          <a:xfrm>
            <a:off x="7002463" y="1325563"/>
            <a:ext cx="2016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>
            <p:custDataLst>
              <p:tags r:id="rId8"/>
            </p:custDataLst>
          </p:nvPr>
        </p:nvCxnSpPr>
        <p:spPr bwMode="gray">
          <a:xfrm>
            <a:off x="2447925" y="2047875"/>
            <a:ext cx="201613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>
            <p:custDataLst>
              <p:tags r:id="rId9"/>
            </p:custDataLst>
          </p:nvPr>
        </p:nvCxnSpPr>
        <p:spPr bwMode="gray">
          <a:xfrm>
            <a:off x="3098800" y="2060575"/>
            <a:ext cx="201613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>
            <p:custDataLst>
              <p:tags r:id="rId10"/>
            </p:custDataLst>
          </p:nvPr>
        </p:nvCxnSpPr>
        <p:spPr bwMode="gray">
          <a:xfrm>
            <a:off x="1797050" y="2022475"/>
            <a:ext cx="201613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0" name="Прямая соединительная линия 679"/>
          <p:cNvCxnSpPr/>
          <p:nvPr>
            <p:custDataLst>
              <p:tags r:id="rId11"/>
            </p:custDataLst>
          </p:nvPr>
        </p:nvCxnSpPr>
        <p:spPr bwMode="gray">
          <a:xfrm>
            <a:off x="6351588" y="1325563"/>
            <a:ext cx="201613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Прямая соединительная линия 388"/>
          <p:cNvCxnSpPr/>
          <p:nvPr>
            <p:custDataLst>
              <p:tags r:id="rId12"/>
            </p:custDataLst>
          </p:nvPr>
        </p:nvCxnSpPr>
        <p:spPr bwMode="gray">
          <a:xfrm>
            <a:off x="4400550" y="2112963"/>
            <a:ext cx="201613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4" name="Прямоугольник 1193"/>
          <p:cNvSpPr/>
          <p:nvPr>
            <p:custDataLst>
              <p:tags r:id="rId13"/>
            </p:custDataLst>
          </p:nvPr>
        </p:nvSpPr>
        <p:spPr bwMode="auto">
          <a:xfrm>
            <a:off x="3300413" y="2060575"/>
            <a:ext cx="449262" cy="11113"/>
          </a:xfrm>
          <a:prstGeom prst="rect">
            <a:avLst/>
          </a:prstGeom>
          <a:solidFill>
            <a:srgbClr val="0099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268" name="Chart 3"/>
          <p:cNvGraphicFramePr/>
          <p:nvPr>
            <p:custDataLst>
              <p:tags r:id="rId14"/>
            </p:custDataLst>
            <p:extLst/>
          </p:nvPr>
        </p:nvGraphicFramePr>
        <p:xfrm>
          <a:off x="1165225" y="1243013"/>
          <a:ext cx="6672263" cy="1189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cxnSp>
        <p:nvCxnSpPr>
          <p:cNvPr id="1225" name="Прямая соединительная линия 1224"/>
          <p:cNvCxnSpPr/>
          <p:nvPr>
            <p:custDataLst>
              <p:tags r:id="rId15"/>
            </p:custDataLst>
          </p:nvPr>
        </p:nvCxnSpPr>
        <p:spPr bwMode="auto">
          <a:xfrm>
            <a:off x="2222500" y="16700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3" name="Прямая соединительная линия 1222"/>
          <p:cNvCxnSpPr/>
          <p:nvPr>
            <p:custDataLst>
              <p:tags r:id="rId16"/>
            </p:custDataLst>
          </p:nvPr>
        </p:nvCxnSpPr>
        <p:spPr bwMode="auto">
          <a:xfrm flipV="1">
            <a:off x="1571625" y="1670050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4" name="Прямая соединительная линия 1223"/>
          <p:cNvCxnSpPr/>
          <p:nvPr>
            <p:custDataLst>
              <p:tags r:id="rId17"/>
            </p:custDataLst>
          </p:nvPr>
        </p:nvCxnSpPr>
        <p:spPr bwMode="auto">
          <a:xfrm>
            <a:off x="1571625" y="1670050"/>
            <a:ext cx="6508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8" name="Прямая соединительная линия 1247"/>
          <p:cNvCxnSpPr/>
          <p:nvPr>
            <p:custDataLst>
              <p:tags r:id="rId18"/>
            </p:custDataLst>
          </p:nvPr>
        </p:nvCxnSpPr>
        <p:spPr bwMode="auto">
          <a:xfrm>
            <a:off x="4175125" y="1795463"/>
            <a:ext cx="13001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7" name="Прямая соединительная линия 1246"/>
          <p:cNvCxnSpPr/>
          <p:nvPr>
            <p:custDataLst>
              <p:tags r:id="rId19"/>
            </p:custDataLst>
          </p:nvPr>
        </p:nvCxnSpPr>
        <p:spPr bwMode="auto">
          <a:xfrm flipV="1">
            <a:off x="4175125" y="179546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9" name="Прямая соединительная линия 1248"/>
          <p:cNvCxnSpPr/>
          <p:nvPr>
            <p:custDataLst>
              <p:tags r:id="rId20"/>
            </p:custDataLst>
          </p:nvPr>
        </p:nvCxnSpPr>
        <p:spPr bwMode="auto">
          <a:xfrm>
            <a:off x="5475288" y="1795463"/>
            <a:ext cx="0" cy="279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Прямая соединительная линия 413"/>
          <p:cNvCxnSpPr/>
          <p:nvPr>
            <p:custDataLst>
              <p:tags r:id="rId21"/>
            </p:custDataLst>
          </p:nvPr>
        </p:nvCxnSpPr>
        <p:spPr bwMode="auto">
          <a:xfrm>
            <a:off x="2873375" y="2022475"/>
            <a:ext cx="0" cy="31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7" name="Прямая соединительная линия 416"/>
          <p:cNvCxnSpPr/>
          <p:nvPr>
            <p:custDataLst>
              <p:tags r:id="rId22"/>
            </p:custDataLst>
          </p:nvPr>
        </p:nvCxnSpPr>
        <p:spPr bwMode="auto">
          <a:xfrm>
            <a:off x="2222500" y="1997074"/>
            <a:ext cx="0" cy="38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Прямая соединительная линия 406"/>
          <p:cNvCxnSpPr/>
          <p:nvPr>
            <p:custDataLst>
              <p:tags r:id="rId23"/>
            </p:custDataLst>
          </p:nvPr>
        </p:nvCxnSpPr>
        <p:spPr bwMode="auto">
          <a:xfrm>
            <a:off x="4175125" y="2046287"/>
            <a:ext cx="0" cy="46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" name="Прямая соединительная линия 411"/>
          <p:cNvCxnSpPr/>
          <p:nvPr>
            <p:custDataLst>
              <p:tags r:id="rId24"/>
            </p:custDataLst>
          </p:nvPr>
        </p:nvCxnSpPr>
        <p:spPr bwMode="auto">
          <a:xfrm>
            <a:off x="3524250" y="2035175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9" name="Текст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339850" y="2117726"/>
            <a:ext cx="465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466,85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5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035175" y="1860551"/>
            <a:ext cx="3762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-36,5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3" name="Текст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686050" y="1885951"/>
            <a:ext cx="3762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-19,6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36" name="Текст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545263" y="1768476"/>
            <a:ext cx="465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461,4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83" name="Текст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196138" y="1768476"/>
            <a:ext cx="465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461,1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18" name="Текст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243513" y="2162176"/>
            <a:ext cx="465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336,61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21" name="Текст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594225" y="2162176"/>
            <a:ext cx="465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336,62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6" name="Текст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956050" y="1909764"/>
            <a:ext cx="4397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-59,23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6" name="Текст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336925" y="1898651"/>
            <a:ext cx="3762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-14,9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78" name="Текст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407150" y="1087438"/>
            <a:ext cx="739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21F28BB8-9EF8-419D-9236-F6838246D623}" type="datetime'1'''' ''''''4''''''''''''''''6''''''''''1,''''''''4''''''1'">
              <a:rPr kumimoji="0" lang="ru-RU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1 461,41</a:t>
            </a:fld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95" name="Текст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276350" y="1784350"/>
            <a:ext cx="5921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0CDB0451-862D-4071-AE87-9EB28812C98C}" type="datetime'''''4''''''''''66'''''''''''''''',''''''''''''''''''''8''5'''">
              <a:rPr kumimoji="0" lang="ru-RU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466,85</a:t>
            </a:fld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29" name="Текст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894388" y="1651001"/>
            <a:ext cx="465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7030A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124,8 т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78" name="Прямоугольник 877"/>
          <p:cNvSpPr/>
          <p:nvPr/>
        </p:nvSpPr>
        <p:spPr>
          <a:xfrm>
            <a:off x="0" y="3454017"/>
            <a:ext cx="9121034" cy="312738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7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Текст 85"/>
          <p:cNvSpPr txBox="1">
            <a:spLocks/>
          </p:cNvSpPr>
          <p:nvPr/>
        </p:nvSpPr>
        <p:spPr>
          <a:xfrm>
            <a:off x="216153" y="735546"/>
            <a:ext cx="4103820" cy="528200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та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стемы «</a:t>
            </a:r>
            <a:r>
              <a:rPr kumimoji="0" lang="ru-RU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фтеконтроль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 на 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мере движения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изельного топлива летнего (ДТЛ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ВС №3 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ru-RU" sz="9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 смену 15.09.2019 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</a:t>
            </a:r>
            <a:r>
              <a:rPr kumimoji="0" lang="ru-RU" sz="9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8:00 до </a:t>
            </a:r>
            <a:r>
              <a:rPr kumimoji="0" lang="ru-RU" sz="9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:20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5" y="67260"/>
            <a:ext cx="811180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Метрологическо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сопровождение движения нефтепродуктов на приеме-отпуске 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DIN Pro" panose="020B0504020101010102" pitchFamily="34" charset="0"/>
              <a:ea typeface="+mn-ea"/>
              <a:cs typeface="DIN Pro" panose="020B0504020101010102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Терминала «Гладкое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»  </a:t>
            </a:r>
          </a:p>
        </p:txBody>
      </p:sp>
      <p:grpSp>
        <p:nvGrpSpPr>
          <p:cNvPr id="826" name="Группа 825"/>
          <p:cNvGrpSpPr/>
          <p:nvPr/>
        </p:nvGrpSpPr>
        <p:grpSpPr>
          <a:xfrm>
            <a:off x="7875826" y="1278512"/>
            <a:ext cx="1245208" cy="580554"/>
            <a:chOff x="8028384" y="735816"/>
            <a:chExt cx="1245208" cy="580554"/>
          </a:xfrm>
        </p:grpSpPr>
        <p:grpSp>
          <p:nvGrpSpPr>
            <p:cNvPr id="785" name="Группа 784"/>
            <p:cNvGrpSpPr/>
            <p:nvPr/>
          </p:nvGrpSpPr>
          <p:grpSpPr>
            <a:xfrm>
              <a:off x="8028384" y="735816"/>
              <a:ext cx="644082" cy="200055"/>
              <a:chOff x="8028384" y="735816"/>
              <a:chExt cx="644082" cy="200055"/>
            </a:xfrm>
          </p:grpSpPr>
          <p:sp>
            <p:nvSpPr>
              <p:cNvPr id="712" name="Прямоугольник 711"/>
              <p:cNvSpPr/>
              <p:nvPr/>
            </p:nvSpPr>
            <p:spPr>
              <a:xfrm>
                <a:off x="8147963" y="735816"/>
                <a:ext cx="524503" cy="2000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7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ИС РВС</a:t>
                </a:r>
                <a:endPara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4" name="Прямоугольник 783"/>
              <p:cNvSpPr/>
              <p:nvPr/>
            </p:nvSpPr>
            <p:spPr>
              <a:xfrm>
                <a:off x="8028384" y="796882"/>
                <a:ext cx="119579" cy="78163"/>
              </a:xfrm>
              <a:prstGeom prst="rect">
                <a:avLst/>
              </a:prstGeom>
              <a:solidFill>
                <a:srgbClr val="0070BA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86" name="Группа 785"/>
            <p:cNvGrpSpPr/>
            <p:nvPr/>
          </p:nvGrpSpPr>
          <p:grpSpPr>
            <a:xfrm>
              <a:off x="8028384" y="862649"/>
              <a:ext cx="656906" cy="200055"/>
              <a:chOff x="8028384" y="735816"/>
              <a:chExt cx="656906" cy="200055"/>
            </a:xfrm>
          </p:grpSpPr>
          <p:sp>
            <p:nvSpPr>
              <p:cNvPr id="787" name="Прямоугольник 786"/>
              <p:cNvSpPr/>
              <p:nvPr/>
            </p:nvSpPr>
            <p:spPr>
              <a:xfrm>
                <a:off x="8147963" y="735816"/>
                <a:ext cx="537327" cy="2000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7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ИС </a:t>
                </a:r>
                <a:r>
                  <a:rPr kumimoji="0" lang="ru-RU" sz="7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7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АСН</a:t>
                </a:r>
                <a:endPara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8" name="Прямоугольник 787"/>
              <p:cNvSpPr/>
              <p:nvPr/>
            </p:nvSpPr>
            <p:spPr>
              <a:xfrm>
                <a:off x="8028384" y="796882"/>
                <a:ext cx="119579" cy="78163"/>
              </a:xfrm>
              <a:prstGeom prst="rect">
                <a:avLst/>
              </a:prstGeom>
              <a:solidFill>
                <a:srgbClr val="0099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89" name="Группа 788"/>
            <p:cNvGrpSpPr/>
            <p:nvPr/>
          </p:nvGrpSpPr>
          <p:grpSpPr>
            <a:xfrm>
              <a:off x="8028384" y="989482"/>
              <a:ext cx="823618" cy="200055"/>
              <a:chOff x="8028384" y="735816"/>
              <a:chExt cx="823618" cy="200055"/>
            </a:xfrm>
          </p:grpSpPr>
          <p:sp>
            <p:nvSpPr>
              <p:cNvPr id="790" name="Прямоугольник 789"/>
              <p:cNvSpPr/>
              <p:nvPr/>
            </p:nvSpPr>
            <p:spPr>
              <a:xfrm>
                <a:off x="8147963" y="735816"/>
                <a:ext cx="704039" cy="2000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7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Узлы учета</a:t>
                </a:r>
                <a:endPara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1" name="Прямоугольник 790"/>
              <p:cNvSpPr/>
              <p:nvPr/>
            </p:nvSpPr>
            <p:spPr>
              <a:xfrm>
                <a:off x="8028384" y="796882"/>
                <a:ext cx="119579" cy="78163"/>
              </a:xfrm>
              <a:prstGeom prst="rect">
                <a:avLst/>
              </a:prstGeom>
              <a:solidFill>
                <a:srgbClr val="7030A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92" name="Группа 791"/>
            <p:cNvGrpSpPr/>
            <p:nvPr/>
          </p:nvGrpSpPr>
          <p:grpSpPr>
            <a:xfrm>
              <a:off x="8028384" y="1116315"/>
              <a:ext cx="1245208" cy="200055"/>
              <a:chOff x="8028384" y="735816"/>
              <a:chExt cx="1245208" cy="200055"/>
            </a:xfrm>
          </p:grpSpPr>
          <p:sp>
            <p:nvSpPr>
              <p:cNvPr id="793" name="Прямоугольник 792"/>
              <p:cNvSpPr/>
              <p:nvPr/>
            </p:nvSpPr>
            <p:spPr>
              <a:xfrm>
                <a:off x="8147963" y="735816"/>
                <a:ext cx="1125629" cy="2000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7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Расчетное значение</a:t>
                </a:r>
                <a:endPara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4" name="Прямоугольник 793"/>
              <p:cNvSpPr/>
              <p:nvPr/>
            </p:nvSpPr>
            <p:spPr>
              <a:xfrm>
                <a:off x="8028384" y="796882"/>
                <a:ext cx="119579" cy="78163"/>
              </a:xfrm>
              <a:prstGeom prst="rect">
                <a:avLst/>
              </a:prstGeom>
              <a:solidFill>
                <a:srgbClr val="706F6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859" name="Текст 85"/>
          <p:cNvSpPr txBox="1">
            <a:spLocks/>
          </p:cNvSpPr>
          <p:nvPr/>
        </p:nvSpPr>
        <p:spPr>
          <a:xfrm>
            <a:off x="34766" y="2068513"/>
            <a:ext cx="1055828" cy="230188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F6213"/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Замеры НП по времени, </a:t>
            </a:r>
            <a:r>
              <a:rPr kumimoji="0" lang="ru-RU" sz="9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F6213"/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15.09.2019 г.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srgbClr val="EF6213"/>
              </a:solidFill>
              <a:effectLst/>
              <a:uLnTx/>
              <a:uFillTx/>
              <a:latin typeface="Arial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60" name="Текст 85"/>
          <p:cNvSpPr txBox="1">
            <a:spLocks/>
          </p:cNvSpPr>
          <p:nvPr/>
        </p:nvSpPr>
        <p:spPr>
          <a:xfrm>
            <a:off x="2139904" y="3183818"/>
            <a:ext cx="4160288" cy="203807"/>
          </a:xfrm>
          <a:prstGeom prst="rect">
            <a:avLst/>
          </a:prstGeom>
          <a:noFill/>
        </p:spPr>
        <p:txBody>
          <a:bodyPr anchor="ctr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F6213"/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Отклонение расчетных значений остатков</a:t>
            </a:r>
            <a:r>
              <a:rPr kumimoji="0" lang="ru-RU" sz="900" b="1" i="0" u="none" strike="noStrike" kern="1200" cap="none" spc="0" normalizeH="0" noProof="0" dirty="0" smtClean="0">
                <a:ln>
                  <a:noFill/>
                </a:ln>
                <a:solidFill>
                  <a:srgbClr val="EF6213"/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 от измеренных ИС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EF6213"/>
              </a:solidFill>
              <a:effectLst/>
              <a:uLnTx/>
              <a:uFillTx/>
              <a:latin typeface="Arial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63" name="Прямоугольник 862"/>
          <p:cNvSpPr/>
          <p:nvPr/>
        </p:nvSpPr>
        <p:spPr>
          <a:xfrm>
            <a:off x="874370" y="4126011"/>
            <a:ext cx="2087053" cy="4619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того отпущено: 130,23 т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ница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ИС: 130,24 т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0,23/130,24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1)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1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0%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0,01%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866" name="Группа 865"/>
          <p:cNvGrpSpPr/>
          <p:nvPr/>
        </p:nvGrpSpPr>
        <p:grpSpPr>
          <a:xfrm>
            <a:off x="1619325" y="3911698"/>
            <a:ext cx="597142" cy="200025"/>
            <a:chOff x="3422743" y="3634837"/>
            <a:chExt cx="597142" cy="200055"/>
          </a:xfrm>
        </p:grpSpPr>
        <p:sp>
          <p:nvSpPr>
            <p:cNvPr id="864" name="Овал 863"/>
            <p:cNvSpPr/>
            <p:nvPr/>
          </p:nvSpPr>
          <p:spPr>
            <a:xfrm>
              <a:off x="3487158" y="3634837"/>
              <a:ext cx="468313" cy="182564"/>
            </a:xfrm>
            <a:prstGeom prst="ellipse">
              <a:avLst/>
            </a:prstGeom>
            <a:solidFill>
              <a:srgbClr val="0099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5" name="Прямоугольник 864"/>
            <p:cNvSpPr/>
            <p:nvPr/>
          </p:nvSpPr>
          <p:spPr>
            <a:xfrm>
              <a:off x="3422743" y="3634837"/>
              <a:ext cx="597142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,01 % </a:t>
              </a:r>
            </a:p>
          </p:txBody>
        </p:sp>
      </p:grpSp>
      <p:sp>
        <p:nvSpPr>
          <p:cNvPr id="872" name="Прямоугольник 871"/>
          <p:cNvSpPr/>
          <p:nvPr/>
        </p:nvSpPr>
        <p:spPr>
          <a:xfrm>
            <a:off x="3000398" y="3495292"/>
            <a:ext cx="2972713" cy="2301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Хранение 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ием - Хранение</a:t>
            </a:r>
          </a:p>
        </p:txBody>
      </p:sp>
      <p:sp>
        <p:nvSpPr>
          <p:cNvPr id="873" name="Прямоугольник 872"/>
          <p:cNvSpPr/>
          <p:nvPr/>
        </p:nvSpPr>
        <p:spPr>
          <a:xfrm>
            <a:off x="431540" y="3495292"/>
            <a:ext cx="2972713" cy="2301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Хранение 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Отпуск 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Хранение</a:t>
            </a:r>
          </a:p>
        </p:txBody>
      </p:sp>
      <p:grpSp>
        <p:nvGrpSpPr>
          <p:cNvPr id="874" name="Группа 873"/>
          <p:cNvGrpSpPr/>
          <p:nvPr/>
        </p:nvGrpSpPr>
        <p:grpSpPr>
          <a:xfrm>
            <a:off x="4188183" y="3911698"/>
            <a:ext cx="597142" cy="200025"/>
            <a:chOff x="3422743" y="3634837"/>
            <a:chExt cx="597142" cy="200055"/>
          </a:xfrm>
        </p:grpSpPr>
        <p:sp>
          <p:nvSpPr>
            <p:cNvPr id="875" name="Овал 874"/>
            <p:cNvSpPr/>
            <p:nvPr/>
          </p:nvSpPr>
          <p:spPr>
            <a:xfrm>
              <a:off x="3487158" y="3634837"/>
              <a:ext cx="468313" cy="182564"/>
            </a:xfrm>
            <a:prstGeom prst="ellipse">
              <a:avLst/>
            </a:prstGeom>
            <a:solidFill>
              <a:srgbClr val="7030A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6" name="Прямоугольник 875"/>
            <p:cNvSpPr/>
            <p:nvPr/>
          </p:nvSpPr>
          <p:spPr>
            <a:xfrm>
              <a:off x="3422743" y="3634837"/>
              <a:ext cx="597142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,06 </a:t>
              </a:r>
              <a:r>
                <a: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% </a:t>
              </a:r>
            </a:p>
          </p:txBody>
        </p:sp>
      </p:grpSp>
      <p:sp>
        <p:nvSpPr>
          <p:cNvPr id="877" name="Прямоугольник 876"/>
          <p:cNvSpPr/>
          <p:nvPr/>
        </p:nvSpPr>
        <p:spPr>
          <a:xfrm>
            <a:off x="3308496" y="4126011"/>
            <a:ext cx="2356516" cy="4619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того принято: 1124,8 т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ница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ИС: 112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49 т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4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9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24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 – 1)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1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0%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0,0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79" name="Прямоугольник 878"/>
          <p:cNvSpPr/>
          <p:nvPr/>
        </p:nvSpPr>
        <p:spPr>
          <a:xfrm>
            <a:off x="579399" y="3469099"/>
            <a:ext cx="45719" cy="282575"/>
          </a:xfrm>
          <a:prstGeom prst="rect">
            <a:avLst/>
          </a:prstGeom>
          <a:solidFill>
            <a:srgbClr val="EF62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7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0" name="Прямоугольник 879"/>
          <p:cNvSpPr/>
          <p:nvPr/>
        </p:nvSpPr>
        <p:spPr>
          <a:xfrm>
            <a:off x="3131755" y="3469099"/>
            <a:ext cx="45719" cy="282575"/>
          </a:xfrm>
          <a:prstGeom prst="rect">
            <a:avLst/>
          </a:prstGeom>
          <a:solidFill>
            <a:srgbClr val="EF62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7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5" name="Текст 85"/>
          <p:cNvSpPr txBox="1">
            <a:spLocks/>
          </p:cNvSpPr>
          <p:nvPr/>
        </p:nvSpPr>
        <p:spPr>
          <a:xfrm>
            <a:off x="1330325" y="2398713"/>
            <a:ext cx="583684" cy="201613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:00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82" name="Прямая соединительная линия 881"/>
          <p:cNvCxnSpPr/>
          <p:nvPr/>
        </p:nvCxnSpPr>
        <p:spPr>
          <a:xfrm>
            <a:off x="1573648" y="2347913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0" name="Группа 889"/>
          <p:cNvGrpSpPr/>
          <p:nvPr/>
        </p:nvGrpSpPr>
        <p:grpSpPr>
          <a:xfrm>
            <a:off x="1976852" y="2347913"/>
            <a:ext cx="583684" cy="252413"/>
            <a:chOff x="2088959" y="2247714"/>
            <a:chExt cx="540173" cy="252599"/>
          </a:xfrm>
        </p:grpSpPr>
        <p:sp>
          <p:nvSpPr>
            <p:cNvPr id="300" name="Текст 85"/>
            <p:cNvSpPr txBox="1">
              <a:spLocks/>
            </p:cNvSpPr>
            <p:nvPr/>
          </p:nvSpPr>
          <p:spPr>
            <a:xfrm>
              <a:off x="2088959" y="2298700"/>
              <a:ext cx="540173" cy="201613"/>
            </a:xfrm>
            <a:prstGeom prst="rect">
              <a:avLst/>
            </a:prstGeom>
            <a:noFill/>
          </p:spPr>
          <p:txBody>
            <a:bodyPr anchor="t"/>
            <a:lstStyle>
              <a:lvl1pPr marL="0" indent="0" algn="l" defTabSz="1007943" rtl="0" eaLnBrk="1" latinLnBrk="0" hangingPunct="1">
                <a:spcBef>
                  <a:spcPct val="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Wingdings" pitchFamily="2" charset="2"/>
                <a:buNone/>
                <a:defRPr lang="ru-RU" sz="2205" b="0" kern="1200" dirty="0">
                  <a:solidFill>
                    <a:schemeClr val="accent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99489" marR="0" indent="-199489" algn="l" defTabSz="1007943" rtl="0" eaLnBrk="1" fontAlgn="auto" latinLnBrk="0" hangingPunct="1">
                <a:lnSpc>
                  <a:spcPct val="100000"/>
                </a:lnSpc>
                <a:spcBef>
                  <a:spcPts val="1323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tabLst/>
                <a:defRPr sz="154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86729" indent="-187240" algn="l" defTabSz="1007943" rtl="0" eaLnBrk="1" latinLnBrk="0" hangingPunct="1">
                <a:spcBef>
                  <a:spcPts val="661"/>
                </a:spcBef>
                <a:buClr>
                  <a:schemeClr val="accent3"/>
                </a:buClr>
                <a:buFont typeface="Wingdings" pitchFamily="2" charset="2"/>
                <a:buChar char="§"/>
                <a:tabLst/>
                <a:defRPr sz="132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63900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67872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1844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75815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9787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83758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9:15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885" name="Прямая соединительная линия 884"/>
            <p:cNvCxnSpPr/>
            <p:nvPr/>
          </p:nvCxnSpPr>
          <p:spPr>
            <a:xfrm>
              <a:off x="2359045" y="2247714"/>
              <a:ext cx="0" cy="58924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91" name="Группа 890"/>
          <p:cNvGrpSpPr/>
          <p:nvPr/>
        </p:nvGrpSpPr>
        <p:grpSpPr>
          <a:xfrm>
            <a:off x="2605492" y="2347913"/>
            <a:ext cx="583684" cy="252413"/>
            <a:chOff x="2787269" y="2247714"/>
            <a:chExt cx="540173" cy="252599"/>
          </a:xfrm>
        </p:grpSpPr>
        <p:sp>
          <p:nvSpPr>
            <p:cNvPr id="303" name="Текст 85"/>
            <p:cNvSpPr txBox="1">
              <a:spLocks/>
            </p:cNvSpPr>
            <p:nvPr/>
          </p:nvSpPr>
          <p:spPr>
            <a:xfrm>
              <a:off x="2787269" y="2298700"/>
              <a:ext cx="540173" cy="201613"/>
            </a:xfrm>
            <a:prstGeom prst="rect">
              <a:avLst/>
            </a:prstGeom>
            <a:noFill/>
          </p:spPr>
          <p:txBody>
            <a:bodyPr anchor="t"/>
            <a:lstStyle>
              <a:lvl1pPr marL="0" indent="0" algn="l" defTabSz="1007943" rtl="0" eaLnBrk="1" latinLnBrk="0" hangingPunct="1">
                <a:spcBef>
                  <a:spcPct val="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Wingdings" pitchFamily="2" charset="2"/>
                <a:buNone/>
                <a:defRPr lang="ru-RU" sz="2205" b="0" kern="1200" dirty="0">
                  <a:solidFill>
                    <a:schemeClr val="accent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99489" marR="0" indent="-199489" algn="l" defTabSz="1007943" rtl="0" eaLnBrk="1" fontAlgn="auto" latinLnBrk="0" hangingPunct="1">
                <a:lnSpc>
                  <a:spcPct val="100000"/>
                </a:lnSpc>
                <a:spcBef>
                  <a:spcPts val="1323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tabLst/>
                <a:defRPr sz="154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86729" indent="-187240" algn="l" defTabSz="1007943" rtl="0" eaLnBrk="1" latinLnBrk="0" hangingPunct="1">
                <a:spcBef>
                  <a:spcPts val="661"/>
                </a:spcBef>
                <a:buClr>
                  <a:schemeClr val="accent3"/>
                </a:buClr>
                <a:buFont typeface="Wingdings" pitchFamily="2" charset="2"/>
                <a:buChar char="§"/>
                <a:tabLst/>
                <a:defRPr sz="132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63900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67872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1844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75815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9787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83758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9:40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887" name="Прямая соединительная линия 886"/>
            <p:cNvCxnSpPr/>
            <p:nvPr/>
          </p:nvCxnSpPr>
          <p:spPr>
            <a:xfrm>
              <a:off x="3057355" y="2247714"/>
              <a:ext cx="0" cy="58924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92" name="Группа 891"/>
          <p:cNvGrpSpPr/>
          <p:nvPr/>
        </p:nvGrpSpPr>
        <p:grpSpPr>
          <a:xfrm>
            <a:off x="3292741" y="2347913"/>
            <a:ext cx="534745" cy="252413"/>
            <a:chOff x="3485580" y="2247714"/>
            <a:chExt cx="494882" cy="252599"/>
          </a:xfrm>
        </p:grpSpPr>
        <p:sp>
          <p:nvSpPr>
            <p:cNvPr id="306" name="Текст 85"/>
            <p:cNvSpPr txBox="1">
              <a:spLocks/>
            </p:cNvSpPr>
            <p:nvPr/>
          </p:nvSpPr>
          <p:spPr>
            <a:xfrm>
              <a:off x="3485580" y="2298700"/>
              <a:ext cx="494882" cy="201613"/>
            </a:xfrm>
            <a:prstGeom prst="rect">
              <a:avLst/>
            </a:prstGeom>
            <a:noFill/>
          </p:spPr>
          <p:txBody>
            <a:bodyPr anchor="t"/>
            <a:lstStyle>
              <a:lvl1pPr marL="0" indent="0" algn="l" defTabSz="1007943" rtl="0" eaLnBrk="1" latinLnBrk="0" hangingPunct="1">
                <a:spcBef>
                  <a:spcPct val="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Wingdings" pitchFamily="2" charset="2"/>
                <a:buNone/>
                <a:defRPr lang="ru-RU" sz="2205" b="0" kern="1200" dirty="0">
                  <a:solidFill>
                    <a:schemeClr val="accent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99489" marR="0" indent="-199489" algn="l" defTabSz="1007943" rtl="0" eaLnBrk="1" fontAlgn="auto" latinLnBrk="0" hangingPunct="1">
                <a:lnSpc>
                  <a:spcPct val="100000"/>
                </a:lnSpc>
                <a:spcBef>
                  <a:spcPts val="1323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tabLst/>
                <a:defRPr sz="154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86729" indent="-187240" algn="l" defTabSz="1007943" rtl="0" eaLnBrk="1" latinLnBrk="0" hangingPunct="1">
                <a:spcBef>
                  <a:spcPts val="661"/>
                </a:spcBef>
                <a:buClr>
                  <a:schemeClr val="accent3"/>
                </a:buClr>
                <a:buFont typeface="Wingdings" pitchFamily="2" charset="2"/>
                <a:buChar char="§"/>
                <a:tabLst/>
                <a:defRPr sz="132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63900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67872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1844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75815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9787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83758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0:20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888" name="Прямая соединительная линия 887"/>
            <p:cNvCxnSpPr/>
            <p:nvPr/>
          </p:nvCxnSpPr>
          <p:spPr>
            <a:xfrm>
              <a:off x="3733021" y="2247714"/>
              <a:ext cx="0" cy="58924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8" name="Группа 947"/>
          <p:cNvGrpSpPr/>
          <p:nvPr/>
        </p:nvGrpSpPr>
        <p:grpSpPr>
          <a:xfrm>
            <a:off x="3929039" y="2347913"/>
            <a:ext cx="534745" cy="252413"/>
            <a:chOff x="4286317" y="2247714"/>
            <a:chExt cx="494882" cy="252599"/>
          </a:xfrm>
        </p:grpSpPr>
        <p:sp>
          <p:nvSpPr>
            <p:cNvPr id="313" name="Текст 85"/>
            <p:cNvSpPr txBox="1">
              <a:spLocks/>
            </p:cNvSpPr>
            <p:nvPr/>
          </p:nvSpPr>
          <p:spPr>
            <a:xfrm>
              <a:off x="4286317" y="2298700"/>
              <a:ext cx="494882" cy="201613"/>
            </a:xfrm>
            <a:prstGeom prst="rect">
              <a:avLst/>
            </a:prstGeom>
            <a:noFill/>
          </p:spPr>
          <p:txBody>
            <a:bodyPr anchor="t"/>
            <a:lstStyle>
              <a:lvl1pPr marL="0" indent="0" algn="l" defTabSz="1007943" rtl="0" eaLnBrk="1" latinLnBrk="0" hangingPunct="1">
                <a:spcBef>
                  <a:spcPct val="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Wingdings" pitchFamily="2" charset="2"/>
                <a:buNone/>
                <a:defRPr lang="ru-RU" sz="2205" b="0" kern="1200" dirty="0">
                  <a:solidFill>
                    <a:schemeClr val="accent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99489" marR="0" indent="-199489" algn="l" defTabSz="1007943" rtl="0" eaLnBrk="1" fontAlgn="auto" latinLnBrk="0" hangingPunct="1">
                <a:lnSpc>
                  <a:spcPct val="100000"/>
                </a:lnSpc>
                <a:spcBef>
                  <a:spcPts val="1323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tabLst/>
                <a:defRPr sz="154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86729" indent="-187240" algn="l" defTabSz="1007943" rtl="0" eaLnBrk="1" latinLnBrk="0" hangingPunct="1">
                <a:spcBef>
                  <a:spcPts val="661"/>
                </a:spcBef>
                <a:buClr>
                  <a:schemeClr val="accent3"/>
                </a:buClr>
                <a:buFont typeface="Wingdings" pitchFamily="2" charset="2"/>
                <a:buChar char="§"/>
                <a:tabLst/>
                <a:defRPr sz="132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63900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67872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1844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75815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9787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83758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1:50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889" name="Прямая соединительная линия 888"/>
            <p:cNvCxnSpPr/>
            <p:nvPr/>
          </p:nvCxnSpPr>
          <p:spPr>
            <a:xfrm>
              <a:off x="4533758" y="2247714"/>
              <a:ext cx="0" cy="58924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7" name="Группа 946"/>
          <p:cNvGrpSpPr/>
          <p:nvPr/>
        </p:nvGrpSpPr>
        <p:grpSpPr>
          <a:xfrm>
            <a:off x="5232186" y="2347913"/>
            <a:ext cx="534745" cy="252413"/>
            <a:chOff x="5703555" y="2247714"/>
            <a:chExt cx="494882" cy="252599"/>
          </a:xfrm>
        </p:grpSpPr>
        <p:sp>
          <p:nvSpPr>
            <p:cNvPr id="383" name="Текст 85"/>
            <p:cNvSpPr txBox="1">
              <a:spLocks/>
            </p:cNvSpPr>
            <p:nvPr/>
          </p:nvSpPr>
          <p:spPr>
            <a:xfrm>
              <a:off x="5703555" y="2298700"/>
              <a:ext cx="494882" cy="201613"/>
            </a:xfrm>
            <a:prstGeom prst="rect">
              <a:avLst/>
            </a:prstGeom>
            <a:noFill/>
          </p:spPr>
          <p:txBody>
            <a:bodyPr anchor="t"/>
            <a:lstStyle>
              <a:lvl1pPr marL="0" indent="0" algn="l" defTabSz="1007943" rtl="0" eaLnBrk="1" latinLnBrk="0" hangingPunct="1">
                <a:spcBef>
                  <a:spcPct val="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Wingdings" pitchFamily="2" charset="2"/>
                <a:buNone/>
                <a:defRPr lang="ru-RU" sz="2205" b="0" kern="1200" dirty="0">
                  <a:solidFill>
                    <a:schemeClr val="accent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99489" marR="0" indent="-199489" algn="l" defTabSz="1007943" rtl="0" eaLnBrk="1" fontAlgn="auto" latinLnBrk="0" hangingPunct="1">
                <a:lnSpc>
                  <a:spcPct val="100000"/>
                </a:lnSpc>
                <a:spcBef>
                  <a:spcPts val="1323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tabLst/>
                <a:defRPr sz="154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86729" indent="-187240" algn="l" defTabSz="1007943" rtl="0" eaLnBrk="1" latinLnBrk="0" hangingPunct="1">
                <a:spcBef>
                  <a:spcPts val="661"/>
                </a:spcBef>
                <a:buClr>
                  <a:schemeClr val="accent3"/>
                </a:buClr>
                <a:buFont typeface="Wingdings" pitchFamily="2" charset="2"/>
                <a:buChar char="§"/>
                <a:tabLst/>
                <a:defRPr sz="132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63900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67872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1844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75815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9787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83758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1:50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895" name="Прямая соединительная линия 894"/>
            <p:cNvCxnSpPr/>
            <p:nvPr/>
          </p:nvCxnSpPr>
          <p:spPr>
            <a:xfrm>
              <a:off x="5950996" y="2247714"/>
              <a:ext cx="0" cy="58924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6" name="Группа 945"/>
          <p:cNvGrpSpPr/>
          <p:nvPr/>
        </p:nvGrpSpPr>
        <p:grpSpPr>
          <a:xfrm>
            <a:off x="5879672" y="2347913"/>
            <a:ext cx="534745" cy="252413"/>
            <a:chOff x="6471462" y="2247714"/>
            <a:chExt cx="494882" cy="252599"/>
          </a:xfrm>
        </p:grpSpPr>
        <p:sp>
          <p:nvSpPr>
            <p:cNvPr id="380" name="Текст 85"/>
            <p:cNvSpPr txBox="1">
              <a:spLocks/>
            </p:cNvSpPr>
            <p:nvPr/>
          </p:nvSpPr>
          <p:spPr>
            <a:xfrm>
              <a:off x="6471462" y="2298700"/>
              <a:ext cx="494882" cy="201613"/>
            </a:xfrm>
            <a:prstGeom prst="rect">
              <a:avLst/>
            </a:prstGeom>
            <a:noFill/>
          </p:spPr>
          <p:txBody>
            <a:bodyPr anchor="t"/>
            <a:lstStyle>
              <a:lvl1pPr marL="0" indent="0" algn="l" defTabSz="1007943" rtl="0" eaLnBrk="1" latinLnBrk="0" hangingPunct="1">
                <a:spcBef>
                  <a:spcPct val="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Wingdings" pitchFamily="2" charset="2"/>
                <a:buNone/>
                <a:defRPr lang="ru-RU" sz="2205" b="0" kern="1200" dirty="0">
                  <a:solidFill>
                    <a:schemeClr val="accent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99489" marR="0" indent="-199489" algn="l" defTabSz="1007943" rtl="0" eaLnBrk="1" fontAlgn="auto" latinLnBrk="0" hangingPunct="1">
                <a:lnSpc>
                  <a:spcPct val="100000"/>
                </a:lnSpc>
                <a:spcBef>
                  <a:spcPts val="1323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tabLst/>
                <a:defRPr sz="154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86729" indent="-187240" algn="l" defTabSz="1007943" rtl="0" eaLnBrk="1" latinLnBrk="0" hangingPunct="1">
                <a:spcBef>
                  <a:spcPts val="661"/>
                </a:spcBef>
                <a:buClr>
                  <a:schemeClr val="accent3"/>
                </a:buClr>
                <a:buFont typeface="Wingdings" pitchFamily="2" charset="2"/>
                <a:buChar char="§"/>
                <a:tabLst/>
                <a:defRPr sz="132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63900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67872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1844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75815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9787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83758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kumimoji="0" lang="ru-RU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:50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943" name="Прямая соединительная линия 942"/>
            <p:cNvCxnSpPr/>
            <p:nvPr/>
          </p:nvCxnSpPr>
          <p:spPr>
            <a:xfrm>
              <a:off x="6718903" y="2247714"/>
              <a:ext cx="0" cy="58924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45" name="Группа 944"/>
          <p:cNvGrpSpPr/>
          <p:nvPr/>
        </p:nvGrpSpPr>
        <p:grpSpPr>
          <a:xfrm>
            <a:off x="7172568" y="2347913"/>
            <a:ext cx="534745" cy="252413"/>
            <a:chOff x="7936373" y="2247714"/>
            <a:chExt cx="494882" cy="252599"/>
          </a:xfrm>
        </p:grpSpPr>
        <p:sp>
          <p:nvSpPr>
            <p:cNvPr id="386" name="Текст 85"/>
            <p:cNvSpPr txBox="1">
              <a:spLocks/>
            </p:cNvSpPr>
            <p:nvPr/>
          </p:nvSpPr>
          <p:spPr>
            <a:xfrm>
              <a:off x="7936373" y="2298700"/>
              <a:ext cx="494882" cy="201613"/>
            </a:xfrm>
            <a:prstGeom prst="rect">
              <a:avLst/>
            </a:prstGeom>
            <a:noFill/>
          </p:spPr>
          <p:txBody>
            <a:bodyPr anchor="t"/>
            <a:lstStyle>
              <a:lvl1pPr marL="0" indent="0" algn="l" defTabSz="1007943" rtl="0" eaLnBrk="1" latinLnBrk="0" hangingPunct="1">
                <a:spcBef>
                  <a:spcPct val="0"/>
                </a:spcBef>
                <a:spcAft>
                  <a:spcPts val="0"/>
                </a:spcAft>
                <a:buClr>
                  <a:schemeClr val="accent1"/>
                </a:buClr>
                <a:buSzPct val="90000"/>
                <a:buFont typeface="Wingdings" pitchFamily="2" charset="2"/>
                <a:buNone/>
                <a:defRPr lang="ru-RU" sz="2205" b="0" kern="1200" dirty="0">
                  <a:solidFill>
                    <a:schemeClr val="accent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99489" marR="0" indent="-199489" algn="l" defTabSz="1007943" rtl="0" eaLnBrk="1" fontAlgn="auto" latinLnBrk="0" hangingPunct="1">
                <a:lnSpc>
                  <a:spcPct val="100000"/>
                </a:lnSpc>
                <a:spcBef>
                  <a:spcPts val="1323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tabLst/>
                <a:defRPr sz="154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86729" indent="-187240" algn="l" defTabSz="1007943" rtl="0" eaLnBrk="1" latinLnBrk="0" hangingPunct="1">
                <a:spcBef>
                  <a:spcPts val="661"/>
                </a:spcBef>
                <a:buClr>
                  <a:schemeClr val="accent3"/>
                </a:buClr>
                <a:buFont typeface="Wingdings" pitchFamily="2" charset="2"/>
                <a:buChar char="§"/>
                <a:tabLst/>
                <a:defRPr sz="132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63900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267872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9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71844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75815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779787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283758" indent="-251986" algn="l" defTabSz="1007943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2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07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9</a:t>
              </a: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:</a:t>
              </a:r>
              <a:r>
                <a:rPr kumimoji="0" lang="ru-RU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kumimoji="0" lang="en-US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944" name="Прямая соединительная линия 943"/>
            <p:cNvCxnSpPr/>
            <p:nvPr/>
          </p:nvCxnSpPr>
          <p:spPr>
            <a:xfrm>
              <a:off x="8183814" y="2247714"/>
              <a:ext cx="0" cy="58924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9" name="benzovoz"/>
          <p:cNvGrpSpPr>
            <a:grpSpLocks noChangeAspect="1"/>
          </p:cNvGrpSpPr>
          <p:nvPr/>
        </p:nvGrpSpPr>
        <p:grpSpPr>
          <a:xfrm>
            <a:off x="2145100" y="2725884"/>
            <a:ext cx="172817" cy="195263"/>
            <a:chOff x="5407025" y="3109913"/>
            <a:chExt cx="442913" cy="450850"/>
          </a:xfrm>
          <a:solidFill>
            <a:srgbClr val="009900"/>
          </a:solidFill>
        </p:grpSpPr>
        <p:sp>
          <p:nvSpPr>
            <p:cNvPr id="960" name="Freeform 404"/>
            <p:cNvSpPr>
              <a:spLocks noEditPoints="1"/>
            </p:cNvSpPr>
            <p:nvPr/>
          </p:nvSpPr>
          <p:spPr bwMode="auto">
            <a:xfrm>
              <a:off x="5407025" y="3109913"/>
              <a:ext cx="442913" cy="450850"/>
            </a:xfrm>
            <a:custGeom>
              <a:avLst/>
              <a:gdLst>
                <a:gd name="T0" fmla="*/ 538 w 1119"/>
                <a:gd name="T1" fmla="*/ 49 h 1137"/>
                <a:gd name="T2" fmla="*/ 971 w 1119"/>
                <a:gd name="T3" fmla="*/ 537 h 1137"/>
                <a:gd name="T4" fmla="*/ 950 w 1119"/>
                <a:gd name="T5" fmla="*/ 447 h 1137"/>
                <a:gd name="T6" fmla="*/ 950 w 1119"/>
                <a:gd name="T7" fmla="*/ 332 h 1137"/>
                <a:gd name="T8" fmla="*/ 832 w 1119"/>
                <a:gd name="T9" fmla="*/ 172 h 1137"/>
                <a:gd name="T10" fmla="*/ 653 w 1119"/>
                <a:gd name="T11" fmla="*/ 83 h 1137"/>
                <a:gd name="T12" fmla="*/ 447 w 1119"/>
                <a:gd name="T13" fmla="*/ 87 h 1137"/>
                <a:gd name="T14" fmla="*/ 272 w 1119"/>
                <a:gd name="T15" fmla="*/ 184 h 1137"/>
                <a:gd name="T16" fmla="*/ 159 w 1119"/>
                <a:gd name="T17" fmla="*/ 349 h 1137"/>
                <a:gd name="T18" fmla="*/ 170 w 1119"/>
                <a:gd name="T19" fmla="*/ 453 h 1137"/>
                <a:gd name="T20" fmla="*/ 184 w 1119"/>
                <a:gd name="T21" fmla="*/ 566 h 1137"/>
                <a:gd name="T22" fmla="*/ 267 w 1119"/>
                <a:gd name="T23" fmla="*/ 297 h 1137"/>
                <a:gd name="T24" fmla="*/ 891 w 1119"/>
                <a:gd name="T25" fmla="*/ 345 h 1137"/>
                <a:gd name="T26" fmla="*/ 963 w 1119"/>
                <a:gd name="T27" fmla="*/ 632 h 1137"/>
                <a:gd name="T28" fmla="*/ 974 w 1119"/>
                <a:gd name="T29" fmla="*/ 508 h 1137"/>
                <a:gd name="T30" fmla="*/ 1095 w 1119"/>
                <a:gd name="T31" fmla="*/ 501 h 1137"/>
                <a:gd name="T32" fmla="*/ 991 w 1119"/>
                <a:gd name="T33" fmla="*/ 445 h 1137"/>
                <a:gd name="T34" fmla="*/ 934 w 1119"/>
                <a:gd name="T35" fmla="*/ 746 h 1137"/>
                <a:gd name="T36" fmla="*/ 954 w 1119"/>
                <a:gd name="T37" fmla="*/ 1021 h 1137"/>
                <a:gd name="T38" fmla="*/ 829 w 1119"/>
                <a:gd name="T39" fmla="*/ 1137 h 1137"/>
                <a:gd name="T40" fmla="*/ 422 w 1119"/>
                <a:gd name="T41" fmla="*/ 1021 h 1137"/>
                <a:gd name="T42" fmla="*/ 241 w 1119"/>
                <a:gd name="T43" fmla="*/ 1137 h 1137"/>
                <a:gd name="T44" fmla="*/ 158 w 1119"/>
                <a:gd name="T45" fmla="*/ 1020 h 1137"/>
                <a:gd name="T46" fmla="*/ 170 w 1119"/>
                <a:gd name="T47" fmla="*/ 724 h 1137"/>
                <a:gd name="T48" fmla="*/ 17 w 1119"/>
                <a:gd name="T49" fmla="*/ 534 h 1137"/>
                <a:gd name="T50" fmla="*/ 17 w 1119"/>
                <a:gd name="T51" fmla="*/ 428 h 1137"/>
                <a:gd name="T52" fmla="*/ 191 w 1119"/>
                <a:gd name="T53" fmla="*/ 241 h 1137"/>
                <a:gd name="T54" fmla="*/ 382 w 1119"/>
                <a:gd name="T55" fmla="*/ 6 h 1137"/>
                <a:gd name="T56" fmla="*/ 786 w 1119"/>
                <a:gd name="T57" fmla="*/ 110 h 1137"/>
                <a:gd name="T58" fmla="*/ 979 w 1119"/>
                <a:gd name="T59" fmla="*/ 338 h 1137"/>
                <a:gd name="T60" fmla="*/ 1117 w 1119"/>
                <a:gd name="T61" fmla="*/ 451 h 1137"/>
                <a:gd name="T62" fmla="*/ 184 w 1119"/>
                <a:gd name="T63" fmla="*/ 596 h 1137"/>
                <a:gd name="T64" fmla="*/ 184 w 1119"/>
                <a:gd name="T65" fmla="*/ 596 h 1137"/>
                <a:gd name="T66" fmla="*/ 121 w 1119"/>
                <a:gd name="T67" fmla="*/ 517 h 1137"/>
                <a:gd name="T68" fmla="*/ 137 w 1119"/>
                <a:gd name="T69" fmla="*/ 446 h 1137"/>
                <a:gd name="T70" fmla="*/ 415 w 1119"/>
                <a:gd name="T71" fmla="*/ 940 h 1137"/>
                <a:gd name="T72" fmla="*/ 799 w 1119"/>
                <a:gd name="T73" fmla="*/ 996 h 1137"/>
                <a:gd name="T74" fmla="*/ 766 w 1119"/>
                <a:gd name="T75" fmla="*/ 887 h 1137"/>
                <a:gd name="T76" fmla="*/ 318 w 1119"/>
                <a:gd name="T77" fmla="*/ 996 h 1137"/>
                <a:gd name="T78" fmla="*/ 441 w 1119"/>
                <a:gd name="T79" fmla="*/ 796 h 1137"/>
                <a:gd name="T80" fmla="*/ 674 w 1119"/>
                <a:gd name="T81" fmla="*/ 734 h 1137"/>
                <a:gd name="T82" fmla="*/ 415 w 1119"/>
                <a:gd name="T83" fmla="*/ 795 h 1137"/>
                <a:gd name="T84" fmla="*/ 670 w 1119"/>
                <a:gd name="T85" fmla="*/ 711 h 1137"/>
                <a:gd name="T86" fmla="*/ 701 w 1119"/>
                <a:gd name="T87" fmla="*/ 801 h 1137"/>
                <a:gd name="T88" fmla="*/ 812 w 1119"/>
                <a:gd name="T89" fmla="*/ 1101 h 1137"/>
                <a:gd name="T90" fmla="*/ 890 w 1119"/>
                <a:gd name="T91" fmla="*/ 1107 h 1137"/>
                <a:gd name="T92" fmla="*/ 225 w 1119"/>
                <a:gd name="T93" fmla="*/ 1104 h 1137"/>
                <a:gd name="T94" fmla="*/ 304 w 1119"/>
                <a:gd name="T95" fmla="*/ 1104 h 1137"/>
                <a:gd name="T96" fmla="*/ 796 w 1119"/>
                <a:gd name="T97" fmla="*/ 822 h 1137"/>
                <a:gd name="T98" fmla="*/ 830 w 1119"/>
                <a:gd name="T99" fmla="*/ 318 h 1137"/>
                <a:gd name="T100" fmla="*/ 245 w 1119"/>
                <a:gd name="T101" fmla="*/ 371 h 1137"/>
                <a:gd name="T102" fmla="*/ 286 w 1119"/>
                <a:gd name="T103" fmla="*/ 546 h 1137"/>
                <a:gd name="T104" fmla="*/ 816 w 1119"/>
                <a:gd name="T105" fmla="*/ 579 h 1137"/>
                <a:gd name="T106" fmla="*/ 800 w 1119"/>
                <a:gd name="T107" fmla="*/ 378 h 1137"/>
                <a:gd name="T108" fmla="*/ 274 w 1119"/>
                <a:gd name="T109" fmla="*/ 588 h 1137"/>
                <a:gd name="T110" fmla="*/ 301 w 1119"/>
                <a:gd name="T111" fmla="*/ 361 h 1137"/>
                <a:gd name="T112" fmla="*/ 824 w 1119"/>
                <a:gd name="T113" fmla="*/ 372 h 1137"/>
                <a:gd name="T114" fmla="*/ 837 w 1119"/>
                <a:gd name="T115" fmla="*/ 596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9" h="1137">
                  <a:moveTo>
                    <a:pt x="712" y="75"/>
                  </a:moveTo>
                  <a:lnTo>
                    <a:pt x="712" y="24"/>
                  </a:lnTo>
                  <a:lnTo>
                    <a:pt x="405" y="24"/>
                  </a:lnTo>
                  <a:lnTo>
                    <a:pt x="405" y="75"/>
                  </a:lnTo>
                  <a:lnTo>
                    <a:pt x="424" y="70"/>
                  </a:lnTo>
                  <a:lnTo>
                    <a:pt x="442" y="63"/>
                  </a:lnTo>
                  <a:lnTo>
                    <a:pt x="461" y="59"/>
                  </a:lnTo>
                  <a:lnTo>
                    <a:pt x="480" y="55"/>
                  </a:lnTo>
                  <a:lnTo>
                    <a:pt x="499" y="51"/>
                  </a:lnTo>
                  <a:lnTo>
                    <a:pt x="518" y="50"/>
                  </a:lnTo>
                  <a:lnTo>
                    <a:pt x="538" y="49"/>
                  </a:lnTo>
                  <a:lnTo>
                    <a:pt x="558" y="47"/>
                  </a:lnTo>
                  <a:lnTo>
                    <a:pt x="579" y="49"/>
                  </a:lnTo>
                  <a:lnTo>
                    <a:pt x="599" y="50"/>
                  </a:lnTo>
                  <a:lnTo>
                    <a:pt x="618" y="51"/>
                  </a:lnTo>
                  <a:lnTo>
                    <a:pt x="637" y="55"/>
                  </a:lnTo>
                  <a:lnTo>
                    <a:pt x="657" y="59"/>
                  </a:lnTo>
                  <a:lnTo>
                    <a:pt x="675" y="63"/>
                  </a:lnTo>
                  <a:lnTo>
                    <a:pt x="694" y="70"/>
                  </a:lnTo>
                  <a:lnTo>
                    <a:pt x="712" y="75"/>
                  </a:lnTo>
                  <a:close/>
                  <a:moveTo>
                    <a:pt x="934" y="566"/>
                  </a:moveTo>
                  <a:lnTo>
                    <a:pt x="971" y="537"/>
                  </a:lnTo>
                  <a:lnTo>
                    <a:pt x="967" y="534"/>
                  </a:lnTo>
                  <a:lnTo>
                    <a:pt x="962" y="532"/>
                  </a:lnTo>
                  <a:lnTo>
                    <a:pt x="958" y="528"/>
                  </a:lnTo>
                  <a:lnTo>
                    <a:pt x="955" y="522"/>
                  </a:lnTo>
                  <a:lnTo>
                    <a:pt x="953" y="518"/>
                  </a:lnTo>
                  <a:lnTo>
                    <a:pt x="950" y="513"/>
                  </a:lnTo>
                  <a:lnTo>
                    <a:pt x="949" y="507"/>
                  </a:lnTo>
                  <a:lnTo>
                    <a:pt x="949" y="501"/>
                  </a:lnTo>
                  <a:lnTo>
                    <a:pt x="949" y="459"/>
                  </a:lnTo>
                  <a:lnTo>
                    <a:pt x="949" y="453"/>
                  </a:lnTo>
                  <a:lnTo>
                    <a:pt x="950" y="447"/>
                  </a:lnTo>
                  <a:lnTo>
                    <a:pt x="953" y="441"/>
                  </a:lnTo>
                  <a:lnTo>
                    <a:pt x="957" y="436"/>
                  </a:lnTo>
                  <a:lnTo>
                    <a:pt x="961" y="432"/>
                  </a:lnTo>
                  <a:lnTo>
                    <a:pt x="966" y="428"/>
                  </a:lnTo>
                  <a:lnTo>
                    <a:pt x="971" y="424"/>
                  </a:lnTo>
                  <a:lnTo>
                    <a:pt x="978" y="422"/>
                  </a:lnTo>
                  <a:lnTo>
                    <a:pt x="974" y="403"/>
                  </a:lnTo>
                  <a:lnTo>
                    <a:pt x="969" y="384"/>
                  </a:lnTo>
                  <a:lnTo>
                    <a:pt x="963" y="367"/>
                  </a:lnTo>
                  <a:lnTo>
                    <a:pt x="958" y="349"/>
                  </a:lnTo>
                  <a:lnTo>
                    <a:pt x="950" y="332"/>
                  </a:lnTo>
                  <a:lnTo>
                    <a:pt x="944" y="316"/>
                  </a:lnTo>
                  <a:lnTo>
                    <a:pt x="934" y="299"/>
                  </a:lnTo>
                  <a:lnTo>
                    <a:pt x="925" y="283"/>
                  </a:lnTo>
                  <a:lnTo>
                    <a:pt x="916" y="267"/>
                  </a:lnTo>
                  <a:lnTo>
                    <a:pt x="905" y="253"/>
                  </a:lnTo>
                  <a:lnTo>
                    <a:pt x="895" y="237"/>
                  </a:lnTo>
                  <a:lnTo>
                    <a:pt x="883" y="224"/>
                  </a:lnTo>
                  <a:lnTo>
                    <a:pt x="871" y="209"/>
                  </a:lnTo>
                  <a:lnTo>
                    <a:pt x="858" y="196"/>
                  </a:lnTo>
                  <a:lnTo>
                    <a:pt x="845" y="184"/>
                  </a:lnTo>
                  <a:lnTo>
                    <a:pt x="832" y="172"/>
                  </a:lnTo>
                  <a:lnTo>
                    <a:pt x="817" y="160"/>
                  </a:lnTo>
                  <a:lnTo>
                    <a:pt x="803" y="150"/>
                  </a:lnTo>
                  <a:lnTo>
                    <a:pt x="787" y="139"/>
                  </a:lnTo>
                  <a:lnTo>
                    <a:pt x="771" y="130"/>
                  </a:lnTo>
                  <a:lnTo>
                    <a:pt x="755" y="121"/>
                  </a:lnTo>
                  <a:lnTo>
                    <a:pt x="740" y="113"/>
                  </a:lnTo>
                  <a:lnTo>
                    <a:pt x="722" y="105"/>
                  </a:lnTo>
                  <a:lnTo>
                    <a:pt x="705" y="99"/>
                  </a:lnTo>
                  <a:lnTo>
                    <a:pt x="688" y="92"/>
                  </a:lnTo>
                  <a:lnTo>
                    <a:pt x="670" y="87"/>
                  </a:lnTo>
                  <a:lnTo>
                    <a:pt x="653" y="83"/>
                  </a:lnTo>
                  <a:lnTo>
                    <a:pt x="634" y="79"/>
                  </a:lnTo>
                  <a:lnTo>
                    <a:pt x="616" y="76"/>
                  </a:lnTo>
                  <a:lnTo>
                    <a:pt x="596" y="74"/>
                  </a:lnTo>
                  <a:lnTo>
                    <a:pt x="578" y="72"/>
                  </a:lnTo>
                  <a:lnTo>
                    <a:pt x="558" y="72"/>
                  </a:lnTo>
                  <a:lnTo>
                    <a:pt x="540" y="72"/>
                  </a:lnTo>
                  <a:lnTo>
                    <a:pt x="521" y="74"/>
                  </a:lnTo>
                  <a:lnTo>
                    <a:pt x="501" y="76"/>
                  </a:lnTo>
                  <a:lnTo>
                    <a:pt x="483" y="79"/>
                  </a:lnTo>
                  <a:lnTo>
                    <a:pt x="465" y="83"/>
                  </a:lnTo>
                  <a:lnTo>
                    <a:pt x="447" y="87"/>
                  </a:lnTo>
                  <a:lnTo>
                    <a:pt x="429" y="92"/>
                  </a:lnTo>
                  <a:lnTo>
                    <a:pt x="412" y="99"/>
                  </a:lnTo>
                  <a:lnTo>
                    <a:pt x="395" y="105"/>
                  </a:lnTo>
                  <a:lnTo>
                    <a:pt x="378" y="113"/>
                  </a:lnTo>
                  <a:lnTo>
                    <a:pt x="362" y="121"/>
                  </a:lnTo>
                  <a:lnTo>
                    <a:pt x="346" y="130"/>
                  </a:lnTo>
                  <a:lnTo>
                    <a:pt x="330" y="139"/>
                  </a:lnTo>
                  <a:lnTo>
                    <a:pt x="314" y="150"/>
                  </a:lnTo>
                  <a:lnTo>
                    <a:pt x="300" y="160"/>
                  </a:lnTo>
                  <a:lnTo>
                    <a:pt x="286" y="172"/>
                  </a:lnTo>
                  <a:lnTo>
                    <a:pt x="272" y="184"/>
                  </a:lnTo>
                  <a:lnTo>
                    <a:pt x="259" y="196"/>
                  </a:lnTo>
                  <a:lnTo>
                    <a:pt x="246" y="209"/>
                  </a:lnTo>
                  <a:lnTo>
                    <a:pt x="234" y="224"/>
                  </a:lnTo>
                  <a:lnTo>
                    <a:pt x="222" y="237"/>
                  </a:lnTo>
                  <a:lnTo>
                    <a:pt x="212" y="251"/>
                  </a:lnTo>
                  <a:lnTo>
                    <a:pt x="201" y="267"/>
                  </a:lnTo>
                  <a:lnTo>
                    <a:pt x="192" y="283"/>
                  </a:lnTo>
                  <a:lnTo>
                    <a:pt x="183" y="299"/>
                  </a:lnTo>
                  <a:lnTo>
                    <a:pt x="175" y="314"/>
                  </a:lnTo>
                  <a:lnTo>
                    <a:pt x="167" y="332"/>
                  </a:lnTo>
                  <a:lnTo>
                    <a:pt x="159" y="349"/>
                  </a:lnTo>
                  <a:lnTo>
                    <a:pt x="154" y="367"/>
                  </a:lnTo>
                  <a:lnTo>
                    <a:pt x="149" y="384"/>
                  </a:lnTo>
                  <a:lnTo>
                    <a:pt x="143" y="403"/>
                  </a:lnTo>
                  <a:lnTo>
                    <a:pt x="139" y="421"/>
                  </a:lnTo>
                  <a:lnTo>
                    <a:pt x="146" y="424"/>
                  </a:lnTo>
                  <a:lnTo>
                    <a:pt x="151" y="426"/>
                  </a:lnTo>
                  <a:lnTo>
                    <a:pt x="157" y="430"/>
                  </a:lnTo>
                  <a:lnTo>
                    <a:pt x="162" y="436"/>
                  </a:lnTo>
                  <a:lnTo>
                    <a:pt x="164" y="441"/>
                  </a:lnTo>
                  <a:lnTo>
                    <a:pt x="167" y="446"/>
                  </a:lnTo>
                  <a:lnTo>
                    <a:pt x="170" y="453"/>
                  </a:lnTo>
                  <a:lnTo>
                    <a:pt x="170" y="459"/>
                  </a:lnTo>
                  <a:lnTo>
                    <a:pt x="170" y="501"/>
                  </a:lnTo>
                  <a:lnTo>
                    <a:pt x="170" y="507"/>
                  </a:lnTo>
                  <a:lnTo>
                    <a:pt x="168" y="513"/>
                  </a:lnTo>
                  <a:lnTo>
                    <a:pt x="166" y="518"/>
                  </a:lnTo>
                  <a:lnTo>
                    <a:pt x="163" y="522"/>
                  </a:lnTo>
                  <a:lnTo>
                    <a:pt x="161" y="528"/>
                  </a:lnTo>
                  <a:lnTo>
                    <a:pt x="157" y="532"/>
                  </a:lnTo>
                  <a:lnTo>
                    <a:pt x="151" y="534"/>
                  </a:lnTo>
                  <a:lnTo>
                    <a:pt x="147" y="537"/>
                  </a:lnTo>
                  <a:lnTo>
                    <a:pt x="184" y="566"/>
                  </a:lnTo>
                  <a:lnTo>
                    <a:pt x="184" y="566"/>
                  </a:lnTo>
                  <a:lnTo>
                    <a:pt x="221" y="367"/>
                  </a:lnTo>
                  <a:lnTo>
                    <a:pt x="225" y="347"/>
                  </a:lnTo>
                  <a:lnTo>
                    <a:pt x="230" y="332"/>
                  </a:lnTo>
                  <a:lnTo>
                    <a:pt x="234" y="324"/>
                  </a:lnTo>
                  <a:lnTo>
                    <a:pt x="238" y="318"/>
                  </a:lnTo>
                  <a:lnTo>
                    <a:pt x="243" y="312"/>
                  </a:lnTo>
                  <a:lnTo>
                    <a:pt x="247" y="308"/>
                  </a:lnTo>
                  <a:lnTo>
                    <a:pt x="254" y="304"/>
                  </a:lnTo>
                  <a:lnTo>
                    <a:pt x="259" y="300"/>
                  </a:lnTo>
                  <a:lnTo>
                    <a:pt x="267" y="297"/>
                  </a:lnTo>
                  <a:lnTo>
                    <a:pt x="274" y="295"/>
                  </a:lnTo>
                  <a:lnTo>
                    <a:pt x="291" y="292"/>
                  </a:lnTo>
                  <a:lnTo>
                    <a:pt x="312" y="291"/>
                  </a:lnTo>
                  <a:lnTo>
                    <a:pt x="807" y="291"/>
                  </a:lnTo>
                  <a:lnTo>
                    <a:pt x="824" y="293"/>
                  </a:lnTo>
                  <a:lnTo>
                    <a:pt x="840" y="296"/>
                  </a:lnTo>
                  <a:lnTo>
                    <a:pt x="853" y="303"/>
                  </a:lnTo>
                  <a:lnTo>
                    <a:pt x="865" y="309"/>
                  </a:lnTo>
                  <a:lnTo>
                    <a:pt x="875" y="320"/>
                  </a:lnTo>
                  <a:lnTo>
                    <a:pt x="884" y="330"/>
                  </a:lnTo>
                  <a:lnTo>
                    <a:pt x="891" y="345"/>
                  </a:lnTo>
                  <a:lnTo>
                    <a:pt x="896" y="361"/>
                  </a:lnTo>
                  <a:lnTo>
                    <a:pt x="934" y="563"/>
                  </a:lnTo>
                  <a:lnTo>
                    <a:pt x="934" y="566"/>
                  </a:lnTo>
                  <a:close/>
                  <a:moveTo>
                    <a:pt x="980" y="561"/>
                  </a:moveTo>
                  <a:lnTo>
                    <a:pt x="934" y="595"/>
                  </a:lnTo>
                  <a:lnTo>
                    <a:pt x="934" y="596"/>
                  </a:lnTo>
                  <a:lnTo>
                    <a:pt x="934" y="699"/>
                  </a:lnTo>
                  <a:lnTo>
                    <a:pt x="942" y="683"/>
                  </a:lnTo>
                  <a:lnTo>
                    <a:pt x="950" y="666"/>
                  </a:lnTo>
                  <a:lnTo>
                    <a:pt x="957" y="649"/>
                  </a:lnTo>
                  <a:lnTo>
                    <a:pt x="963" y="632"/>
                  </a:lnTo>
                  <a:lnTo>
                    <a:pt x="969" y="614"/>
                  </a:lnTo>
                  <a:lnTo>
                    <a:pt x="972" y="597"/>
                  </a:lnTo>
                  <a:lnTo>
                    <a:pt x="976" y="579"/>
                  </a:lnTo>
                  <a:lnTo>
                    <a:pt x="980" y="561"/>
                  </a:lnTo>
                  <a:close/>
                  <a:moveTo>
                    <a:pt x="988" y="445"/>
                  </a:moveTo>
                  <a:lnTo>
                    <a:pt x="982" y="446"/>
                  </a:lnTo>
                  <a:lnTo>
                    <a:pt x="976" y="449"/>
                  </a:lnTo>
                  <a:lnTo>
                    <a:pt x="974" y="454"/>
                  </a:lnTo>
                  <a:lnTo>
                    <a:pt x="972" y="459"/>
                  </a:lnTo>
                  <a:lnTo>
                    <a:pt x="972" y="501"/>
                  </a:lnTo>
                  <a:lnTo>
                    <a:pt x="974" y="508"/>
                  </a:lnTo>
                  <a:lnTo>
                    <a:pt x="976" y="512"/>
                  </a:lnTo>
                  <a:lnTo>
                    <a:pt x="982" y="516"/>
                  </a:lnTo>
                  <a:lnTo>
                    <a:pt x="988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6" y="517"/>
                  </a:lnTo>
                  <a:lnTo>
                    <a:pt x="1079" y="517"/>
                  </a:lnTo>
                  <a:lnTo>
                    <a:pt x="1086" y="516"/>
                  </a:lnTo>
                  <a:lnTo>
                    <a:pt x="1090" y="512"/>
                  </a:lnTo>
                  <a:lnTo>
                    <a:pt x="1094" y="508"/>
                  </a:lnTo>
                  <a:lnTo>
                    <a:pt x="1095" y="501"/>
                  </a:lnTo>
                  <a:lnTo>
                    <a:pt x="1095" y="459"/>
                  </a:lnTo>
                  <a:lnTo>
                    <a:pt x="1094" y="454"/>
                  </a:lnTo>
                  <a:lnTo>
                    <a:pt x="1090" y="449"/>
                  </a:lnTo>
                  <a:lnTo>
                    <a:pt x="1086" y="446"/>
                  </a:lnTo>
                  <a:lnTo>
                    <a:pt x="1079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1" y="445"/>
                  </a:lnTo>
                  <a:lnTo>
                    <a:pt x="991" y="445"/>
                  </a:lnTo>
                  <a:lnTo>
                    <a:pt x="988" y="445"/>
                  </a:lnTo>
                  <a:close/>
                  <a:moveTo>
                    <a:pt x="1079" y="541"/>
                  </a:moveTo>
                  <a:lnTo>
                    <a:pt x="1007" y="541"/>
                  </a:lnTo>
                  <a:lnTo>
                    <a:pt x="1003" y="568"/>
                  </a:lnTo>
                  <a:lnTo>
                    <a:pt x="997" y="595"/>
                  </a:lnTo>
                  <a:lnTo>
                    <a:pt x="991" y="621"/>
                  </a:lnTo>
                  <a:lnTo>
                    <a:pt x="983" y="647"/>
                  </a:lnTo>
                  <a:lnTo>
                    <a:pt x="974" y="674"/>
                  </a:lnTo>
                  <a:lnTo>
                    <a:pt x="962" y="699"/>
                  </a:lnTo>
                  <a:lnTo>
                    <a:pt x="949" y="722"/>
                  </a:lnTo>
                  <a:lnTo>
                    <a:pt x="934" y="746"/>
                  </a:lnTo>
                  <a:lnTo>
                    <a:pt x="934" y="817"/>
                  </a:lnTo>
                  <a:lnTo>
                    <a:pt x="954" y="817"/>
                  </a:lnTo>
                  <a:lnTo>
                    <a:pt x="959" y="818"/>
                  </a:lnTo>
                  <a:lnTo>
                    <a:pt x="963" y="821"/>
                  </a:lnTo>
                  <a:lnTo>
                    <a:pt x="966" y="825"/>
                  </a:lnTo>
                  <a:lnTo>
                    <a:pt x="966" y="829"/>
                  </a:lnTo>
                  <a:lnTo>
                    <a:pt x="966" y="1008"/>
                  </a:lnTo>
                  <a:lnTo>
                    <a:pt x="966" y="1013"/>
                  </a:lnTo>
                  <a:lnTo>
                    <a:pt x="963" y="1017"/>
                  </a:lnTo>
                  <a:lnTo>
                    <a:pt x="959" y="1020"/>
                  </a:lnTo>
                  <a:lnTo>
                    <a:pt x="954" y="1021"/>
                  </a:lnTo>
                  <a:lnTo>
                    <a:pt x="919" y="1021"/>
                  </a:lnTo>
                  <a:lnTo>
                    <a:pt x="919" y="1095"/>
                  </a:lnTo>
                  <a:lnTo>
                    <a:pt x="919" y="1103"/>
                  </a:lnTo>
                  <a:lnTo>
                    <a:pt x="916" y="1111"/>
                  </a:lnTo>
                  <a:lnTo>
                    <a:pt x="912" y="1119"/>
                  </a:lnTo>
                  <a:lnTo>
                    <a:pt x="907" y="1124"/>
                  </a:lnTo>
                  <a:lnTo>
                    <a:pt x="900" y="1129"/>
                  </a:lnTo>
                  <a:lnTo>
                    <a:pt x="894" y="1133"/>
                  </a:lnTo>
                  <a:lnTo>
                    <a:pt x="886" y="1136"/>
                  </a:lnTo>
                  <a:lnTo>
                    <a:pt x="876" y="1137"/>
                  </a:lnTo>
                  <a:lnTo>
                    <a:pt x="829" y="1137"/>
                  </a:lnTo>
                  <a:lnTo>
                    <a:pt x="821" y="1136"/>
                  </a:lnTo>
                  <a:lnTo>
                    <a:pt x="812" y="1133"/>
                  </a:lnTo>
                  <a:lnTo>
                    <a:pt x="805" y="1129"/>
                  </a:lnTo>
                  <a:lnTo>
                    <a:pt x="799" y="1124"/>
                  </a:lnTo>
                  <a:lnTo>
                    <a:pt x="794" y="1119"/>
                  </a:lnTo>
                  <a:lnTo>
                    <a:pt x="790" y="1111"/>
                  </a:lnTo>
                  <a:lnTo>
                    <a:pt x="788" y="1103"/>
                  </a:lnTo>
                  <a:lnTo>
                    <a:pt x="787" y="1095"/>
                  </a:lnTo>
                  <a:lnTo>
                    <a:pt x="787" y="1021"/>
                  </a:lnTo>
                  <a:lnTo>
                    <a:pt x="695" y="1021"/>
                  </a:lnTo>
                  <a:lnTo>
                    <a:pt x="422" y="1021"/>
                  </a:lnTo>
                  <a:lnTo>
                    <a:pt x="330" y="1021"/>
                  </a:lnTo>
                  <a:lnTo>
                    <a:pt x="330" y="1095"/>
                  </a:lnTo>
                  <a:lnTo>
                    <a:pt x="330" y="1103"/>
                  </a:lnTo>
                  <a:lnTo>
                    <a:pt x="328" y="1111"/>
                  </a:lnTo>
                  <a:lnTo>
                    <a:pt x="324" y="1119"/>
                  </a:lnTo>
                  <a:lnTo>
                    <a:pt x="318" y="1124"/>
                  </a:lnTo>
                  <a:lnTo>
                    <a:pt x="312" y="1129"/>
                  </a:lnTo>
                  <a:lnTo>
                    <a:pt x="305" y="1133"/>
                  </a:lnTo>
                  <a:lnTo>
                    <a:pt x="297" y="1136"/>
                  </a:lnTo>
                  <a:lnTo>
                    <a:pt x="288" y="1137"/>
                  </a:lnTo>
                  <a:lnTo>
                    <a:pt x="241" y="1137"/>
                  </a:lnTo>
                  <a:lnTo>
                    <a:pt x="233" y="1136"/>
                  </a:lnTo>
                  <a:lnTo>
                    <a:pt x="224" y="1133"/>
                  </a:lnTo>
                  <a:lnTo>
                    <a:pt x="217" y="1129"/>
                  </a:lnTo>
                  <a:lnTo>
                    <a:pt x="211" y="1124"/>
                  </a:lnTo>
                  <a:lnTo>
                    <a:pt x="205" y="1119"/>
                  </a:lnTo>
                  <a:lnTo>
                    <a:pt x="201" y="1111"/>
                  </a:lnTo>
                  <a:lnTo>
                    <a:pt x="199" y="1103"/>
                  </a:lnTo>
                  <a:lnTo>
                    <a:pt x="199" y="1095"/>
                  </a:lnTo>
                  <a:lnTo>
                    <a:pt x="199" y="1021"/>
                  </a:lnTo>
                  <a:lnTo>
                    <a:pt x="163" y="1021"/>
                  </a:lnTo>
                  <a:lnTo>
                    <a:pt x="158" y="1020"/>
                  </a:lnTo>
                  <a:lnTo>
                    <a:pt x="154" y="1017"/>
                  </a:lnTo>
                  <a:lnTo>
                    <a:pt x="151" y="1013"/>
                  </a:lnTo>
                  <a:lnTo>
                    <a:pt x="151" y="1008"/>
                  </a:lnTo>
                  <a:lnTo>
                    <a:pt x="151" y="829"/>
                  </a:lnTo>
                  <a:lnTo>
                    <a:pt x="151" y="825"/>
                  </a:lnTo>
                  <a:lnTo>
                    <a:pt x="154" y="821"/>
                  </a:lnTo>
                  <a:lnTo>
                    <a:pt x="158" y="818"/>
                  </a:lnTo>
                  <a:lnTo>
                    <a:pt x="163" y="817"/>
                  </a:lnTo>
                  <a:lnTo>
                    <a:pt x="184" y="817"/>
                  </a:lnTo>
                  <a:lnTo>
                    <a:pt x="184" y="747"/>
                  </a:lnTo>
                  <a:lnTo>
                    <a:pt x="170" y="724"/>
                  </a:lnTo>
                  <a:lnTo>
                    <a:pt x="157" y="700"/>
                  </a:lnTo>
                  <a:lnTo>
                    <a:pt x="145" y="675"/>
                  </a:lnTo>
                  <a:lnTo>
                    <a:pt x="134" y="649"/>
                  </a:lnTo>
                  <a:lnTo>
                    <a:pt x="126" y="622"/>
                  </a:lnTo>
                  <a:lnTo>
                    <a:pt x="120" y="596"/>
                  </a:lnTo>
                  <a:lnTo>
                    <a:pt x="114" y="568"/>
                  </a:lnTo>
                  <a:lnTo>
                    <a:pt x="111" y="541"/>
                  </a:lnTo>
                  <a:lnTo>
                    <a:pt x="39" y="541"/>
                  </a:lnTo>
                  <a:lnTo>
                    <a:pt x="32" y="539"/>
                  </a:lnTo>
                  <a:lnTo>
                    <a:pt x="24" y="538"/>
                  </a:lnTo>
                  <a:lnTo>
                    <a:pt x="17" y="534"/>
                  </a:lnTo>
                  <a:lnTo>
                    <a:pt x="12" y="529"/>
                  </a:lnTo>
                  <a:lnTo>
                    <a:pt x="7" y="524"/>
                  </a:lnTo>
                  <a:lnTo>
                    <a:pt x="3" y="517"/>
                  </a:lnTo>
                  <a:lnTo>
                    <a:pt x="1" y="509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1" y="451"/>
                  </a:lnTo>
                  <a:lnTo>
                    <a:pt x="3" y="445"/>
                  </a:lnTo>
                  <a:lnTo>
                    <a:pt x="7" y="438"/>
                  </a:lnTo>
                  <a:lnTo>
                    <a:pt x="12" y="432"/>
                  </a:lnTo>
                  <a:lnTo>
                    <a:pt x="17" y="428"/>
                  </a:lnTo>
                  <a:lnTo>
                    <a:pt x="24" y="424"/>
                  </a:lnTo>
                  <a:lnTo>
                    <a:pt x="32" y="421"/>
                  </a:lnTo>
                  <a:lnTo>
                    <a:pt x="39" y="420"/>
                  </a:lnTo>
                  <a:lnTo>
                    <a:pt x="116" y="420"/>
                  </a:lnTo>
                  <a:lnTo>
                    <a:pt x="121" y="392"/>
                  </a:lnTo>
                  <a:lnTo>
                    <a:pt x="129" y="364"/>
                  </a:lnTo>
                  <a:lnTo>
                    <a:pt x="138" y="338"/>
                  </a:lnTo>
                  <a:lnTo>
                    <a:pt x="149" y="312"/>
                  </a:lnTo>
                  <a:lnTo>
                    <a:pt x="162" y="287"/>
                  </a:lnTo>
                  <a:lnTo>
                    <a:pt x="175" y="263"/>
                  </a:lnTo>
                  <a:lnTo>
                    <a:pt x="191" y="241"/>
                  </a:lnTo>
                  <a:lnTo>
                    <a:pt x="208" y="218"/>
                  </a:lnTo>
                  <a:lnTo>
                    <a:pt x="225" y="197"/>
                  </a:lnTo>
                  <a:lnTo>
                    <a:pt x="245" y="178"/>
                  </a:lnTo>
                  <a:lnTo>
                    <a:pt x="264" y="158"/>
                  </a:lnTo>
                  <a:lnTo>
                    <a:pt x="286" y="141"/>
                  </a:lnTo>
                  <a:lnTo>
                    <a:pt x="309" y="125"/>
                  </a:lnTo>
                  <a:lnTo>
                    <a:pt x="332" y="110"/>
                  </a:lnTo>
                  <a:lnTo>
                    <a:pt x="357" y="97"/>
                  </a:lnTo>
                  <a:lnTo>
                    <a:pt x="382" y="85"/>
                  </a:lnTo>
                  <a:lnTo>
                    <a:pt x="382" y="12"/>
                  </a:lnTo>
                  <a:lnTo>
                    <a:pt x="382" y="6"/>
                  </a:lnTo>
                  <a:lnTo>
                    <a:pt x="384" y="3"/>
                  </a:lnTo>
                  <a:lnTo>
                    <a:pt x="388" y="0"/>
                  </a:lnTo>
                  <a:lnTo>
                    <a:pt x="393" y="0"/>
                  </a:lnTo>
                  <a:lnTo>
                    <a:pt x="724" y="0"/>
                  </a:lnTo>
                  <a:lnTo>
                    <a:pt x="729" y="0"/>
                  </a:lnTo>
                  <a:lnTo>
                    <a:pt x="733" y="3"/>
                  </a:lnTo>
                  <a:lnTo>
                    <a:pt x="736" y="6"/>
                  </a:lnTo>
                  <a:lnTo>
                    <a:pt x="736" y="12"/>
                  </a:lnTo>
                  <a:lnTo>
                    <a:pt x="736" y="85"/>
                  </a:lnTo>
                  <a:lnTo>
                    <a:pt x="761" y="97"/>
                  </a:lnTo>
                  <a:lnTo>
                    <a:pt x="786" y="110"/>
                  </a:lnTo>
                  <a:lnTo>
                    <a:pt x="809" y="125"/>
                  </a:lnTo>
                  <a:lnTo>
                    <a:pt x="832" y="141"/>
                  </a:lnTo>
                  <a:lnTo>
                    <a:pt x="853" y="158"/>
                  </a:lnTo>
                  <a:lnTo>
                    <a:pt x="872" y="178"/>
                  </a:lnTo>
                  <a:lnTo>
                    <a:pt x="892" y="197"/>
                  </a:lnTo>
                  <a:lnTo>
                    <a:pt x="911" y="218"/>
                  </a:lnTo>
                  <a:lnTo>
                    <a:pt x="926" y="239"/>
                  </a:lnTo>
                  <a:lnTo>
                    <a:pt x="942" y="263"/>
                  </a:lnTo>
                  <a:lnTo>
                    <a:pt x="955" y="287"/>
                  </a:lnTo>
                  <a:lnTo>
                    <a:pt x="969" y="312"/>
                  </a:lnTo>
                  <a:lnTo>
                    <a:pt x="979" y="338"/>
                  </a:lnTo>
                  <a:lnTo>
                    <a:pt x="988" y="364"/>
                  </a:lnTo>
                  <a:lnTo>
                    <a:pt x="996" y="392"/>
                  </a:lnTo>
                  <a:lnTo>
                    <a:pt x="1001" y="420"/>
                  </a:lnTo>
                  <a:lnTo>
                    <a:pt x="1079" y="420"/>
                  </a:lnTo>
                  <a:lnTo>
                    <a:pt x="1087" y="421"/>
                  </a:lnTo>
                  <a:lnTo>
                    <a:pt x="1095" y="424"/>
                  </a:lnTo>
                  <a:lnTo>
                    <a:pt x="1101" y="428"/>
                  </a:lnTo>
                  <a:lnTo>
                    <a:pt x="1107" y="432"/>
                  </a:lnTo>
                  <a:lnTo>
                    <a:pt x="1112" y="438"/>
                  </a:lnTo>
                  <a:lnTo>
                    <a:pt x="1116" y="445"/>
                  </a:lnTo>
                  <a:lnTo>
                    <a:pt x="1117" y="451"/>
                  </a:lnTo>
                  <a:lnTo>
                    <a:pt x="1119" y="459"/>
                  </a:lnTo>
                  <a:lnTo>
                    <a:pt x="1119" y="501"/>
                  </a:lnTo>
                  <a:lnTo>
                    <a:pt x="1117" y="509"/>
                  </a:lnTo>
                  <a:lnTo>
                    <a:pt x="1116" y="517"/>
                  </a:lnTo>
                  <a:lnTo>
                    <a:pt x="1112" y="524"/>
                  </a:lnTo>
                  <a:lnTo>
                    <a:pt x="1107" y="529"/>
                  </a:lnTo>
                  <a:lnTo>
                    <a:pt x="1101" y="534"/>
                  </a:lnTo>
                  <a:lnTo>
                    <a:pt x="1095" y="538"/>
                  </a:lnTo>
                  <a:lnTo>
                    <a:pt x="1087" y="539"/>
                  </a:lnTo>
                  <a:lnTo>
                    <a:pt x="1079" y="541"/>
                  </a:lnTo>
                  <a:close/>
                  <a:moveTo>
                    <a:pt x="184" y="596"/>
                  </a:moveTo>
                  <a:lnTo>
                    <a:pt x="183" y="595"/>
                  </a:lnTo>
                  <a:lnTo>
                    <a:pt x="137" y="561"/>
                  </a:lnTo>
                  <a:lnTo>
                    <a:pt x="141" y="579"/>
                  </a:lnTo>
                  <a:lnTo>
                    <a:pt x="145" y="597"/>
                  </a:lnTo>
                  <a:lnTo>
                    <a:pt x="149" y="614"/>
                  </a:lnTo>
                  <a:lnTo>
                    <a:pt x="155" y="633"/>
                  </a:lnTo>
                  <a:lnTo>
                    <a:pt x="161" y="650"/>
                  </a:lnTo>
                  <a:lnTo>
                    <a:pt x="168" y="667"/>
                  </a:lnTo>
                  <a:lnTo>
                    <a:pt x="176" y="684"/>
                  </a:lnTo>
                  <a:lnTo>
                    <a:pt x="184" y="701"/>
                  </a:lnTo>
                  <a:lnTo>
                    <a:pt x="184" y="596"/>
                  </a:lnTo>
                  <a:close/>
                  <a:moveTo>
                    <a:pt x="39" y="445"/>
                  </a:moveTo>
                  <a:lnTo>
                    <a:pt x="33" y="446"/>
                  </a:lnTo>
                  <a:lnTo>
                    <a:pt x="29" y="449"/>
                  </a:lnTo>
                  <a:lnTo>
                    <a:pt x="25" y="454"/>
                  </a:lnTo>
                  <a:lnTo>
                    <a:pt x="24" y="459"/>
                  </a:lnTo>
                  <a:lnTo>
                    <a:pt x="24" y="501"/>
                  </a:lnTo>
                  <a:lnTo>
                    <a:pt x="25" y="508"/>
                  </a:lnTo>
                  <a:lnTo>
                    <a:pt x="29" y="512"/>
                  </a:lnTo>
                  <a:lnTo>
                    <a:pt x="33" y="516"/>
                  </a:lnTo>
                  <a:lnTo>
                    <a:pt x="39" y="517"/>
                  </a:lnTo>
                  <a:lnTo>
                    <a:pt x="121" y="517"/>
                  </a:lnTo>
                  <a:lnTo>
                    <a:pt x="122" y="517"/>
                  </a:lnTo>
                  <a:lnTo>
                    <a:pt x="122" y="517"/>
                  </a:lnTo>
                  <a:lnTo>
                    <a:pt x="130" y="517"/>
                  </a:lnTo>
                  <a:lnTo>
                    <a:pt x="137" y="516"/>
                  </a:lnTo>
                  <a:lnTo>
                    <a:pt x="141" y="512"/>
                  </a:lnTo>
                  <a:lnTo>
                    <a:pt x="145" y="508"/>
                  </a:lnTo>
                  <a:lnTo>
                    <a:pt x="146" y="501"/>
                  </a:lnTo>
                  <a:lnTo>
                    <a:pt x="146" y="459"/>
                  </a:lnTo>
                  <a:lnTo>
                    <a:pt x="145" y="454"/>
                  </a:lnTo>
                  <a:lnTo>
                    <a:pt x="141" y="449"/>
                  </a:lnTo>
                  <a:lnTo>
                    <a:pt x="137" y="446"/>
                  </a:lnTo>
                  <a:lnTo>
                    <a:pt x="130" y="445"/>
                  </a:lnTo>
                  <a:lnTo>
                    <a:pt x="39" y="445"/>
                  </a:lnTo>
                  <a:close/>
                  <a:moveTo>
                    <a:pt x="682" y="996"/>
                  </a:moveTo>
                  <a:lnTo>
                    <a:pt x="682" y="961"/>
                  </a:lnTo>
                  <a:lnTo>
                    <a:pt x="436" y="961"/>
                  </a:lnTo>
                  <a:lnTo>
                    <a:pt x="436" y="996"/>
                  </a:lnTo>
                  <a:lnTo>
                    <a:pt x="682" y="996"/>
                  </a:lnTo>
                  <a:close/>
                  <a:moveTo>
                    <a:pt x="412" y="996"/>
                  </a:moveTo>
                  <a:lnTo>
                    <a:pt x="412" y="947"/>
                  </a:lnTo>
                  <a:lnTo>
                    <a:pt x="412" y="943"/>
                  </a:lnTo>
                  <a:lnTo>
                    <a:pt x="415" y="940"/>
                  </a:lnTo>
                  <a:lnTo>
                    <a:pt x="418" y="937"/>
                  </a:lnTo>
                  <a:lnTo>
                    <a:pt x="424" y="936"/>
                  </a:lnTo>
                  <a:lnTo>
                    <a:pt x="694" y="936"/>
                  </a:lnTo>
                  <a:lnTo>
                    <a:pt x="699" y="937"/>
                  </a:lnTo>
                  <a:lnTo>
                    <a:pt x="703" y="940"/>
                  </a:lnTo>
                  <a:lnTo>
                    <a:pt x="705" y="943"/>
                  </a:lnTo>
                  <a:lnTo>
                    <a:pt x="707" y="947"/>
                  </a:lnTo>
                  <a:lnTo>
                    <a:pt x="707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907" y="996"/>
                  </a:lnTo>
                  <a:lnTo>
                    <a:pt x="907" y="996"/>
                  </a:lnTo>
                  <a:lnTo>
                    <a:pt x="908" y="996"/>
                  </a:lnTo>
                  <a:lnTo>
                    <a:pt x="942" y="996"/>
                  </a:lnTo>
                  <a:lnTo>
                    <a:pt x="94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809" y="842"/>
                  </a:lnTo>
                  <a:lnTo>
                    <a:pt x="770" y="884"/>
                  </a:lnTo>
                  <a:lnTo>
                    <a:pt x="766" y="887"/>
                  </a:lnTo>
                  <a:lnTo>
                    <a:pt x="762" y="888"/>
                  </a:lnTo>
                  <a:lnTo>
                    <a:pt x="357" y="888"/>
                  </a:lnTo>
                  <a:lnTo>
                    <a:pt x="351" y="887"/>
                  </a:lnTo>
                  <a:lnTo>
                    <a:pt x="347" y="884"/>
                  </a:lnTo>
                  <a:lnTo>
                    <a:pt x="308" y="842"/>
                  </a:lnTo>
                  <a:lnTo>
                    <a:pt x="175" y="842"/>
                  </a:lnTo>
                  <a:lnTo>
                    <a:pt x="175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318" y="996"/>
                  </a:lnTo>
                  <a:lnTo>
                    <a:pt x="318" y="996"/>
                  </a:lnTo>
                  <a:lnTo>
                    <a:pt x="320" y="996"/>
                  </a:lnTo>
                  <a:lnTo>
                    <a:pt x="412" y="996"/>
                  </a:lnTo>
                  <a:close/>
                  <a:moveTo>
                    <a:pt x="447" y="734"/>
                  </a:moveTo>
                  <a:lnTo>
                    <a:pt x="443" y="734"/>
                  </a:lnTo>
                  <a:lnTo>
                    <a:pt x="441" y="737"/>
                  </a:lnTo>
                  <a:lnTo>
                    <a:pt x="438" y="741"/>
                  </a:lnTo>
                  <a:lnTo>
                    <a:pt x="438" y="745"/>
                  </a:lnTo>
                  <a:lnTo>
                    <a:pt x="438" y="788"/>
                  </a:lnTo>
                  <a:lnTo>
                    <a:pt x="438" y="792"/>
                  </a:lnTo>
                  <a:lnTo>
                    <a:pt x="441" y="796"/>
                  </a:lnTo>
                  <a:lnTo>
                    <a:pt x="443" y="797"/>
                  </a:lnTo>
                  <a:lnTo>
                    <a:pt x="447" y="799"/>
                  </a:lnTo>
                  <a:lnTo>
                    <a:pt x="670" y="799"/>
                  </a:lnTo>
                  <a:lnTo>
                    <a:pt x="674" y="797"/>
                  </a:lnTo>
                  <a:lnTo>
                    <a:pt x="676" y="796"/>
                  </a:lnTo>
                  <a:lnTo>
                    <a:pt x="679" y="792"/>
                  </a:lnTo>
                  <a:lnTo>
                    <a:pt x="679" y="788"/>
                  </a:lnTo>
                  <a:lnTo>
                    <a:pt x="679" y="745"/>
                  </a:lnTo>
                  <a:lnTo>
                    <a:pt x="679" y="741"/>
                  </a:lnTo>
                  <a:lnTo>
                    <a:pt x="676" y="737"/>
                  </a:lnTo>
                  <a:lnTo>
                    <a:pt x="674" y="734"/>
                  </a:lnTo>
                  <a:lnTo>
                    <a:pt x="670" y="734"/>
                  </a:lnTo>
                  <a:lnTo>
                    <a:pt x="447" y="734"/>
                  </a:lnTo>
                  <a:close/>
                  <a:moveTo>
                    <a:pt x="670" y="822"/>
                  </a:moveTo>
                  <a:lnTo>
                    <a:pt x="447" y="822"/>
                  </a:lnTo>
                  <a:lnTo>
                    <a:pt x="441" y="822"/>
                  </a:lnTo>
                  <a:lnTo>
                    <a:pt x="434" y="820"/>
                  </a:lnTo>
                  <a:lnTo>
                    <a:pt x="429" y="817"/>
                  </a:lnTo>
                  <a:lnTo>
                    <a:pt x="424" y="813"/>
                  </a:lnTo>
                  <a:lnTo>
                    <a:pt x="420" y="808"/>
                  </a:lnTo>
                  <a:lnTo>
                    <a:pt x="416" y="801"/>
                  </a:lnTo>
                  <a:lnTo>
                    <a:pt x="415" y="795"/>
                  </a:lnTo>
                  <a:lnTo>
                    <a:pt x="413" y="788"/>
                  </a:lnTo>
                  <a:lnTo>
                    <a:pt x="413" y="745"/>
                  </a:lnTo>
                  <a:lnTo>
                    <a:pt x="415" y="737"/>
                  </a:lnTo>
                  <a:lnTo>
                    <a:pt x="416" y="730"/>
                  </a:lnTo>
                  <a:lnTo>
                    <a:pt x="420" y="725"/>
                  </a:lnTo>
                  <a:lnTo>
                    <a:pt x="424" y="720"/>
                  </a:lnTo>
                  <a:lnTo>
                    <a:pt x="429" y="716"/>
                  </a:lnTo>
                  <a:lnTo>
                    <a:pt x="434" y="713"/>
                  </a:lnTo>
                  <a:lnTo>
                    <a:pt x="441" y="711"/>
                  </a:lnTo>
                  <a:lnTo>
                    <a:pt x="447" y="711"/>
                  </a:lnTo>
                  <a:lnTo>
                    <a:pt x="670" y="711"/>
                  </a:lnTo>
                  <a:lnTo>
                    <a:pt x="676" y="711"/>
                  </a:lnTo>
                  <a:lnTo>
                    <a:pt x="683" y="713"/>
                  </a:lnTo>
                  <a:lnTo>
                    <a:pt x="688" y="716"/>
                  </a:lnTo>
                  <a:lnTo>
                    <a:pt x="694" y="720"/>
                  </a:lnTo>
                  <a:lnTo>
                    <a:pt x="697" y="725"/>
                  </a:lnTo>
                  <a:lnTo>
                    <a:pt x="701" y="730"/>
                  </a:lnTo>
                  <a:lnTo>
                    <a:pt x="703" y="737"/>
                  </a:lnTo>
                  <a:lnTo>
                    <a:pt x="704" y="745"/>
                  </a:lnTo>
                  <a:lnTo>
                    <a:pt x="704" y="788"/>
                  </a:lnTo>
                  <a:lnTo>
                    <a:pt x="703" y="795"/>
                  </a:lnTo>
                  <a:lnTo>
                    <a:pt x="701" y="801"/>
                  </a:lnTo>
                  <a:lnTo>
                    <a:pt x="697" y="808"/>
                  </a:lnTo>
                  <a:lnTo>
                    <a:pt x="694" y="813"/>
                  </a:lnTo>
                  <a:lnTo>
                    <a:pt x="688" y="817"/>
                  </a:lnTo>
                  <a:lnTo>
                    <a:pt x="683" y="820"/>
                  </a:lnTo>
                  <a:lnTo>
                    <a:pt x="676" y="822"/>
                  </a:lnTo>
                  <a:lnTo>
                    <a:pt x="670" y="822"/>
                  </a:lnTo>
                  <a:close/>
                  <a:moveTo>
                    <a:pt x="895" y="1021"/>
                  </a:moveTo>
                  <a:lnTo>
                    <a:pt x="811" y="1021"/>
                  </a:lnTo>
                  <a:lnTo>
                    <a:pt x="811" y="1095"/>
                  </a:lnTo>
                  <a:lnTo>
                    <a:pt x="811" y="1097"/>
                  </a:lnTo>
                  <a:lnTo>
                    <a:pt x="812" y="1101"/>
                  </a:lnTo>
                  <a:lnTo>
                    <a:pt x="813" y="1104"/>
                  </a:lnTo>
                  <a:lnTo>
                    <a:pt x="816" y="1107"/>
                  </a:lnTo>
                  <a:lnTo>
                    <a:pt x="819" y="1109"/>
                  </a:lnTo>
                  <a:lnTo>
                    <a:pt x="821" y="1111"/>
                  </a:lnTo>
                  <a:lnTo>
                    <a:pt x="825" y="1112"/>
                  </a:lnTo>
                  <a:lnTo>
                    <a:pt x="829" y="1112"/>
                  </a:lnTo>
                  <a:lnTo>
                    <a:pt x="876" y="1112"/>
                  </a:lnTo>
                  <a:lnTo>
                    <a:pt x="880" y="1112"/>
                  </a:lnTo>
                  <a:lnTo>
                    <a:pt x="884" y="1111"/>
                  </a:lnTo>
                  <a:lnTo>
                    <a:pt x="887" y="1109"/>
                  </a:lnTo>
                  <a:lnTo>
                    <a:pt x="890" y="1107"/>
                  </a:lnTo>
                  <a:lnTo>
                    <a:pt x="892" y="1104"/>
                  </a:lnTo>
                  <a:lnTo>
                    <a:pt x="894" y="1101"/>
                  </a:lnTo>
                  <a:lnTo>
                    <a:pt x="895" y="1097"/>
                  </a:lnTo>
                  <a:lnTo>
                    <a:pt x="895" y="1095"/>
                  </a:lnTo>
                  <a:lnTo>
                    <a:pt x="895" y="1021"/>
                  </a:lnTo>
                  <a:close/>
                  <a:moveTo>
                    <a:pt x="307" y="1021"/>
                  </a:moveTo>
                  <a:lnTo>
                    <a:pt x="222" y="1021"/>
                  </a:lnTo>
                  <a:lnTo>
                    <a:pt x="222" y="1095"/>
                  </a:lnTo>
                  <a:lnTo>
                    <a:pt x="222" y="1097"/>
                  </a:lnTo>
                  <a:lnTo>
                    <a:pt x="224" y="1101"/>
                  </a:lnTo>
                  <a:lnTo>
                    <a:pt x="225" y="1104"/>
                  </a:lnTo>
                  <a:lnTo>
                    <a:pt x="228" y="1107"/>
                  </a:lnTo>
                  <a:lnTo>
                    <a:pt x="230" y="1109"/>
                  </a:lnTo>
                  <a:lnTo>
                    <a:pt x="234" y="1111"/>
                  </a:lnTo>
                  <a:lnTo>
                    <a:pt x="237" y="1112"/>
                  </a:lnTo>
                  <a:lnTo>
                    <a:pt x="241" y="1112"/>
                  </a:lnTo>
                  <a:lnTo>
                    <a:pt x="288" y="1112"/>
                  </a:lnTo>
                  <a:lnTo>
                    <a:pt x="292" y="1112"/>
                  </a:lnTo>
                  <a:lnTo>
                    <a:pt x="296" y="1111"/>
                  </a:lnTo>
                  <a:lnTo>
                    <a:pt x="299" y="1109"/>
                  </a:lnTo>
                  <a:lnTo>
                    <a:pt x="301" y="1107"/>
                  </a:lnTo>
                  <a:lnTo>
                    <a:pt x="304" y="1104"/>
                  </a:lnTo>
                  <a:lnTo>
                    <a:pt x="305" y="1101"/>
                  </a:lnTo>
                  <a:lnTo>
                    <a:pt x="307" y="1097"/>
                  </a:lnTo>
                  <a:lnTo>
                    <a:pt x="307" y="1095"/>
                  </a:lnTo>
                  <a:lnTo>
                    <a:pt x="307" y="1021"/>
                  </a:lnTo>
                  <a:close/>
                  <a:moveTo>
                    <a:pt x="208" y="817"/>
                  </a:moveTo>
                  <a:lnTo>
                    <a:pt x="313" y="817"/>
                  </a:lnTo>
                  <a:lnTo>
                    <a:pt x="317" y="818"/>
                  </a:lnTo>
                  <a:lnTo>
                    <a:pt x="321" y="822"/>
                  </a:lnTo>
                  <a:lnTo>
                    <a:pt x="362" y="863"/>
                  </a:lnTo>
                  <a:lnTo>
                    <a:pt x="757" y="863"/>
                  </a:lnTo>
                  <a:lnTo>
                    <a:pt x="796" y="822"/>
                  </a:lnTo>
                  <a:lnTo>
                    <a:pt x="800" y="818"/>
                  </a:lnTo>
                  <a:lnTo>
                    <a:pt x="805" y="817"/>
                  </a:lnTo>
                  <a:lnTo>
                    <a:pt x="911" y="817"/>
                  </a:lnTo>
                  <a:lnTo>
                    <a:pt x="911" y="566"/>
                  </a:lnTo>
                  <a:lnTo>
                    <a:pt x="874" y="366"/>
                  </a:lnTo>
                  <a:lnTo>
                    <a:pt x="870" y="354"/>
                  </a:lnTo>
                  <a:lnTo>
                    <a:pt x="865" y="343"/>
                  </a:lnTo>
                  <a:lnTo>
                    <a:pt x="858" y="335"/>
                  </a:lnTo>
                  <a:lnTo>
                    <a:pt x="850" y="329"/>
                  </a:lnTo>
                  <a:lnTo>
                    <a:pt x="841" y="322"/>
                  </a:lnTo>
                  <a:lnTo>
                    <a:pt x="830" y="318"/>
                  </a:lnTo>
                  <a:lnTo>
                    <a:pt x="820" y="316"/>
                  </a:lnTo>
                  <a:lnTo>
                    <a:pt x="807" y="316"/>
                  </a:lnTo>
                  <a:lnTo>
                    <a:pt x="312" y="316"/>
                  </a:lnTo>
                  <a:lnTo>
                    <a:pt x="296" y="316"/>
                  </a:lnTo>
                  <a:lnTo>
                    <a:pt x="283" y="317"/>
                  </a:lnTo>
                  <a:lnTo>
                    <a:pt x="271" y="321"/>
                  </a:lnTo>
                  <a:lnTo>
                    <a:pt x="263" y="326"/>
                  </a:lnTo>
                  <a:lnTo>
                    <a:pt x="257" y="333"/>
                  </a:lnTo>
                  <a:lnTo>
                    <a:pt x="251" y="343"/>
                  </a:lnTo>
                  <a:lnTo>
                    <a:pt x="247" y="355"/>
                  </a:lnTo>
                  <a:lnTo>
                    <a:pt x="245" y="371"/>
                  </a:lnTo>
                  <a:lnTo>
                    <a:pt x="208" y="567"/>
                  </a:lnTo>
                  <a:lnTo>
                    <a:pt x="208" y="817"/>
                  </a:lnTo>
                  <a:close/>
                  <a:moveTo>
                    <a:pt x="828" y="387"/>
                  </a:moveTo>
                  <a:lnTo>
                    <a:pt x="828" y="387"/>
                  </a:lnTo>
                  <a:lnTo>
                    <a:pt x="828" y="387"/>
                  </a:lnTo>
                  <a:close/>
                  <a:moveTo>
                    <a:pt x="328" y="374"/>
                  </a:moveTo>
                  <a:lnTo>
                    <a:pt x="322" y="375"/>
                  </a:lnTo>
                  <a:lnTo>
                    <a:pt x="318" y="378"/>
                  </a:lnTo>
                  <a:lnTo>
                    <a:pt x="316" y="382"/>
                  </a:lnTo>
                  <a:lnTo>
                    <a:pt x="314" y="387"/>
                  </a:lnTo>
                  <a:lnTo>
                    <a:pt x="286" y="546"/>
                  </a:lnTo>
                  <a:lnTo>
                    <a:pt x="286" y="554"/>
                  </a:lnTo>
                  <a:lnTo>
                    <a:pt x="286" y="561"/>
                  </a:lnTo>
                  <a:lnTo>
                    <a:pt x="288" y="567"/>
                  </a:lnTo>
                  <a:lnTo>
                    <a:pt x="292" y="572"/>
                  </a:lnTo>
                  <a:lnTo>
                    <a:pt x="296" y="576"/>
                  </a:lnTo>
                  <a:lnTo>
                    <a:pt x="303" y="579"/>
                  </a:lnTo>
                  <a:lnTo>
                    <a:pt x="309" y="582"/>
                  </a:lnTo>
                  <a:lnTo>
                    <a:pt x="316" y="582"/>
                  </a:lnTo>
                  <a:lnTo>
                    <a:pt x="801" y="582"/>
                  </a:lnTo>
                  <a:lnTo>
                    <a:pt x="809" y="582"/>
                  </a:lnTo>
                  <a:lnTo>
                    <a:pt x="816" y="579"/>
                  </a:lnTo>
                  <a:lnTo>
                    <a:pt x="822" y="576"/>
                  </a:lnTo>
                  <a:lnTo>
                    <a:pt x="826" y="572"/>
                  </a:lnTo>
                  <a:lnTo>
                    <a:pt x="830" y="567"/>
                  </a:lnTo>
                  <a:lnTo>
                    <a:pt x="833" y="561"/>
                  </a:lnTo>
                  <a:lnTo>
                    <a:pt x="833" y="554"/>
                  </a:lnTo>
                  <a:lnTo>
                    <a:pt x="833" y="546"/>
                  </a:lnTo>
                  <a:lnTo>
                    <a:pt x="804" y="389"/>
                  </a:lnTo>
                  <a:lnTo>
                    <a:pt x="804" y="388"/>
                  </a:lnTo>
                  <a:lnTo>
                    <a:pt x="804" y="387"/>
                  </a:lnTo>
                  <a:lnTo>
                    <a:pt x="803" y="382"/>
                  </a:lnTo>
                  <a:lnTo>
                    <a:pt x="800" y="378"/>
                  </a:lnTo>
                  <a:lnTo>
                    <a:pt x="795" y="375"/>
                  </a:lnTo>
                  <a:lnTo>
                    <a:pt x="790" y="374"/>
                  </a:lnTo>
                  <a:lnTo>
                    <a:pt x="328" y="374"/>
                  </a:lnTo>
                  <a:close/>
                  <a:moveTo>
                    <a:pt x="801" y="607"/>
                  </a:moveTo>
                  <a:lnTo>
                    <a:pt x="316" y="607"/>
                  </a:lnTo>
                  <a:lnTo>
                    <a:pt x="304" y="605"/>
                  </a:lnTo>
                  <a:lnTo>
                    <a:pt x="292" y="601"/>
                  </a:lnTo>
                  <a:lnTo>
                    <a:pt x="287" y="599"/>
                  </a:lnTo>
                  <a:lnTo>
                    <a:pt x="282" y="596"/>
                  </a:lnTo>
                  <a:lnTo>
                    <a:pt x="278" y="592"/>
                  </a:lnTo>
                  <a:lnTo>
                    <a:pt x="274" y="588"/>
                  </a:lnTo>
                  <a:lnTo>
                    <a:pt x="270" y="583"/>
                  </a:lnTo>
                  <a:lnTo>
                    <a:pt x="267" y="579"/>
                  </a:lnTo>
                  <a:lnTo>
                    <a:pt x="264" y="574"/>
                  </a:lnTo>
                  <a:lnTo>
                    <a:pt x="263" y="567"/>
                  </a:lnTo>
                  <a:lnTo>
                    <a:pt x="261" y="555"/>
                  </a:lnTo>
                  <a:lnTo>
                    <a:pt x="262" y="542"/>
                  </a:lnTo>
                  <a:lnTo>
                    <a:pt x="291" y="386"/>
                  </a:lnTo>
                  <a:lnTo>
                    <a:pt x="292" y="379"/>
                  </a:lnTo>
                  <a:lnTo>
                    <a:pt x="293" y="372"/>
                  </a:lnTo>
                  <a:lnTo>
                    <a:pt x="297" y="366"/>
                  </a:lnTo>
                  <a:lnTo>
                    <a:pt x="301" y="361"/>
                  </a:lnTo>
                  <a:lnTo>
                    <a:pt x="308" y="357"/>
                  </a:lnTo>
                  <a:lnTo>
                    <a:pt x="313" y="353"/>
                  </a:lnTo>
                  <a:lnTo>
                    <a:pt x="321" y="350"/>
                  </a:lnTo>
                  <a:lnTo>
                    <a:pt x="328" y="350"/>
                  </a:lnTo>
                  <a:lnTo>
                    <a:pt x="790" y="350"/>
                  </a:lnTo>
                  <a:lnTo>
                    <a:pt x="797" y="350"/>
                  </a:lnTo>
                  <a:lnTo>
                    <a:pt x="804" y="353"/>
                  </a:lnTo>
                  <a:lnTo>
                    <a:pt x="811" y="357"/>
                  </a:lnTo>
                  <a:lnTo>
                    <a:pt x="816" y="361"/>
                  </a:lnTo>
                  <a:lnTo>
                    <a:pt x="821" y="366"/>
                  </a:lnTo>
                  <a:lnTo>
                    <a:pt x="824" y="372"/>
                  </a:lnTo>
                  <a:lnTo>
                    <a:pt x="826" y="379"/>
                  </a:lnTo>
                  <a:lnTo>
                    <a:pt x="828" y="386"/>
                  </a:lnTo>
                  <a:lnTo>
                    <a:pt x="857" y="542"/>
                  </a:lnTo>
                  <a:lnTo>
                    <a:pt x="857" y="555"/>
                  </a:lnTo>
                  <a:lnTo>
                    <a:pt x="855" y="567"/>
                  </a:lnTo>
                  <a:lnTo>
                    <a:pt x="854" y="574"/>
                  </a:lnTo>
                  <a:lnTo>
                    <a:pt x="851" y="579"/>
                  </a:lnTo>
                  <a:lnTo>
                    <a:pt x="849" y="583"/>
                  </a:lnTo>
                  <a:lnTo>
                    <a:pt x="845" y="588"/>
                  </a:lnTo>
                  <a:lnTo>
                    <a:pt x="841" y="592"/>
                  </a:lnTo>
                  <a:lnTo>
                    <a:pt x="837" y="596"/>
                  </a:lnTo>
                  <a:lnTo>
                    <a:pt x="832" y="599"/>
                  </a:lnTo>
                  <a:lnTo>
                    <a:pt x="826" y="601"/>
                  </a:lnTo>
                  <a:lnTo>
                    <a:pt x="815" y="605"/>
                  </a:lnTo>
                  <a:lnTo>
                    <a:pt x="801" y="607"/>
                  </a:lnTo>
                  <a:close/>
                </a:path>
              </a:pathLst>
            </a:custGeom>
            <a:grpFill/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61" name="Freeform 405"/>
            <p:cNvSpPr>
              <a:spLocks noEditPoints="1"/>
            </p:cNvSpPr>
            <p:nvPr/>
          </p:nvSpPr>
          <p:spPr bwMode="auto">
            <a:xfrm>
              <a:off x="5486400" y="3460750"/>
              <a:ext cx="280988" cy="34925"/>
            </a:xfrm>
            <a:custGeom>
              <a:avLst/>
              <a:gdLst>
                <a:gd name="T0" fmla="*/ 604 w 708"/>
                <a:gd name="T1" fmla="*/ 25 h 88"/>
                <a:gd name="T2" fmla="*/ 600 w 708"/>
                <a:gd name="T3" fmla="*/ 29 h 88"/>
                <a:gd name="T4" fmla="*/ 598 w 708"/>
                <a:gd name="T5" fmla="*/ 57 h 88"/>
                <a:gd name="T6" fmla="*/ 601 w 708"/>
                <a:gd name="T7" fmla="*/ 62 h 88"/>
                <a:gd name="T8" fmla="*/ 608 w 708"/>
                <a:gd name="T9" fmla="*/ 65 h 88"/>
                <a:gd name="T10" fmla="*/ 680 w 708"/>
                <a:gd name="T11" fmla="*/ 63 h 88"/>
                <a:gd name="T12" fmla="*/ 684 w 708"/>
                <a:gd name="T13" fmla="*/ 59 h 88"/>
                <a:gd name="T14" fmla="*/ 684 w 708"/>
                <a:gd name="T15" fmla="*/ 32 h 88"/>
                <a:gd name="T16" fmla="*/ 681 w 708"/>
                <a:gd name="T17" fmla="*/ 27 h 88"/>
                <a:gd name="T18" fmla="*/ 676 w 708"/>
                <a:gd name="T19" fmla="*/ 25 h 88"/>
                <a:gd name="T20" fmla="*/ 31 w 708"/>
                <a:gd name="T21" fmla="*/ 25 h 88"/>
                <a:gd name="T22" fmla="*/ 26 w 708"/>
                <a:gd name="T23" fmla="*/ 27 h 88"/>
                <a:gd name="T24" fmla="*/ 23 w 708"/>
                <a:gd name="T25" fmla="*/ 32 h 88"/>
                <a:gd name="T26" fmla="*/ 23 w 708"/>
                <a:gd name="T27" fmla="*/ 59 h 88"/>
                <a:gd name="T28" fmla="*/ 29 w 708"/>
                <a:gd name="T29" fmla="*/ 63 h 88"/>
                <a:gd name="T30" fmla="*/ 100 w 708"/>
                <a:gd name="T31" fmla="*/ 65 h 88"/>
                <a:gd name="T32" fmla="*/ 106 w 708"/>
                <a:gd name="T33" fmla="*/ 62 h 88"/>
                <a:gd name="T34" fmla="*/ 109 w 708"/>
                <a:gd name="T35" fmla="*/ 57 h 88"/>
                <a:gd name="T36" fmla="*/ 108 w 708"/>
                <a:gd name="T37" fmla="*/ 29 h 88"/>
                <a:gd name="T38" fmla="*/ 104 w 708"/>
                <a:gd name="T39" fmla="*/ 25 h 88"/>
                <a:gd name="T40" fmla="*/ 31 w 708"/>
                <a:gd name="T41" fmla="*/ 25 h 88"/>
                <a:gd name="T42" fmla="*/ 31 w 708"/>
                <a:gd name="T43" fmla="*/ 88 h 88"/>
                <a:gd name="T44" fmla="*/ 18 w 708"/>
                <a:gd name="T45" fmla="*/ 86 h 88"/>
                <a:gd name="T46" fmla="*/ 9 w 708"/>
                <a:gd name="T47" fmla="*/ 79 h 88"/>
                <a:gd name="T48" fmla="*/ 2 w 708"/>
                <a:gd name="T49" fmla="*/ 69 h 88"/>
                <a:gd name="T50" fmla="*/ 0 w 708"/>
                <a:gd name="T51" fmla="*/ 57 h 88"/>
                <a:gd name="T52" fmla="*/ 0 w 708"/>
                <a:gd name="T53" fmla="*/ 27 h 88"/>
                <a:gd name="T54" fmla="*/ 5 w 708"/>
                <a:gd name="T55" fmla="*/ 15 h 88"/>
                <a:gd name="T56" fmla="*/ 13 w 708"/>
                <a:gd name="T57" fmla="*/ 6 h 88"/>
                <a:gd name="T58" fmla="*/ 25 w 708"/>
                <a:gd name="T59" fmla="*/ 2 h 88"/>
                <a:gd name="T60" fmla="*/ 100 w 708"/>
                <a:gd name="T61" fmla="*/ 0 h 88"/>
                <a:gd name="T62" fmla="*/ 113 w 708"/>
                <a:gd name="T63" fmla="*/ 3 h 88"/>
                <a:gd name="T64" fmla="*/ 123 w 708"/>
                <a:gd name="T65" fmla="*/ 9 h 88"/>
                <a:gd name="T66" fmla="*/ 130 w 708"/>
                <a:gd name="T67" fmla="*/ 20 h 88"/>
                <a:gd name="T68" fmla="*/ 133 w 708"/>
                <a:gd name="T69" fmla="*/ 32 h 88"/>
                <a:gd name="T70" fmla="*/ 131 w 708"/>
                <a:gd name="T71" fmla="*/ 63 h 88"/>
                <a:gd name="T72" fmla="*/ 127 w 708"/>
                <a:gd name="T73" fmla="*/ 74 h 88"/>
                <a:gd name="T74" fmla="*/ 118 w 708"/>
                <a:gd name="T75" fmla="*/ 83 h 88"/>
                <a:gd name="T76" fmla="*/ 106 w 708"/>
                <a:gd name="T77" fmla="*/ 88 h 88"/>
                <a:gd name="T78" fmla="*/ 676 w 708"/>
                <a:gd name="T79" fmla="*/ 88 h 88"/>
                <a:gd name="T80" fmla="*/ 601 w 708"/>
                <a:gd name="T81" fmla="*/ 88 h 88"/>
                <a:gd name="T82" fmla="*/ 589 w 708"/>
                <a:gd name="T83" fmla="*/ 83 h 88"/>
                <a:gd name="T84" fmla="*/ 581 w 708"/>
                <a:gd name="T85" fmla="*/ 74 h 88"/>
                <a:gd name="T86" fmla="*/ 576 w 708"/>
                <a:gd name="T87" fmla="*/ 63 h 88"/>
                <a:gd name="T88" fmla="*/ 575 w 708"/>
                <a:gd name="T89" fmla="*/ 32 h 88"/>
                <a:gd name="T90" fmla="*/ 577 w 708"/>
                <a:gd name="T91" fmla="*/ 20 h 88"/>
                <a:gd name="T92" fmla="*/ 584 w 708"/>
                <a:gd name="T93" fmla="*/ 9 h 88"/>
                <a:gd name="T94" fmla="*/ 594 w 708"/>
                <a:gd name="T95" fmla="*/ 3 h 88"/>
                <a:gd name="T96" fmla="*/ 608 w 708"/>
                <a:gd name="T97" fmla="*/ 0 h 88"/>
                <a:gd name="T98" fmla="*/ 683 w 708"/>
                <a:gd name="T99" fmla="*/ 2 h 88"/>
                <a:gd name="T100" fmla="*/ 694 w 708"/>
                <a:gd name="T101" fmla="*/ 6 h 88"/>
                <a:gd name="T102" fmla="*/ 702 w 708"/>
                <a:gd name="T103" fmla="*/ 15 h 88"/>
                <a:gd name="T104" fmla="*/ 708 w 708"/>
                <a:gd name="T105" fmla="*/ 27 h 88"/>
                <a:gd name="T106" fmla="*/ 708 w 708"/>
                <a:gd name="T107" fmla="*/ 57 h 88"/>
                <a:gd name="T108" fmla="*/ 705 w 708"/>
                <a:gd name="T109" fmla="*/ 69 h 88"/>
                <a:gd name="T110" fmla="*/ 698 w 708"/>
                <a:gd name="T111" fmla="*/ 79 h 88"/>
                <a:gd name="T112" fmla="*/ 689 w 708"/>
                <a:gd name="T113" fmla="*/ 86 h 88"/>
                <a:gd name="T114" fmla="*/ 676 w 708"/>
                <a:gd name="T1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8" h="88">
                  <a:moveTo>
                    <a:pt x="608" y="25"/>
                  </a:moveTo>
                  <a:lnTo>
                    <a:pt x="604" y="25"/>
                  </a:lnTo>
                  <a:lnTo>
                    <a:pt x="601" y="27"/>
                  </a:lnTo>
                  <a:lnTo>
                    <a:pt x="600" y="29"/>
                  </a:lnTo>
                  <a:lnTo>
                    <a:pt x="598" y="32"/>
                  </a:lnTo>
                  <a:lnTo>
                    <a:pt x="598" y="57"/>
                  </a:lnTo>
                  <a:lnTo>
                    <a:pt x="600" y="59"/>
                  </a:lnTo>
                  <a:lnTo>
                    <a:pt x="601" y="62"/>
                  </a:lnTo>
                  <a:lnTo>
                    <a:pt x="604" y="63"/>
                  </a:lnTo>
                  <a:lnTo>
                    <a:pt x="608" y="65"/>
                  </a:lnTo>
                  <a:lnTo>
                    <a:pt x="676" y="65"/>
                  </a:lnTo>
                  <a:lnTo>
                    <a:pt x="680" y="63"/>
                  </a:lnTo>
                  <a:lnTo>
                    <a:pt x="681" y="62"/>
                  </a:lnTo>
                  <a:lnTo>
                    <a:pt x="684" y="59"/>
                  </a:lnTo>
                  <a:lnTo>
                    <a:pt x="684" y="57"/>
                  </a:lnTo>
                  <a:lnTo>
                    <a:pt x="684" y="32"/>
                  </a:lnTo>
                  <a:lnTo>
                    <a:pt x="684" y="29"/>
                  </a:lnTo>
                  <a:lnTo>
                    <a:pt x="681" y="27"/>
                  </a:lnTo>
                  <a:lnTo>
                    <a:pt x="680" y="25"/>
                  </a:lnTo>
                  <a:lnTo>
                    <a:pt x="676" y="25"/>
                  </a:lnTo>
                  <a:lnTo>
                    <a:pt x="608" y="25"/>
                  </a:lnTo>
                  <a:close/>
                  <a:moveTo>
                    <a:pt x="31" y="25"/>
                  </a:moveTo>
                  <a:lnTo>
                    <a:pt x="29" y="25"/>
                  </a:lnTo>
                  <a:lnTo>
                    <a:pt x="26" y="27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9" y="63"/>
                  </a:lnTo>
                  <a:lnTo>
                    <a:pt x="31" y="65"/>
                  </a:lnTo>
                  <a:lnTo>
                    <a:pt x="100" y="65"/>
                  </a:lnTo>
                  <a:lnTo>
                    <a:pt x="104" y="63"/>
                  </a:lnTo>
                  <a:lnTo>
                    <a:pt x="106" y="62"/>
                  </a:lnTo>
                  <a:lnTo>
                    <a:pt x="108" y="59"/>
                  </a:lnTo>
                  <a:lnTo>
                    <a:pt x="109" y="57"/>
                  </a:lnTo>
                  <a:lnTo>
                    <a:pt x="109" y="32"/>
                  </a:lnTo>
                  <a:lnTo>
                    <a:pt x="108" y="29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31" y="25"/>
                  </a:lnTo>
                  <a:close/>
                  <a:moveTo>
                    <a:pt x="100" y="88"/>
                  </a:moveTo>
                  <a:lnTo>
                    <a:pt x="31" y="88"/>
                  </a:lnTo>
                  <a:lnTo>
                    <a:pt x="25" y="88"/>
                  </a:lnTo>
                  <a:lnTo>
                    <a:pt x="18" y="86"/>
                  </a:lnTo>
                  <a:lnTo>
                    <a:pt x="13" y="83"/>
                  </a:lnTo>
                  <a:lnTo>
                    <a:pt x="9" y="79"/>
                  </a:lnTo>
                  <a:lnTo>
                    <a:pt x="5" y="74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8" y="3"/>
                  </a:lnTo>
                  <a:lnTo>
                    <a:pt x="25" y="2"/>
                  </a:lnTo>
                  <a:lnTo>
                    <a:pt x="31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13" y="3"/>
                  </a:lnTo>
                  <a:lnTo>
                    <a:pt x="118" y="6"/>
                  </a:lnTo>
                  <a:lnTo>
                    <a:pt x="123" y="9"/>
                  </a:lnTo>
                  <a:lnTo>
                    <a:pt x="127" y="15"/>
                  </a:lnTo>
                  <a:lnTo>
                    <a:pt x="130" y="20"/>
                  </a:lnTo>
                  <a:lnTo>
                    <a:pt x="131" y="27"/>
                  </a:lnTo>
                  <a:lnTo>
                    <a:pt x="133" y="32"/>
                  </a:lnTo>
                  <a:lnTo>
                    <a:pt x="133" y="57"/>
                  </a:lnTo>
                  <a:lnTo>
                    <a:pt x="131" y="63"/>
                  </a:lnTo>
                  <a:lnTo>
                    <a:pt x="130" y="69"/>
                  </a:lnTo>
                  <a:lnTo>
                    <a:pt x="127" y="74"/>
                  </a:lnTo>
                  <a:lnTo>
                    <a:pt x="123" y="79"/>
                  </a:lnTo>
                  <a:lnTo>
                    <a:pt x="118" y="83"/>
                  </a:lnTo>
                  <a:lnTo>
                    <a:pt x="113" y="86"/>
                  </a:lnTo>
                  <a:lnTo>
                    <a:pt x="106" y="88"/>
                  </a:lnTo>
                  <a:lnTo>
                    <a:pt x="100" y="88"/>
                  </a:lnTo>
                  <a:close/>
                  <a:moveTo>
                    <a:pt x="676" y="88"/>
                  </a:moveTo>
                  <a:lnTo>
                    <a:pt x="608" y="88"/>
                  </a:lnTo>
                  <a:lnTo>
                    <a:pt x="601" y="88"/>
                  </a:lnTo>
                  <a:lnTo>
                    <a:pt x="594" y="86"/>
                  </a:lnTo>
                  <a:lnTo>
                    <a:pt x="589" y="83"/>
                  </a:lnTo>
                  <a:lnTo>
                    <a:pt x="584" y="79"/>
                  </a:lnTo>
                  <a:lnTo>
                    <a:pt x="581" y="74"/>
                  </a:lnTo>
                  <a:lnTo>
                    <a:pt x="577" y="69"/>
                  </a:lnTo>
                  <a:lnTo>
                    <a:pt x="576" y="63"/>
                  </a:lnTo>
                  <a:lnTo>
                    <a:pt x="575" y="57"/>
                  </a:lnTo>
                  <a:lnTo>
                    <a:pt x="575" y="32"/>
                  </a:lnTo>
                  <a:lnTo>
                    <a:pt x="576" y="27"/>
                  </a:lnTo>
                  <a:lnTo>
                    <a:pt x="577" y="20"/>
                  </a:lnTo>
                  <a:lnTo>
                    <a:pt x="581" y="15"/>
                  </a:lnTo>
                  <a:lnTo>
                    <a:pt x="584" y="9"/>
                  </a:lnTo>
                  <a:lnTo>
                    <a:pt x="589" y="6"/>
                  </a:lnTo>
                  <a:lnTo>
                    <a:pt x="594" y="3"/>
                  </a:lnTo>
                  <a:lnTo>
                    <a:pt x="601" y="2"/>
                  </a:lnTo>
                  <a:lnTo>
                    <a:pt x="608" y="0"/>
                  </a:lnTo>
                  <a:lnTo>
                    <a:pt x="676" y="0"/>
                  </a:lnTo>
                  <a:lnTo>
                    <a:pt x="683" y="2"/>
                  </a:lnTo>
                  <a:lnTo>
                    <a:pt x="689" y="3"/>
                  </a:lnTo>
                  <a:lnTo>
                    <a:pt x="694" y="6"/>
                  </a:lnTo>
                  <a:lnTo>
                    <a:pt x="698" y="9"/>
                  </a:lnTo>
                  <a:lnTo>
                    <a:pt x="702" y="15"/>
                  </a:lnTo>
                  <a:lnTo>
                    <a:pt x="705" y="20"/>
                  </a:lnTo>
                  <a:lnTo>
                    <a:pt x="708" y="27"/>
                  </a:lnTo>
                  <a:lnTo>
                    <a:pt x="708" y="32"/>
                  </a:lnTo>
                  <a:lnTo>
                    <a:pt x="708" y="57"/>
                  </a:lnTo>
                  <a:lnTo>
                    <a:pt x="708" y="63"/>
                  </a:lnTo>
                  <a:lnTo>
                    <a:pt x="705" y="69"/>
                  </a:lnTo>
                  <a:lnTo>
                    <a:pt x="702" y="74"/>
                  </a:lnTo>
                  <a:lnTo>
                    <a:pt x="698" y="79"/>
                  </a:lnTo>
                  <a:lnTo>
                    <a:pt x="694" y="83"/>
                  </a:lnTo>
                  <a:lnTo>
                    <a:pt x="689" y="86"/>
                  </a:lnTo>
                  <a:lnTo>
                    <a:pt x="683" y="88"/>
                  </a:lnTo>
                  <a:lnTo>
                    <a:pt x="676" y="88"/>
                  </a:lnTo>
                  <a:close/>
                </a:path>
              </a:pathLst>
            </a:custGeom>
            <a:grpFill/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962" name="Picture118"/>
          <p:cNvSpPr>
            <a:spLocks noChangeAspect="1" noEditPoints="1"/>
          </p:cNvSpPr>
          <p:nvPr/>
        </p:nvSpPr>
        <p:spPr bwMode="auto">
          <a:xfrm>
            <a:off x="1463961" y="2752872"/>
            <a:ext cx="233059" cy="168275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63" name="Picture118"/>
          <p:cNvSpPr>
            <a:spLocks noChangeAspect="1" noEditPoints="1"/>
          </p:cNvSpPr>
          <p:nvPr/>
        </p:nvSpPr>
        <p:spPr bwMode="auto">
          <a:xfrm>
            <a:off x="5347674" y="2752872"/>
            <a:ext cx="233059" cy="168275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64" name="Picture118"/>
          <p:cNvSpPr>
            <a:spLocks noChangeAspect="1" noEditPoints="1"/>
          </p:cNvSpPr>
          <p:nvPr/>
        </p:nvSpPr>
        <p:spPr bwMode="auto">
          <a:xfrm>
            <a:off x="7325588" y="2752872"/>
            <a:ext cx="233059" cy="168275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965" name="benzovoz"/>
          <p:cNvGrpSpPr>
            <a:grpSpLocks noChangeAspect="1"/>
          </p:cNvGrpSpPr>
          <p:nvPr/>
        </p:nvGrpSpPr>
        <p:grpSpPr>
          <a:xfrm>
            <a:off x="2777412" y="2725884"/>
            <a:ext cx="172817" cy="195263"/>
            <a:chOff x="5407025" y="3109913"/>
            <a:chExt cx="442913" cy="450850"/>
          </a:xfrm>
          <a:solidFill>
            <a:srgbClr val="009900"/>
          </a:solidFill>
        </p:grpSpPr>
        <p:sp>
          <p:nvSpPr>
            <p:cNvPr id="966" name="Freeform 404"/>
            <p:cNvSpPr>
              <a:spLocks noEditPoints="1"/>
            </p:cNvSpPr>
            <p:nvPr/>
          </p:nvSpPr>
          <p:spPr bwMode="auto">
            <a:xfrm>
              <a:off x="5407025" y="3109913"/>
              <a:ext cx="442913" cy="450850"/>
            </a:xfrm>
            <a:custGeom>
              <a:avLst/>
              <a:gdLst>
                <a:gd name="T0" fmla="*/ 538 w 1119"/>
                <a:gd name="T1" fmla="*/ 49 h 1137"/>
                <a:gd name="T2" fmla="*/ 971 w 1119"/>
                <a:gd name="T3" fmla="*/ 537 h 1137"/>
                <a:gd name="T4" fmla="*/ 950 w 1119"/>
                <a:gd name="T5" fmla="*/ 447 h 1137"/>
                <a:gd name="T6" fmla="*/ 950 w 1119"/>
                <a:gd name="T7" fmla="*/ 332 h 1137"/>
                <a:gd name="T8" fmla="*/ 832 w 1119"/>
                <a:gd name="T9" fmla="*/ 172 h 1137"/>
                <a:gd name="T10" fmla="*/ 653 w 1119"/>
                <a:gd name="T11" fmla="*/ 83 h 1137"/>
                <a:gd name="T12" fmla="*/ 447 w 1119"/>
                <a:gd name="T13" fmla="*/ 87 h 1137"/>
                <a:gd name="T14" fmla="*/ 272 w 1119"/>
                <a:gd name="T15" fmla="*/ 184 h 1137"/>
                <a:gd name="T16" fmla="*/ 159 w 1119"/>
                <a:gd name="T17" fmla="*/ 349 h 1137"/>
                <a:gd name="T18" fmla="*/ 170 w 1119"/>
                <a:gd name="T19" fmla="*/ 453 h 1137"/>
                <a:gd name="T20" fmla="*/ 184 w 1119"/>
                <a:gd name="T21" fmla="*/ 566 h 1137"/>
                <a:gd name="T22" fmla="*/ 267 w 1119"/>
                <a:gd name="T23" fmla="*/ 297 h 1137"/>
                <a:gd name="T24" fmla="*/ 891 w 1119"/>
                <a:gd name="T25" fmla="*/ 345 h 1137"/>
                <a:gd name="T26" fmla="*/ 963 w 1119"/>
                <a:gd name="T27" fmla="*/ 632 h 1137"/>
                <a:gd name="T28" fmla="*/ 974 w 1119"/>
                <a:gd name="T29" fmla="*/ 508 h 1137"/>
                <a:gd name="T30" fmla="*/ 1095 w 1119"/>
                <a:gd name="T31" fmla="*/ 501 h 1137"/>
                <a:gd name="T32" fmla="*/ 991 w 1119"/>
                <a:gd name="T33" fmla="*/ 445 h 1137"/>
                <a:gd name="T34" fmla="*/ 934 w 1119"/>
                <a:gd name="T35" fmla="*/ 746 h 1137"/>
                <a:gd name="T36" fmla="*/ 954 w 1119"/>
                <a:gd name="T37" fmla="*/ 1021 h 1137"/>
                <a:gd name="T38" fmla="*/ 829 w 1119"/>
                <a:gd name="T39" fmla="*/ 1137 h 1137"/>
                <a:gd name="T40" fmla="*/ 422 w 1119"/>
                <a:gd name="T41" fmla="*/ 1021 h 1137"/>
                <a:gd name="T42" fmla="*/ 241 w 1119"/>
                <a:gd name="T43" fmla="*/ 1137 h 1137"/>
                <a:gd name="T44" fmla="*/ 158 w 1119"/>
                <a:gd name="T45" fmla="*/ 1020 h 1137"/>
                <a:gd name="T46" fmla="*/ 170 w 1119"/>
                <a:gd name="T47" fmla="*/ 724 h 1137"/>
                <a:gd name="T48" fmla="*/ 17 w 1119"/>
                <a:gd name="T49" fmla="*/ 534 h 1137"/>
                <a:gd name="T50" fmla="*/ 17 w 1119"/>
                <a:gd name="T51" fmla="*/ 428 h 1137"/>
                <a:gd name="T52" fmla="*/ 191 w 1119"/>
                <a:gd name="T53" fmla="*/ 241 h 1137"/>
                <a:gd name="T54" fmla="*/ 382 w 1119"/>
                <a:gd name="T55" fmla="*/ 6 h 1137"/>
                <a:gd name="T56" fmla="*/ 786 w 1119"/>
                <a:gd name="T57" fmla="*/ 110 h 1137"/>
                <a:gd name="T58" fmla="*/ 979 w 1119"/>
                <a:gd name="T59" fmla="*/ 338 h 1137"/>
                <a:gd name="T60" fmla="*/ 1117 w 1119"/>
                <a:gd name="T61" fmla="*/ 451 h 1137"/>
                <a:gd name="T62" fmla="*/ 184 w 1119"/>
                <a:gd name="T63" fmla="*/ 596 h 1137"/>
                <a:gd name="T64" fmla="*/ 184 w 1119"/>
                <a:gd name="T65" fmla="*/ 596 h 1137"/>
                <a:gd name="T66" fmla="*/ 121 w 1119"/>
                <a:gd name="T67" fmla="*/ 517 h 1137"/>
                <a:gd name="T68" fmla="*/ 137 w 1119"/>
                <a:gd name="T69" fmla="*/ 446 h 1137"/>
                <a:gd name="T70" fmla="*/ 415 w 1119"/>
                <a:gd name="T71" fmla="*/ 940 h 1137"/>
                <a:gd name="T72" fmla="*/ 799 w 1119"/>
                <a:gd name="T73" fmla="*/ 996 h 1137"/>
                <a:gd name="T74" fmla="*/ 766 w 1119"/>
                <a:gd name="T75" fmla="*/ 887 h 1137"/>
                <a:gd name="T76" fmla="*/ 318 w 1119"/>
                <a:gd name="T77" fmla="*/ 996 h 1137"/>
                <a:gd name="T78" fmla="*/ 441 w 1119"/>
                <a:gd name="T79" fmla="*/ 796 h 1137"/>
                <a:gd name="T80" fmla="*/ 674 w 1119"/>
                <a:gd name="T81" fmla="*/ 734 h 1137"/>
                <a:gd name="T82" fmla="*/ 415 w 1119"/>
                <a:gd name="T83" fmla="*/ 795 h 1137"/>
                <a:gd name="T84" fmla="*/ 670 w 1119"/>
                <a:gd name="T85" fmla="*/ 711 h 1137"/>
                <a:gd name="T86" fmla="*/ 701 w 1119"/>
                <a:gd name="T87" fmla="*/ 801 h 1137"/>
                <a:gd name="T88" fmla="*/ 812 w 1119"/>
                <a:gd name="T89" fmla="*/ 1101 h 1137"/>
                <a:gd name="T90" fmla="*/ 890 w 1119"/>
                <a:gd name="T91" fmla="*/ 1107 h 1137"/>
                <a:gd name="T92" fmla="*/ 225 w 1119"/>
                <a:gd name="T93" fmla="*/ 1104 h 1137"/>
                <a:gd name="T94" fmla="*/ 304 w 1119"/>
                <a:gd name="T95" fmla="*/ 1104 h 1137"/>
                <a:gd name="T96" fmla="*/ 796 w 1119"/>
                <a:gd name="T97" fmla="*/ 822 h 1137"/>
                <a:gd name="T98" fmla="*/ 830 w 1119"/>
                <a:gd name="T99" fmla="*/ 318 h 1137"/>
                <a:gd name="T100" fmla="*/ 245 w 1119"/>
                <a:gd name="T101" fmla="*/ 371 h 1137"/>
                <a:gd name="T102" fmla="*/ 286 w 1119"/>
                <a:gd name="T103" fmla="*/ 546 h 1137"/>
                <a:gd name="T104" fmla="*/ 816 w 1119"/>
                <a:gd name="T105" fmla="*/ 579 h 1137"/>
                <a:gd name="T106" fmla="*/ 800 w 1119"/>
                <a:gd name="T107" fmla="*/ 378 h 1137"/>
                <a:gd name="T108" fmla="*/ 274 w 1119"/>
                <a:gd name="T109" fmla="*/ 588 h 1137"/>
                <a:gd name="T110" fmla="*/ 301 w 1119"/>
                <a:gd name="T111" fmla="*/ 361 h 1137"/>
                <a:gd name="T112" fmla="*/ 824 w 1119"/>
                <a:gd name="T113" fmla="*/ 372 h 1137"/>
                <a:gd name="T114" fmla="*/ 837 w 1119"/>
                <a:gd name="T115" fmla="*/ 596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9" h="1137">
                  <a:moveTo>
                    <a:pt x="712" y="75"/>
                  </a:moveTo>
                  <a:lnTo>
                    <a:pt x="712" y="24"/>
                  </a:lnTo>
                  <a:lnTo>
                    <a:pt x="405" y="24"/>
                  </a:lnTo>
                  <a:lnTo>
                    <a:pt x="405" y="75"/>
                  </a:lnTo>
                  <a:lnTo>
                    <a:pt x="424" y="70"/>
                  </a:lnTo>
                  <a:lnTo>
                    <a:pt x="442" y="63"/>
                  </a:lnTo>
                  <a:lnTo>
                    <a:pt x="461" y="59"/>
                  </a:lnTo>
                  <a:lnTo>
                    <a:pt x="480" y="55"/>
                  </a:lnTo>
                  <a:lnTo>
                    <a:pt x="499" y="51"/>
                  </a:lnTo>
                  <a:lnTo>
                    <a:pt x="518" y="50"/>
                  </a:lnTo>
                  <a:lnTo>
                    <a:pt x="538" y="49"/>
                  </a:lnTo>
                  <a:lnTo>
                    <a:pt x="558" y="47"/>
                  </a:lnTo>
                  <a:lnTo>
                    <a:pt x="579" y="49"/>
                  </a:lnTo>
                  <a:lnTo>
                    <a:pt x="599" y="50"/>
                  </a:lnTo>
                  <a:lnTo>
                    <a:pt x="618" y="51"/>
                  </a:lnTo>
                  <a:lnTo>
                    <a:pt x="637" y="55"/>
                  </a:lnTo>
                  <a:lnTo>
                    <a:pt x="657" y="59"/>
                  </a:lnTo>
                  <a:lnTo>
                    <a:pt x="675" y="63"/>
                  </a:lnTo>
                  <a:lnTo>
                    <a:pt x="694" y="70"/>
                  </a:lnTo>
                  <a:lnTo>
                    <a:pt x="712" y="75"/>
                  </a:lnTo>
                  <a:close/>
                  <a:moveTo>
                    <a:pt x="934" y="566"/>
                  </a:moveTo>
                  <a:lnTo>
                    <a:pt x="971" y="537"/>
                  </a:lnTo>
                  <a:lnTo>
                    <a:pt x="967" y="534"/>
                  </a:lnTo>
                  <a:lnTo>
                    <a:pt x="962" y="532"/>
                  </a:lnTo>
                  <a:lnTo>
                    <a:pt x="958" y="528"/>
                  </a:lnTo>
                  <a:lnTo>
                    <a:pt x="955" y="522"/>
                  </a:lnTo>
                  <a:lnTo>
                    <a:pt x="953" y="518"/>
                  </a:lnTo>
                  <a:lnTo>
                    <a:pt x="950" y="513"/>
                  </a:lnTo>
                  <a:lnTo>
                    <a:pt x="949" y="507"/>
                  </a:lnTo>
                  <a:lnTo>
                    <a:pt x="949" y="501"/>
                  </a:lnTo>
                  <a:lnTo>
                    <a:pt x="949" y="459"/>
                  </a:lnTo>
                  <a:lnTo>
                    <a:pt x="949" y="453"/>
                  </a:lnTo>
                  <a:lnTo>
                    <a:pt x="950" y="447"/>
                  </a:lnTo>
                  <a:lnTo>
                    <a:pt x="953" y="441"/>
                  </a:lnTo>
                  <a:lnTo>
                    <a:pt x="957" y="436"/>
                  </a:lnTo>
                  <a:lnTo>
                    <a:pt x="961" y="432"/>
                  </a:lnTo>
                  <a:lnTo>
                    <a:pt x="966" y="428"/>
                  </a:lnTo>
                  <a:lnTo>
                    <a:pt x="971" y="424"/>
                  </a:lnTo>
                  <a:lnTo>
                    <a:pt x="978" y="422"/>
                  </a:lnTo>
                  <a:lnTo>
                    <a:pt x="974" y="403"/>
                  </a:lnTo>
                  <a:lnTo>
                    <a:pt x="969" y="384"/>
                  </a:lnTo>
                  <a:lnTo>
                    <a:pt x="963" y="367"/>
                  </a:lnTo>
                  <a:lnTo>
                    <a:pt x="958" y="349"/>
                  </a:lnTo>
                  <a:lnTo>
                    <a:pt x="950" y="332"/>
                  </a:lnTo>
                  <a:lnTo>
                    <a:pt x="944" y="316"/>
                  </a:lnTo>
                  <a:lnTo>
                    <a:pt x="934" y="299"/>
                  </a:lnTo>
                  <a:lnTo>
                    <a:pt x="925" y="283"/>
                  </a:lnTo>
                  <a:lnTo>
                    <a:pt x="916" y="267"/>
                  </a:lnTo>
                  <a:lnTo>
                    <a:pt x="905" y="253"/>
                  </a:lnTo>
                  <a:lnTo>
                    <a:pt x="895" y="237"/>
                  </a:lnTo>
                  <a:lnTo>
                    <a:pt x="883" y="224"/>
                  </a:lnTo>
                  <a:lnTo>
                    <a:pt x="871" y="209"/>
                  </a:lnTo>
                  <a:lnTo>
                    <a:pt x="858" y="196"/>
                  </a:lnTo>
                  <a:lnTo>
                    <a:pt x="845" y="184"/>
                  </a:lnTo>
                  <a:lnTo>
                    <a:pt x="832" y="172"/>
                  </a:lnTo>
                  <a:lnTo>
                    <a:pt x="817" y="160"/>
                  </a:lnTo>
                  <a:lnTo>
                    <a:pt x="803" y="150"/>
                  </a:lnTo>
                  <a:lnTo>
                    <a:pt x="787" y="139"/>
                  </a:lnTo>
                  <a:lnTo>
                    <a:pt x="771" y="130"/>
                  </a:lnTo>
                  <a:lnTo>
                    <a:pt x="755" y="121"/>
                  </a:lnTo>
                  <a:lnTo>
                    <a:pt x="740" y="113"/>
                  </a:lnTo>
                  <a:lnTo>
                    <a:pt x="722" y="105"/>
                  </a:lnTo>
                  <a:lnTo>
                    <a:pt x="705" y="99"/>
                  </a:lnTo>
                  <a:lnTo>
                    <a:pt x="688" y="92"/>
                  </a:lnTo>
                  <a:lnTo>
                    <a:pt x="670" y="87"/>
                  </a:lnTo>
                  <a:lnTo>
                    <a:pt x="653" y="83"/>
                  </a:lnTo>
                  <a:lnTo>
                    <a:pt x="634" y="79"/>
                  </a:lnTo>
                  <a:lnTo>
                    <a:pt x="616" y="76"/>
                  </a:lnTo>
                  <a:lnTo>
                    <a:pt x="596" y="74"/>
                  </a:lnTo>
                  <a:lnTo>
                    <a:pt x="578" y="72"/>
                  </a:lnTo>
                  <a:lnTo>
                    <a:pt x="558" y="72"/>
                  </a:lnTo>
                  <a:lnTo>
                    <a:pt x="540" y="72"/>
                  </a:lnTo>
                  <a:lnTo>
                    <a:pt x="521" y="74"/>
                  </a:lnTo>
                  <a:lnTo>
                    <a:pt x="501" y="76"/>
                  </a:lnTo>
                  <a:lnTo>
                    <a:pt x="483" y="79"/>
                  </a:lnTo>
                  <a:lnTo>
                    <a:pt x="465" y="83"/>
                  </a:lnTo>
                  <a:lnTo>
                    <a:pt x="447" y="87"/>
                  </a:lnTo>
                  <a:lnTo>
                    <a:pt x="429" y="92"/>
                  </a:lnTo>
                  <a:lnTo>
                    <a:pt x="412" y="99"/>
                  </a:lnTo>
                  <a:lnTo>
                    <a:pt x="395" y="105"/>
                  </a:lnTo>
                  <a:lnTo>
                    <a:pt x="378" y="113"/>
                  </a:lnTo>
                  <a:lnTo>
                    <a:pt x="362" y="121"/>
                  </a:lnTo>
                  <a:lnTo>
                    <a:pt x="346" y="130"/>
                  </a:lnTo>
                  <a:lnTo>
                    <a:pt x="330" y="139"/>
                  </a:lnTo>
                  <a:lnTo>
                    <a:pt x="314" y="150"/>
                  </a:lnTo>
                  <a:lnTo>
                    <a:pt x="300" y="160"/>
                  </a:lnTo>
                  <a:lnTo>
                    <a:pt x="286" y="172"/>
                  </a:lnTo>
                  <a:lnTo>
                    <a:pt x="272" y="184"/>
                  </a:lnTo>
                  <a:lnTo>
                    <a:pt x="259" y="196"/>
                  </a:lnTo>
                  <a:lnTo>
                    <a:pt x="246" y="209"/>
                  </a:lnTo>
                  <a:lnTo>
                    <a:pt x="234" y="224"/>
                  </a:lnTo>
                  <a:lnTo>
                    <a:pt x="222" y="237"/>
                  </a:lnTo>
                  <a:lnTo>
                    <a:pt x="212" y="251"/>
                  </a:lnTo>
                  <a:lnTo>
                    <a:pt x="201" y="267"/>
                  </a:lnTo>
                  <a:lnTo>
                    <a:pt x="192" y="283"/>
                  </a:lnTo>
                  <a:lnTo>
                    <a:pt x="183" y="299"/>
                  </a:lnTo>
                  <a:lnTo>
                    <a:pt x="175" y="314"/>
                  </a:lnTo>
                  <a:lnTo>
                    <a:pt x="167" y="332"/>
                  </a:lnTo>
                  <a:lnTo>
                    <a:pt x="159" y="349"/>
                  </a:lnTo>
                  <a:lnTo>
                    <a:pt x="154" y="367"/>
                  </a:lnTo>
                  <a:lnTo>
                    <a:pt x="149" y="384"/>
                  </a:lnTo>
                  <a:lnTo>
                    <a:pt x="143" y="403"/>
                  </a:lnTo>
                  <a:lnTo>
                    <a:pt x="139" y="421"/>
                  </a:lnTo>
                  <a:lnTo>
                    <a:pt x="146" y="424"/>
                  </a:lnTo>
                  <a:lnTo>
                    <a:pt x="151" y="426"/>
                  </a:lnTo>
                  <a:lnTo>
                    <a:pt x="157" y="430"/>
                  </a:lnTo>
                  <a:lnTo>
                    <a:pt x="162" y="436"/>
                  </a:lnTo>
                  <a:lnTo>
                    <a:pt x="164" y="441"/>
                  </a:lnTo>
                  <a:lnTo>
                    <a:pt x="167" y="446"/>
                  </a:lnTo>
                  <a:lnTo>
                    <a:pt x="170" y="453"/>
                  </a:lnTo>
                  <a:lnTo>
                    <a:pt x="170" y="459"/>
                  </a:lnTo>
                  <a:lnTo>
                    <a:pt x="170" y="501"/>
                  </a:lnTo>
                  <a:lnTo>
                    <a:pt x="170" y="507"/>
                  </a:lnTo>
                  <a:lnTo>
                    <a:pt x="168" y="513"/>
                  </a:lnTo>
                  <a:lnTo>
                    <a:pt x="166" y="518"/>
                  </a:lnTo>
                  <a:lnTo>
                    <a:pt x="163" y="522"/>
                  </a:lnTo>
                  <a:lnTo>
                    <a:pt x="161" y="528"/>
                  </a:lnTo>
                  <a:lnTo>
                    <a:pt x="157" y="532"/>
                  </a:lnTo>
                  <a:lnTo>
                    <a:pt x="151" y="534"/>
                  </a:lnTo>
                  <a:lnTo>
                    <a:pt x="147" y="537"/>
                  </a:lnTo>
                  <a:lnTo>
                    <a:pt x="184" y="566"/>
                  </a:lnTo>
                  <a:lnTo>
                    <a:pt x="184" y="566"/>
                  </a:lnTo>
                  <a:lnTo>
                    <a:pt x="221" y="367"/>
                  </a:lnTo>
                  <a:lnTo>
                    <a:pt x="225" y="347"/>
                  </a:lnTo>
                  <a:lnTo>
                    <a:pt x="230" y="332"/>
                  </a:lnTo>
                  <a:lnTo>
                    <a:pt x="234" y="324"/>
                  </a:lnTo>
                  <a:lnTo>
                    <a:pt x="238" y="318"/>
                  </a:lnTo>
                  <a:lnTo>
                    <a:pt x="243" y="312"/>
                  </a:lnTo>
                  <a:lnTo>
                    <a:pt x="247" y="308"/>
                  </a:lnTo>
                  <a:lnTo>
                    <a:pt x="254" y="304"/>
                  </a:lnTo>
                  <a:lnTo>
                    <a:pt x="259" y="300"/>
                  </a:lnTo>
                  <a:lnTo>
                    <a:pt x="267" y="297"/>
                  </a:lnTo>
                  <a:lnTo>
                    <a:pt x="274" y="295"/>
                  </a:lnTo>
                  <a:lnTo>
                    <a:pt x="291" y="292"/>
                  </a:lnTo>
                  <a:lnTo>
                    <a:pt x="312" y="291"/>
                  </a:lnTo>
                  <a:lnTo>
                    <a:pt x="807" y="291"/>
                  </a:lnTo>
                  <a:lnTo>
                    <a:pt x="824" y="293"/>
                  </a:lnTo>
                  <a:lnTo>
                    <a:pt x="840" y="296"/>
                  </a:lnTo>
                  <a:lnTo>
                    <a:pt x="853" y="303"/>
                  </a:lnTo>
                  <a:lnTo>
                    <a:pt x="865" y="309"/>
                  </a:lnTo>
                  <a:lnTo>
                    <a:pt x="875" y="320"/>
                  </a:lnTo>
                  <a:lnTo>
                    <a:pt x="884" y="330"/>
                  </a:lnTo>
                  <a:lnTo>
                    <a:pt x="891" y="345"/>
                  </a:lnTo>
                  <a:lnTo>
                    <a:pt x="896" y="361"/>
                  </a:lnTo>
                  <a:lnTo>
                    <a:pt x="934" y="563"/>
                  </a:lnTo>
                  <a:lnTo>
                    <a:pt x="934" y="566"/>
                  </a:lnTo>
                  <a:close/>
                  <a:moveTo>
                    <a:pt x="980" y="561"/>
                  </a:moveTo>
                  <a:lnTo>
                    <a:pt x="934" y="595"/>
                  </a:lnTo>
                  <a:lnTo>
                    <a:pt x="934" y="596"/>
                  </a:lnTo>
                  <a:lnTo>
                    <a:pt x="934" y="699"/>
                  </a:lnTo>
                  <a:lnTo>
                    <a:pt x="942" y="683"/>
                  </a:lnTo>
                  <a:lnTo>
                    <a:pt x="950" y="666"/>
                  </a:lnTo>
                  <a:lnTo>
                    <a:pt x="957" y="649"/>
                  </a:lnTo>
                  <a:lnTo>
                    <a:pt x="963" y="632"/>
                  </a:lnTo>
                  <a:lnTo>
                    <a:pt x="969" y="614"/>
                  </a:lnTo>
                  <a:lnTo>
                    <a:pt x="972" y="597"/>
                  </a:lnTo>
                  <a:lnTo>
                    <a:pt x="976" y="579"/>
                  </a:lnTo>
                  <a:lnTo>
                    <a:pt x="980" y="561"/>
                  </a:lnTo>
                  <a:close/>
                  <a:moveTo>
                    <a:pt x="988" y="445"/>
                  </a:moveTo>
                  <a:lnTo>
                    <a:pt x="982" y="446"/>
                  </a:lnTo>
                  <a:lnTo>
                    <a:pt x="976" y="449"/>
                  </a:lnTo>
                  <a:lnTo>
                    <a:pt x="974" y="454"/>
                  </a:lnTo>
                  <a:lnTo>
                    <a:pt x="972" y="459"/>
                  </a:lnTo>
                  <a:lnTo>
                    <a:pt x="972" y="501"/>
                  </a:lnTo>
                  <a:lnTo>
                    <a:pt x="974" y="508"/>
                  </a:lnTo>
                  <a:lnTo>
                    <a:pt x="976" y="512"/>
                  </a:lnTo>
                  <a:lnTo>
                    <a:pt x="982" y="516"/>
                  </a:lnTo>
                  <a:lnTo>
                    <a:pt x="988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6" y="517"/>
                  </a:lnTo>
                  <a:lnTo>
                    <a:pt x="1079" y="517"/>
                  </a:lnTo>
                  <a:lnTo>
                    <a:pt x="1086" y="516"/>
                  </a:lnTo>
                  <a:lnTo>
                    <a:pt x="1090" y="512"/>
                  </a:lnTo>
                  <a:lnTo>
                    <a:pt x="1094" y="508"/>
                  </a:lnTo>
                  <a:lnTo>
                    <a:pt x="1095" y="501"/>
                  </a:lnTo>
                  <a:lnTo>
                    <a:pt x="1095" y="459"/>
                  </a:lnTo>
                  <a:lnTo>
                    <a:pt x="1094" y="454"/>
                  </a:lnTo>
                  <a:lnTo>
                    <a:pt x="1090" y="449"/>
                  </a:lnTo>
                  <a:lnTo>
                    <a:pt x="1086" y="446"/>
                  </a:lnTo>
                  <a:lnTo>
                    <a:pt x="1079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1" y="445"/>
                  </a:lnTo>
                  <a:lnTo>
                    <a:pt x="991" y="445"/>
                  </a:lnTo>
                  <a:lnTo>
                    <a:pt x="988" y="445"/>
                  </a:lnTo>
                  <a:close/>
                  <a:moveTo>
                    <a:pt x="1079" y="541"/>
                  </a:moveTo>
                  <a:lnTo>
                    <a:pt x="1007" y="541"/>
                  </a:lnTo>
                  <a:lnTo>
                    <a:pt x="1003" y="568"/>
                  </a:lnTo>
                  <a:lnTo>
                    <a:pt x="997" y="595"/>
                  </a:lnTo>
                  <a:lnTo>
                    <a:pt x="991" y="621"/>
                  </a:lnTo>
                  <a:lnTo>
                    <a:pt x="983" y="647"/>
                  </a:lnTo>
                  <a:lnTo>
                    <a:pt x="974" y="674"/>
                  </a:lnTo>
                  <a:lnTo>
                    <a:pt x="962" y="699"/>
                  </a:lnTo>
                  <a:lnTo>
                    <a:pt x="949" y="722"/>
                  </a:lnTo>
                  <a:lnTo>
                    <a:pt x="934" y="746"/>
                  </a:lnTo>
                  <a:lnTo>
                    <a:pt x="934" y="817"/>
                  </a:lnTo>
                  <a:lnTo>
                    <a:pt x="954" y="817"/>
                  </a:lnTo>
                  <a:lnTo>
                    <a:pt x="959" y="818"/>
                  </a:lnTo>
                  <a:lnTo>
                    <a:pt x="963" y="821"/>
                  </a:lnTo>
                  <a:lnTo>
                    <a:pt x="966" y="825"/>
                  </a:lnTo>
                  <a:lnTo>
                    <a:pt x="966" y="829"/>
                  </a:lnTo>
                  <a:lnTo>
                    <a:pt x="966" y="1008"/>
                  </a:lnTo>
                  <a:lnTo>
                    <a:pt x="966" y="1013"/>
                  </a:lnTo>
                  <a:lnTo>
                    <a:pt x="963" y="1017"/>
                  </a:lnTo>
                  <a:lnTo>
                    <a:pt x="959" y="1020"/>
                  </a:lnTo>
                  <a:lnTo>
                    <a:pt x="954" y="1021"/>
                  </a:lnTo>
                  <a:lnTo>
                    <a:pt x="919" y="1021"/>
                  </a:lnTo>
                  <a:lnTo>
                    <a:pt x="919" y="1095"/>
                  </a:lnTo>
                  <a:lnTo>
                    <a:pt x="919" y="1103"/>
                  </a:lnTo>
                  <a:lnTo>
                    <a:pt x="916" y="1111"/>
                  </a:lnTo>
                  <a:lnTo>
                    <a:pt x="912" y="1119"/>
                  </a:lnTo>
                  <a:lnTo>
                    <a:pt x="907" y="1124"/>
                  </a:lnTo>
                  <a:lnTo>
                    <a:pt x="900" y="1129"/>
                  </a:lnTo>
                  <a:lnTo>
                    <a:pt x="894" y="1133"/>
                  </a:lnTo>
                  <a:lnTo>
                    <a:pt x="886" y="1136"/>
                  </a:lnTo>
                  <a:lnTo>
                    <a:pt x="876" y="1137"/>
                  </a:lnTo>
                  <a:lnTo>
                    <a:pt x="829" y="1137"/>
                  </a:lnTo>
                  <a:lnTo>
                    <a:pt x="821" y="1136"/>
                  </a:lnTo>
                  <a:lnTo>
                    <a:pt x="812" y="1133"/>
                  </a:lnTo>
                  <a:lnTo>
                    <a:pt x="805" y="1129"/>
                  </a:lnTo>
                  <a:lnTo>
                    <a:pt x="799" y="1124"/>
                  </a:lnTo>
                  <a:lnTo>
                    <a:pt x="794" y="1119"/>
                  </a:lnTo>
                  <a:lnTo>
                    <a:pt x="790" y="1111"/>
                  </a:lnTo>
                  <a:lnTo>
                    <a:pt x="788" y="1103"/>
                  </a:lnTo>
                  <a:lnTo>
                    <a:pt x="787" y="1095"/>
                  </a:lnTo>
                  <a:lnTo>
                    <a:pt x="787" y="1021"/>
                  </a:lnTo>
                  <a:lnTo>
                    <a:pt x="695" y="1021"/>
                  </a:lnTo>
                  <a:lnTo>
                    <a:pt x="422" y="1021"/>
                  </a:lnTo>
                  <a:lnTo>
                    <a:pt x="330" y="1021"/>
                  </a:lnTo>
                  <a:lnTo>
                    <a:pt x="330" y="1095"/>
                  </a:lnTo>
                  <a:lnTo>
                    <a:pt x="330" y="1103"/>
                  </a:lnTo>
                  <a:lnTo>
                    <a:pt x="328" y="1111"/>
                  </a:lnTo>
                  <a:lnTo>
                    <a:pt x="324" y="1119"/>
                  </a:lnTo>
                  <a:lnTo>
                    <a:pt x="318" y="1124"/>
                  </a:lnTo>
                  <a:lnTo>
                    <a:pt x="312" y="1129"/>
                  </a:lnTo>
                  <a:lnTo>
                    <a:pt x="305" y="1133"/>
                  </a:lnTo>
                  <a:lnTo>
                    <a:pt x="297" y="1136"/>
                  </a:lnTo>
                  <a:lnTo>
                    <a:pt x="288" y="1137"/>
                  </a:lnTo>
                  <a:lnTo>
                    <a:pt x="241" y="1137"/>
                  </a:lnTo>
                  <a:lnTo>
                    <a:pt x="233" y="1136"/>
                  </a:lnTo>
                  <a:lnTo>
                    <a:pt x="224" y="1133"/>
                  </a:lnTo>
                  <a:lnTo>
                    <a:pt x="217" y="1129"/>
                  </a:lnTo>
                  <a:lnTo>
                    <a:pt x="211" y="1124"/>
                  </a:lnTo>
                  <a:lnTo>
                    <a:pt x="205" y="1119"/>
                  </a:lnTo>
                  <a:lnTo>
                    <a:pt x="201" y="1111"/>
                  </a:lnTo>
                  <a:lnTo>
                    <a:pt x="199" y="1103"/>
                  </a:lnTo>
                  <a:lnTo>
                    <a:pt x="199" y="1095"/>
                  </a:lnTo>
                  <a:lnTo>
                    <a:pt x="199" y="1021"/>
                  </a:lnTo>
                  <a:lnTo>
                    <a:pt x="163" y="1021"/>
                  </a:lnTo>
                  <a:lnTo>
                    <a:pt x="158" y="1020"/>
                  </a:lnTo>
                  <a:lnTo>
                    <a:pt x="154" y="1017"/>
                  </a:lnTo>
                  <a:lnTo>
                    <a:pt x="151" y="1013"/>
                  </a:lnTo>
                  <a:lnTo>
                    <a:pt x="151" y="1008"/>
                  </a:lnTo>
                  <a:lnTo>
                    <a:pt x="151" y="829"/>
                  </a:lnTo>
                  <a:lnTo>
                    <a:pt x="151" y="825"/>
                  </a:lnTo>
                  <a:lnTo>
                    <a:pt x="154" y="821"/>
                  </a:lnTo>
                  <a:lnTo>
                    <a:pt x="158" y="818"/>
                  </a:lnTo>
                  <a:lnTo>
                    <a:pt x="163" y="817"/>
                  </a:lnTo>
                  <a:lnTo>
                    <a:pt x="184" y="817"/>
                  </a:lnTo>
                  <a:lnTo>
                    <a:pt x="184" y="747"/>
                  </a:lnTo>
                  <a:lnTo>
                    <a:pt x="170" y="724"/>
                  </a:lnTo>
                  <a:lnTo>
                    <a:pt x="157" y="700"/>
                  </a:lnTo>
                  <a:lnTo>
                    <a:pt x="145" y="675"/>
                  </a:lnTo>
                  <a:lnTo>
                    <a:pt x="134" y="649"/>
                  </a:lnTo>
                  <a:lnTo>
                    <a:pt x="126" y="622"/>
                  </a:lnTo>
                  <a:lnTo>
                    <a:pt x="120" y="596"/>
                  </a:lnTo>
                  <a:lnTo>
                    <a:pt x="114" y="568"/>
                  </a:lnTo>
                  <a:lnTo>
                    <a:pt x="111" y="541"/>
                  </a:lnTo>
                  <a:lnTo>
                    <a:pt x="39" y="541"/>
                  </a:lnTo>
                  <a:lnTo>
                    <a:pt x="32" y="539"/>
                  </a:lnTo>
                  <a:lnTo>
                    <a:pt x="24" y="538"/>
                  </a:lnTo>
                  <a:lnTo>
                    <a:pt x="17" y="534"/>
                  </a:lnTo>
                  <a:lnTo>
                    <a:pt x="12" y="529"/>
                  </a:lnTo>
                  <a:lnTo>
                    <a:pt x="7" y="524"/>
                  </a:lnTo>
                  <a:lnTo>
                    <a:pt x="3" y="517"/>
                  </a:lnTo>
                  <a:lnTo>
                    <a:pt x="1" y="509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1" y="451"/>
                  </a:lnTo>
                  <a:lnTo>
                    <a:pt x="3" y="445"/>
                  </a:lnTo>
                  <a:lnTo>
                    <a:pt x="7" y="438"/>
                  </a:lnTo>
                  <a:lnTo>
                    <a:pt x="12" y="432"/>
                  </a:lnTo>
                  <a:lnTo>
                    <a:pt x="17" y="428"/>
                  </a:lnTo>
                  <a:lnTo>
                    <a:pt x="24" y="424"/>
                  </a:lnTo>
                  <a:lnTo>
                    <a:pt x="32" y="421"/>
                  </a:lnTo>
                  <a:lnTo>
                    <a:pt x="39" y="420"/>
                  </a:lnTo>
                  <a:lnTo>
                    <a:pt x="116" y="420"/>
                  </a:lnTo>
                  <a:lnTo>
                    <a:pt x="121" y="392"/>
                  </a:lnTo>
                  <a:lnTo>
                    <a:pt x="129" y="364"/>
                  </a:lnTo>
                  <a:lnTo>
                    <a:pt x="138" y="338"/>
                  </a:lnTo>
                  <a:lnTo>
                    <a:pt x="149" y="312"/>
                  </a:lnTo>
                  <a:lnTo>
                    <a:pt x="162" y="287"/>
                  </a:lnTo>
                  <a:lnTo>
                    <a:pt x="175" y="263"/>
                  </a:lnTo>
                  <a:lnTo>
                    <a:pt x="191" y="241"/>
                  </a:lnTo>
                  <a:lnTo>
                    <a:pt x="208" y="218"/>
                  </a:lnTo>
                  <a:lnTo>
                    <a:pt x="225" y="197"/>
                  </a:lnTo>
                  <a:lnTo>
                    <a:pt x="245" y="178"/>
                  </a:lnTo>
                  <a:lnTo>
                    <a:pt x="264" y="158"/>
                  </a:lnTo>
                  <a:lnTo>
                    <a:pt x="286" y="141"/>
                  </a:lnTo>
                  <a:lnTo>
                    <a:pt x="309" y="125"/>
                  </a:lnTo>
                  <a:lnTo>
                    <a:pt x="332" y="110"/>
                  </a:lnTo>
                  <a:lnTo>
                    <a:pt x="357" y="97"/>
                  </a:lnTo>
                  <a:lnTo>
                    <a:pt x="382" y="85"/>
                  </a:lnTo>
                  <a:lnTo>
                    <a:pt x="382" y="12"/>
                  </a:lnTo>
                  <a:lnTo>
                    <a:pt x="382" y="6"/>
                  </a:lnTo>
                  <a:lnTo>
                    <a:pt x="384" y="3"/>
                  </a:lnTo>
                  <a:lnTo>
                    <a:pt x="388" y="0"/>
                  </a:lnTo>
                  <a:lnTo>
                    <a:pt x="393" y="0"/>
                  </a:lnTo>
                  <a:lnTo>
                    <a:pt x="724" y="0"/>
                  </a:lnTo>
                  <a:lnTo>
                    <a:pt x="729" y="0"/>
                  </a:lnTo>
                  <a:lnTo>
                    <a:pt x="733" y="3"/>
                  </a:lnTo>
                  <a:lnTo>
                    <a:pt x="736" y="6"/>
                  </a:lnTo>
                  <a:lnTo>
                    <a:pt x="736" y="12"/>
                  </a:lnTo>
                  <a:lnTo>
                    <a:pt x="736" y="85"/>
                  </a:lnTo>
                  <a:lnTo>
                    <a:pt x="761" y="97"/>
                  </a:lnTo>
                  <a:lnTo>
                    <a:pt x="786" y="110"/>
                  </a:lnTo>
                  <a:lnTo>
                    <a:pt x="809" y="125"/>
                  </a:lnTo>
                  <a:lnTo>
                    <a:pt x="832" y="141"/>
                  </a:lnTo>
                  <a:lnTo>
                    <a:pt x="853" y="158"/>
                  </a:lnTo>
                  <a:lnTo>
                    <a:pt x="872" y="178"/>
                  </a:lnTo>
                  <a:lnTo>
                    <a:pt x="892" y="197"/>
                  </a:lnTo>
                  <a:lnTo>
                    <a:pt x="911" y="218"/>
                  </a:lnTo>
                  <a:lnTo>
                    <a:pt x="926" y="239"/>
                  </a:lnTo>
                  <a:lnTo>
                    <a:pt x="942" y="263"/>
                  </a:lnTo>
                  <a:lnTo>
                    <a:pt x="955" y="287"/>
                  </a:lnTo>
                  <a:lnTo>
                    <a:pt x="969" y="312"/>
                  </a:lnTo>
                  <a:lnTo>
                    <a:pt x="979" y="338"/>
                  </a:lnTo>
                  <a:lnTo>
                    <a:pt x="988" y="364"/>
                  </a:lnTo>
                  <a:lnTo>
                    <a:pt x="996" y="392"/>
                  </a:lnTo>
                  <a:lnTo>
                    <a:pt x="1001" y="420"/>
                  </a:lnTo>
                  <a:lnTo>
                    <a:pt x="1079" y="420"/>
                  </a:lnTo>
                  <a:lnTo>
                    <a:pt x="1087" y="421"/>
                  </a:lnTo>
                  <a:lnTo>
                    <a:pt x="1095" y="424"/>
                  </a:lnTo>
                  <a:lnTo>
                    <a:pt x="1101" y="428"/>
                  </a:lnTo>
                  <a:lnTo>
                    <a:pt x="1107" y="432"/>
                  </a:lnTo>
                  <a:lnTo>
                    <a:pt x="1112" y="438"/>
                  </a:lnTo>
                  <a:lnTo>
                    <a:pt x="1116" y="445"/>
                  </a:lnTo>
                  <a:lnTo>
                    <a:pt x="1117" y="451"/>
                  </a:lnTo>
                  <a:lnTo>
                    <a:pt x="1119" y="459"/>
                  </a:lnTo>
                  <a:lnTo>
                    <a:pt x="1119" y="501"/>
                  </a:lnTo>
                  <a:lnTo>
                    <a:pt x="1117" y="509"/>
                  </a:lnTo>
                  <a:lnTo>
                    <a:pt x="1116" y="517"/>
                  </a:lnTo>
                  <a:lnTo>
                    <a:pt x="1112" y="524"/>
                  </a:lnTo>
                  <a:lnTo>
                    <a:pt x="1107" y="529"/>
                  </a:lnTo>
                  <a:lnTo>
                    <a:pt x="1101" y="534"/>
                  </a:lnTo>
                  <a:lnTo>
                    <a:pt x="1095" y="538"/>
                  </a:lnTo>
                  <a:lnTo>
                    <a:pt x="1087" y="539"/>
                  </a:lnTo>
                  <a:lnTo>
                    <a:pt x="1079" y="541"/>
                  </a:lnTo>
                  <a:close/>
                  <a:moveTo>
                    <a:pt x="184" y="596"/>
                  </a:moveTo>
                  <a:lnTo>
                    <a:pt x="183" y="595"/>
                  </a:lnTo>
                  <a:lnTo>
                    <a:pt x="137" y="561"/>
                  </a:lnTo>
                  <a:lnTo>
                    <a:pt x="141" y="579"/>
                  </a:lnTo>
                  <a:lnTo>
                    <a:pt x="145" y="597"/>
                  </a:lnTo>
                  <a:lnTo>
                    <a:pt x="149" y="614"/>
                  </a:lnTo>
                  <a:lnTo>
                    <a:pt x="155" y="633"/>
                  </a:lnTo>
                  <a:lnTo>
                    <a:pt x="161" y="650"/>
                  </a:lnTo>
                  <a:lnTo>
                    <a:pt x="168" y="667"/>
                  </a:lnTo>
                  <a:lnTo>
                    <a:pt x="176" y="684"/>
                  </a:lnTo>
                  <a:lnTo>
                    <a:pt x="184" y="701"/>
                  </a:lnTo>
                  <a:lnTo>
                    <a:pt x="184" y="596"/>
                  </a:lnTo>
                  <a:close/>
                  <a:moveTo>
                    <a:pt x="39" y="445"/>
                  </a:moveTo>
                  <a:lnTo>
                    <a:pt x="33" y="446"/>
                  </a:lnTo>
                  <a:lnTo>
                    <a:pt x="29" y="449"/>
                  </a:lnTo>
                  <a:lnTo>
                    <a:pt x="25" y="454"/>
                  </a:lnTo>
                  <a:lnTo>
                    <a:pt x="24" y="459"/>
                  </a:lnTo>
                  <a:lnTo>
                    <a:pt x="24" y="501"/>
                  </a:lnTo>
                  <a:lnTo>
                    <a:pt x="25" y="508"/>
                  </a:lnTo>
                  <a:lnTo>
                    <a:pt x="29" y="512"/>
                  </a:lnTo>
                  <a:lnTo>
                    <a:pt x="33" y="516"/>
                  </a:lnTo>
                  <a:lnTo>
                    <a:pt x="39" y="517"/>
                  </a:lnTo>
                  <a:lnTo>
                    <a:pt x="121" y="517"/>
                  </a:lnTo>
                  <a:lnTo>
                    <a:pt x="122" y="517"/>
                  </a:lnTo>
                  <a:lnTo>
                    <a:pt x="122" y="517"/>
                  </a:lnTo>
                  <a:lnTo>
                    <a:pt x="130" y="517"/>
                  </a:lnTo>
                  <a:lnTo>
                    <a:pt x="137" y="516"/>
                  </a:lnTo>
                  <a:lnTo>
                    <a:pt x="141" y="512"/>
                  </a:lnTo>
                  <a:lnTo>
                    <a:pt x="145" y="508"/>
                  </a:lnTo>
                  <a:lnTo>
                    <a:pt x="146" y="501"/>
                  </a:lnTo>
                  <a:lnTo>
                    <a:pt x="146" y="459"/>
                  </a:lnTo>
                  <a:lnTo>
                    <a:pt x="145" y="454"/>
                  </a:lnTo>
                  <a:lnTo>
                    <a:pt x="141" y="449"/>
                  </a:lnTo>
                  <a:lnTo>
                    <a:pt x="137" y="446"/>
                  </a:lnTo>
                  <a:lnTo>
                    <a:pt x="130" y="445"/>
                  </a:lnTo>
                  <a:lnTo>
                    <a:pt x="39" y="445"/>
                  </a:lnTo>
                  <a:close/>
                  <a:moveTo>
                    <a:pt x="682" y="996"/>
                  </a:moveTo>
                  <a:lnTo>
                    <a:pt x="682" y="961"/>
                  </a:lnTo>
                  <a:lnTo>
                    <a:pt x="436" y="961"/>
                  </a:lnTo>
                  <a:lnTo>
                    <a:pt x="436" y="996"/>
                  </a:lnTo>
                  <a:lnTo>
                    <a:pt x="682" y="996"/>
                  </a:lnTo>
                  <a:close/>
                  <a:moveTo>
                    <a:pt x="412" y="996"/>
                  </a:moveTo>
                  <a:lnTo>
                    <a:pt x="412" y="947"/>
                  </a:lnTo>
                  <a:lnTo>
                    <a:pt x="412" y="943"/>
                  </a:lnTo>
                  <a:lnTo>
                    <a:pt x="415" y="940"/>
                  </a:lnTo>
                  <a:lnTo>
                    <a:pt x="418" y="937"/>
                  </a:lnTo>
                  <a:lnTo>
                    <a:pt x="424" y="936"/>
                  </a:lnTo>
                  <a:lnTo>
                    <a:pt x="694" y="936"/>
                  </a:lnTo>
                  <a:lnTo>
                    <a:pt x="699" y="937"/>
                  </a:lnTo>
                  <a:lnTo>
                    <a:pt x="703" y="940"/>
                  </a:lnTo>
                  <a:lnTo>
                    <a:pt x="705" y="943"/>
                  </a:lnTo>
                  <a:lnTo>
                    <a:pt x="707" y="947"/>
                  </a:lnTo>
                  <a:lnTo>
                    <a:pt x="707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907" y="996"/>
                  </a:lnTo>
                  <a:lnTo>
                    <a:pt x="907" y="996"/>
                  </a:lnTo>
                  <a:lnTo>
                    <a:pt x="908" y="996"/>
                  </a:lnTo>
                  <a:lnTo>
                    <a:pt x="942" y="996"/>
                  </a:lnTo>
                  <a:lnTo>
                    <a:pt x="94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809" y="842"/>
                  </a:lnTo>
                  <a:lnTo>
                    <a:pt x="770" y="884"/>
                  </a:lnTo>
                  <a:lnTo>
                    <a:pt x="766" y="887"/>
                  </a:lnTo>
                  <a:lnTo>
                    <a:pt x="762" y="888"/>
                  </a:lnTo>
                  <a:lnTo>
                    <a:pt x="357" y="888"/>
                  </a:lnTo>
                  <a:lnTo>
                    <a:pt x="351" y="887"/>
                  </a:lnTo>
                  <a:lnTo>
                    <a:pt x="347" y="884"/>
                  </a:lnTo>
                  <a:lnTo>
                    <a:pt x="308" y="842"/>
                  </a:lnTo>
                  <a:lnTo>
                    <a:pt x="175" y="842"/>
                  </a:lnTo>
                  <a:lnTo>
                    <a:pt x="175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318" y="996"/>
                  </a:lnTo>
                  <a:lnTo>
                    <a:pt x="318" y="996"/>
                  </a:lnTo>
                  <a:lnTo>
                    <a:pt x="320" y="996"/>
                  </a:lnTo>
                  <a:lnTo>
                    <a:pt x="412" y="996"/>
                  </a:lnTo>
                  <a:close/>
                  <a:moveTo>
                    <a:pt x="447" y="734"/>
                  </a:moveTo>
                  <a:lnTo>
                    <a:pt x="443" y="734"/>
                  </a:lnTo>
                  <a:lnTo>
                    <a:pt x="441" y="737"/>
                  </a:lnTo>
                  <a:lnTo>
                    <a:pt x="438" y="741"/>
                  </a:lnTo>
                  <a:lnTo>
                    <a:pt x="438" y="745"/>
                  </a:lnTo>
                  <a:lnTo>
                    <a:pt x="438" y="788"/>
                  </a:lnTo>
                  <a:lnTo>
                    <a:pt x="438" y="792"/>
                  </a:lnTo>
                  <a:lnTo>
                    <a:pt x="441" y="796"/>
                  </a:lnTo>
                  <a:lnTo>
                    <a:pt x="443" y="797"/>
                  </a:lnTo>
                  <a:lnTo>
                    <a:pt x="447" y="799"/>
                  </a:lnTo>
                  <a:lnTo>
                    <a:pt x="670" y="799"/>
                  </a:lnTo>
                  <a:lnTo>
                    <a:pt x="674" y="797"/>
                  </a:lnTo>
                  <a:lnTo>
                    <a:pt x="676" y="796"/>
                  </a:lnTo>
                  <a:lnTo>
                    <a:pt x="679" y="792"/>
                  </a:lnTo>
                  <a:lnTo>
                    <a:pt x="679" y="788"/>
                  </a:lnTo>
                  <a:lnTo>
                    <a:pt x="679" y="745"/>
                  </a:lnTo>
                  <a:lnTo>
                    <a:pt x="679" y="741"/>
                  </a:lnTo>
                  <a:lnTo>
                    <a:pt x="676" y="737"/>
                  </a:lnTo>
                  <a:lnTo>
                    <a:pt x="674" y="734"/>
                  </a:lnTo>
                  <a:lnTo>
                    <a:pt x="670" y="734"/>
                  </a:lnTo>
                  <a:lnTo>
                    <a:pt x="447" y="734"/>
                  </a:lnTo>
                  <a:close/>
                  <a:moveTo>
                    <a:pt x="670" y="822"/>
                  </a:moveTo>
                  <a:lnTo>
                    <a:pt x="447" y="822"/>
                  </a:lnTo>
                  <a:lnTo>
                    <a:pt x="441" y="822"/>
                  </a:lnTo>
                  <a:lnTo>
                    <a:pt x="434" y="820"/>
                  </a:lnTo>
                  <a:lnTo>
                    <a:pt x="429" y="817"/>
                  </a:lnTo>
                  <a:lnTo>
                    <a:pt x="424" y="813"/>
                  </a:lnTo>
                  <a:lnTo>
                    <a:pt x="420" y="808"/>
                  </a:lnTo>
                  <a:lnTo>
                    <a:pt x="416" y="801"/>
                  </a:lnTo>
                  <a:lnTo>
                    <a:pt x="415" y="795"/>
                  </a:lnTo>
                  <a:lnTo>
                    <a:pt x="413" y="788"/>
                  </a:lnTo>
                  <a:lnTo>
                    <a:pt x="413" y="745"/>
                  </a:lnTo>
                  <a:lnTo>
                    <a:pt x="415" y="737"/>
                  </a:lnTo>
                  <a:lnTo>
                    <a:pt x="416" y="730"/>
                  </a:lnTo>
                  <a:lnTo>
                    <a:pt x="420" y="725"/>
                  </a:lnTo>
                  <a:lnTo>
                    <a:pt x="424" y="720"/>
                  </a:lnTo>
                  <a:lnTo>
                    <a:pt x="429" y="716"/>
                  </a:lnTo>
                  <a:lnTo>
                    <a:pt x="434" y="713"/>
                  </a:lnTo>
                  <a:lnTo>
                    <a:pt x="441" y="711"/>
                  </a:lnTo>
                  <a:lnTo>
                    <a:pt x="447" y="711"/>
                  </a:lnTo>
                  <a:lnTo>
                    <a:pt x="670" y="711"/>
                  </a:lnTo>
                  <a:lnTo>
                    <a:pt x="676" y="711"/>
                  </a:lnTo>
                  <a:lnTo>
                    <a:pt x="683" y="713"/>
                  </a:lnTo>
                  <a:lnTo>
                    <a:pt x="688" y="716"/>
                  </a:lnTo>
                  <a:lnTo>
                    <a:pt x="694" y="720"/>
                  </a:lnTo>
                  <a:lnTo>
                    <a:pt x="697" y="725"/>
                  </a:lnTo>
                  <a:lnTo>
                    <a:pt x="701" y="730"/>
                  </a:lnTo>
                  <a:lnTo>
                    <a:pt x="703" y="737"/>
                  </a:lnTo>
                  <a:lnTo>
                    <a:pt x="704" y="745"/>
                  </a:lnTo>
                  <a:lnTo>
                    <a:pt x="704" y="788"/>
                  </a:lnTo>
                  <a:lnTo>
                    <a:pt x="703" y="795"/>
                  </a:lnTo>
                  <a:lnTo>
                    <a:pt x="701" y="801"/>
                  </a:lnTo>
                  <a:lnTo>
                    <a:pt x="697" y="808"/>
                  </a:lnTo>
                  <a:lnTo>
                    <a:pt x="694" y="813"/>
                  </a:lnTo>
                  <a:lnTo>
                    <a:pt x="688" y="817"/>
                  </a:lnTo>
                  <a:lnTo>
                    <a:pt x="683" y="820"/>
                  </a:lnTo>
                  <a:lnTo>
                    <a:pt x="676" y="822"/>
                  </a:lnTo>
                  <a:lnTo>
                    <a:pt x="670" y="822"/>
                  </a:lnTo>
                  <a:close/>
                  <a:moveTo>
                    <a:pt x="895" y="1021"/>
                  </a:moveTo>
                  <a:lnTo>
                    <a:pt x="811" y="1021"/>
                  </a:lnTo>
                  <a:lnTo>
                    <a:pt x="811" y="1095"/>
                  </a:lnTo>
                  <a:lnTo>
                    <a:pt x="811" y="1097"/>
                  </a:lnTo>
                  <a:lnTo>
                    <a:pt x="812" y="1101"/>
                  </a:lnTo>
                  <a:lnTo>
                    <a:pt x="813" y="1104"/>
                  </a:lnTo>
                  <a:lnTo>
                    <a:pt x="816" y="1107"/>
                  </a:lnTo>
                  <a:lnTo>
                    <a:pt x="819" y="1109"/>
                  </a:lnTo>
                  <a:lnTo>
                    <a:pt x="821" y="1111"/>
                  </a:lnTo>
                  <a:lnTo>
                    <a:pt x="825" y="1112"/>
                  </a:lnTo>
                  <a:lnTo>
                    <a:pt x="829" y="1112"/>
                  </a:lnTo>
                  <a:lnTo>
                    <a:pt x="876" y="1112"/>
                  </a:lnTo>
                  <a:lnTo>
                    <a:pt x="880" y="1112"/>
                  </a:lnTo>
                  <a:lnTo>
                    <a:pt x="884" y="1111"/>
                  </a:lnTo>
                  <a:lnTo>
                    <a:pt x="887" y="1109"/>
                  </a:lnTo>
                  <a:lnTo>
                    <a:pt x="890" y="1107"/>
                  </a:lnTo>
                  <a:lnTo>
                    <a:pt x="892" y="1104"/>
                  </a:lnTo>
                  <a:lnTo>
                    <a:pt x="894" y="1101"/>
                  </a:lnTo>
                  <a:lnTo>
                    <a:pt x="895" y="1097"/>
                  </a:lnTo>
                  <a:lnTo>
                    <a:pt x="895" y="1095"/>
                  </a:lnTo>
                  <a:lnTo>
                    <a:pt x="895" y="1021"/>
                  </a:lnTo>
                  <a:close/>
                  <a:moveTo>
                    <a:pt x="307" y="1021"/>
                  </a:moveTo>
                  <a:lnTo>
                    <a:pt x="222" y="1021"/>
                  </a:lnTo>
                  <a:lnTo>
                    <a:pt x="222" y="1095"/>
                  </a:lnTo>
                  <a:lnTo>
                    <a:pt x="222" y="1097"/>
                  </a:lnTo>
                  <a:lnTo>
                    <a:pt x="224" y="1101"/>
                  </a:lnTo>
                  <a:lnTo>
                    <a:pt x="225" y="1104"/>
                  </a:lnTo>
                  <a:lnTo>
                    <a:pt x="228" y="1107"/>
                  </a:lnTo>
                  <a:lnTo>
                    <a:pt x="230" y="1109"/>
                  </a:lnTo>
                  <a:lnTo>
                    <a:pt x="234" y="1111"/>
                  </a:lnTo>
                  <a:lnTo>
                    <a:pt x="237" y="1112"/>
                  </a:lnTo>
                  <a:lnTo>
                    <a:pt x="241" y="1112"/>
                  </a:lnTo>
                  <a:lnTo>
                    <a:pt x="288" y="1112"/>
                  </a:lnTo>
                  <a:lnTo>
                    <a:pt x="292" y="1112"/>
                  </a:lnTo>
                  <a:lnTo>
                    <a:pt x="296" y="1111"/>
                  </a:lnTo>
                  <a:lnTo>
                    <a:pt x="299" y="1109"/>
                  </a:lnTo>
                  <a:lnTo>
                    <a:pt x="301" y="1107"/>
                  </a:lnTo>
                  <a:lnTo>
                    <a:pt x="304" y="1104"/>
                  </a:lnTo>
                  <a:lnTo>
                    <a:pt x="305" y="1101"/>
                  </a:lnTo>
                  <a:lnTo>
                    <a:pt x="307" y="1097"/>
                  </a:lnTo>
                  <a:lnTo>
                    <a:pt x="307" y="1095"/>
                  </a:lnTo>
                  <a:lnTo>
                    <a:pt x="307" y="1021"/>
                  </a:lnTo>
                  <a:close/>
                  <a:moveTo>
                    <a:pt x="208" y="817"/>
                  </a:moveTo>
                  <a:lnTo>
                    <a:pt x="313" y="817"/>
                  </a:lnTo>
                  <a:lnTo>
                    <a:pt x="317" y="818"/>
                  </a:lnTo>
                  <a:lnTo>
                    <a:pt x="321" y="822"/>
                  </a:lnTo>
                  <a:lnTo>
                    <a:pt x="362" y="863"/>
                  </a:lnTo>
                  <a:lnTo>
                    <a:pt x="757" y="863"/>
                  </a:lnTo>
                  <a:lnTo>
                    <a:pt x="796" y="822"/>
                  </a:lnTo>
                  <a:lnTo>
                    <a:pt x="800" y="818"/>
                  </a:lnTo>
                  <a:lnTo>
                    <a:pt x="805" y="817"/>
                  </a:lnTo>
                  <a:lnTo>
                    <a:pt x="911" y="817"/>
                  </a:lnTo>
                  <a:lnTo>
                    <a:pt x="911" y="566"/>
                  </a:lnTo>
                  <a:lnTo>
                    <a:pt x="874" y="366"/>
                  </a:lnTo>
                  <a:lnTo>
                    <a:pt x="870" y="354"/>
                  </a:lnTo>
                  <a:lnTo>
                    <a:pt x="865" y="343"/>
                  </a:lnTo>
                  <a:lnTo>
                    <a:pt x="858" y="335"/>
                  </a:lnTo>
                  <a:lnTo>
                    <a:pt x="850" y="329"/>
                  </a:lnTo>
                  <a:lnTo>
                    <a:pt x="841" y="322"/>
                  </a:lnTo>
                  <a:lnTo>
                    <a:pt x="830" y="318"/>
                  </a:lnTo>
                  <a:lnTo>
                    <a:pt x="820" y="316"/>
                  </a:lnTo>
                  <a:lnTo>
                    <a:pt x="807" y="316"/>
                  </a:lnTo>
                  <a:lnTo>
                    <a:pt x="312" y="316"/>
                  </a:lnTo>
                  <a:lnTo>
                    <a:pt x="296" y="316"/>
                  </a:lnTo>
                  <a:lnTo>
                    <a:pt x="283" y="317"/>
                  </a:lnTo>
                  <a:lnTo>
                    <a:pt x="271" y="321"/>
                  </a:lnTo>
                  <a:lnTo>
                    <a:pt x="263" y="326"/>
                  </a:lnTo>
                  <a:lnTo>
                    <a:pt x="257" y="333"/>
                  </a:lnTo>
                  <a:lnTo>
                    <a:pt x="251" y="343"/>
                  </a:lnTo>
                  <a:lnTo>
                    <a:pt x="247" y="355"/>
                  </a:lnTo>
                  <a:lnTo>
                    <a:pt x="245" y="371"/>
                  </a:lnTo>
                  <a:lnTo>
                    <a:pt x="208" y="567"/>
                  </a:lnTo>
                  <a:lnTo>
                    <a:pt x="208" y="817"/>
                  </a:lnTo>
                  <a:close/>
                  <a:moveTo>
                    <a:pt x="828" y="387"/>
                  </a:moveTo>
                  <a:lnTo>
                    <a:pt x="828" y="387"/>
                  </a:lnTo>
                  <a:lnTo>
                    <a:pt x="828" y="387"/>
                  </a:lnTo>
                  <a:close/>
                  <a:moveTo>
                    <a:pt x="328" y="374"/>
                  </a:moveTo>
                  <a:lnTo>
                    <a:pt x="322" y="375"/>
                  </a:lnTo>
                  <a:lnTo>
                    <a:pt x="318" y="378"/>
                  </a:lnTo>
                  <a:lnTo>
                    <a:pt x="316" y="382"/>
                  </a:lnTo>
                  <a:lnTo>
                    <a:pt x="314" y="387"/>
                  </a:lnTo>
                  <a:lnTo>
                    <a:pt x="286" y="546"/>
                  </a:lnTo>
                  <a:lnTo>
                    <a:pt x="286" y="554"/>
                  </a:lnTo>
                  <a:lnTo>
                    <a:pt x="286" y="561"/>
                  </a:lnTo>
                  <a:lnTo>
                    <a:pt x="288" y="567"/>
                  </a:lnTo>
                  <a:lnTo>
                    <a:pt x="292" y="572"/>
                  </a:lnTo>
                  <a:lnTo>
                    <a:pt x="296" y="576"/>
                  </a:lnTo>
                  <a:lnTo>
                    <a:pt x="303" y="579"/>
                  </a:lnTo>
                  <a:lnTo>
                    <a:pt x="309" y="582"/>
                  </a:lnTo>
                  <a:lnTo>
                    <a:pt x="316" y="582"/>
                  </a:lnTo>
                  <a:lnTo>
                    <a:pt x="801" y="582"/>
                  </a:lnTo>
                  <a:lnTo>
                    <a:pt x="809" y="582"/>
                  </a:lnTo>
                  <a:lnTo>
                    <a:pt x="816" y="579"/>
                  </a:lnTo>
                  <a:lnTo>
                    <a:pt x="822" y="576"/>
                  </a:lnTo>
                  <a:lnTo>
                    <a:pt x="826" y="572"/>
                  </a:lnTo>
                  <a:lnTo>
                    <a:pt x="830" y="567"/>
                  </a:lnTo>
                  <a:lnTo>
                    <a:pt x="833" y="561"/>
                  </a:lnTo>
                  <a:lnTo>
                    <a:pt x="833" y="554"/>
                  </a:lnTo>
                  <a:lnTo>
                    <a:pt x="833" y="546"/>
                  </a:lnTo>
                  <a:lnTo>
                    <a:pt x="804" y="389"/>
                  </a:lnTo>
                  <a:lnTo>
                    <a:pt x="804" y="388"/>
                  </a:lnTo>
                  <a:lnTo>
                    <a:pt x="804" y="387"/>
                  </a:lnTo>
                  <a:lnTo>
                    <a:pt x="803" y="382"/>
                  </a:lnTo>
                  <a:lnTo>
                    <a:pt x="800" y="378"/>
                  </a:lnTo>
                  <a:lnTo>
                    <a:pt x="795" y="375"/>
                  </a:lnTo>
                  <a:lnTo>
                    <a:pt x="790" y="374"/>
                  </a:lnTo>
                  <a:lnTo>
                    <a:pt x="328" y="374"/>
                  </a:lnTo>
                  <a:close/>
                  <a:moveTo>
                    <a:pt x="801" y="607"/>
                  </a:moveTo>
                  <a:lnTo>
                    <a:pt x="316" y="607"/>
                  </a:lnTo>
                  <a:lnTo>
                    <a:pt x="304" y="605"/>
                  </a:lnTo>
                  <a:lnTo>
                    <a:pt x="292" y="601"/>
                  </a:lnTo>
                  <a:lnTo>
                    <a:pt x="287" y="599"/>
                  </a:lnTo>
                  <a:lnTo>
                    <a:pt x="282" y="596"/>
                  </a:lnTo>
                  <a:lnTo>
                    <a:pt x="278" y="592"/>
                  </a:lnTo>
                  <a:lnTo>
                    <a:pt x="274" y="588"/>
                  </a:lnTo>
                  <a:lnTo>
                    <a:pt x="270" y="583"/>
                  </a:lnTo>
                  <a:lnTo>
                    <a:pt x="267" y="579"/>
                  </a:lnTo>
                  <a:lnTo>
                    <a:pt x="264" y="574"/>
                  </a:lnTo>
                  <a:lnTo>
                    <a:pt x="263" y="567"/>
                  </a:lnTo>
                  <a:lnTo>
                    <a:pt x="261" y="555"/>
                  </a:lnTo>
                  <a:lnTo>
                    <a:pt x="262" y="542"/>
                  </a:lnTo>
                  <a:lnTo>
                    <a:pt x="291" y="386"/>
                  </a:lnTo>
                  <a:lnTo>
                    <a:pt x="292" y="379"/>
                  </a:lnTo>
                  <a:lnTo>
                    <a:pt x="293" y="372"/>
                  </a:lnTo>
                  <a:lnTo>
                    <a:pt x="297" y="366"/>
                  </a:lnTo>
                  <a:lnTo>
                    <a:pt x="301" y="361"/>
                  </a:lnTo>
                  <a:lnTo>
                    <a:pt x="308" y="357"/>
                  </a:lnTo>
                  <a:lnTo>
                    <a:pt x="313" y="353"/>
                  </a:lnTo>
                  <a:lnTo>
                    <a:pt x="321" y="350"/>
                  </a:lnTo>
                  <a:lnTo>
                    <a:pt x="328" y="350"/>
                  </a:lnTo>
                  <a:lnTo>
                    <a:pt x="790" y="350"/>
                  </a:lnTo>
                  <a:lnTo>
                    <a:pt x="797" y="350"/>
                  </a:lnTo>
                  <a:lnTo>
                    <a:pt x="804" y="353"/>
                  </a:lnTo>
                  <a:lnTo>
                    <a:pt x="811" y="357"/>
                  </a:lnTo>
                  <a:lnTo>
                    <a:pt x="816" y="361"/>
                  </a:lnTo>
                  <a:lnTo>
                    <a:pt x="821" y="366"/>
                  </a:lnTo>
                  <a:lnTo>
                    <a:pt x="824" y="372"/>
                  </a:lnTo>
                  <a:lnTo>
                    <a:pt x="826" y="379"/>
                  </a:lnTo>
                  <a:lnTo>
                    <a:pt x="828" y="386"/>
                  </a:lnTo>
                  <a:lnTo>
                    <a:pt x="857" y="542"/>
                  </a:lnTo>
                  <a:lnTo>
                    <a:pt x="857" y="555"/>
                  </a:lnTo>
                  <a:lnTo>
                    <a:pt x="855" y="567"/>
                  </a:lnTo>
                  <a:lnTo>
                    <a:pt x="854" y="574"/>
                  </a:lnTo>
                  <a:lnTo>
                    <a:pt x="851" y="579"/>
                  </a:lnTo>
                  <a:lnTo>
                    <a:pt x="849" y="583"/>
                  </a:lnTo>
                  <a:lnTo>
                    <a:pt x="845" y="588"/>
                  </a:lnTo>
                  <a:lnTo>
                    <a:pt x="841" y="592"/>
                  </a:lnTo>
                  <a:lnTo>
                    <a:pt x="837" y="596"/>
                  </a:lnTo>
                  <a:lnTo>
                    <a:pt x="832" y="599"/>
                  </a:lnTo>
                  <a:lnTo>
                    <a:pt x="826" y="601"/>
                  </a:lnTo>
                  <a:lnTo>
                    <a:pt x="815" y="605"/>
                  </a:lnTo>
                  <a:lnTo>
                    <a:pt x="801" y="607"/>
                  </a:lnTo>
                  <a:close/>
                </a:path>
              </a:pathLst>
            </a:custGeom>
            <a:grpFill/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67" name="Freeform 405"/>
            <p:cNvSpPr>
              <a:spLocks noEditPoints="1"/>
            </p:cNvSpPr>
            <p:nvPr/>
          </p:nvSpPr>
          <p:spPr bwMode="auto">
            <a:xfrm>
              <a:off x="5486400" y="3460750"/>
              <a:ext cx="280988" cy="34925"/>
            </a:xfrm>
            <a:custGeom>
              <a:avLst/>
              <a:gdLst>
                <a:gd name="T0" fmla="*/ 604 w 708"/>
                <a:gd name="T1" fmla="*/ 25 h 88"/>
                <a:gd name="T2" fmla="*/ 600 w 708"/>
                <a:gd name="T3" fmla="*/ 29 h 88"/>
                <a:gd name="T4" fmla="*/ 598 w 708"/>
                <a:gd name="T5" fmla="*/ 57 h 88"/>
                <a:gd name="T6" fmla="*/ 601 w 708"/>
                <a:gd name="T7" fmla="*/ 62 h 88"/>
                <a:gd name="T8" fmla="*/ 608 w 708"/>
                <a:gd name="T9" fmla="*/ 65 h 88"/>
                <a:gd name="T10" fmla="*/ 680 w 708"/>
                <a:gd name="T11" fmla="*/ 63 h 88"/>
                <a:gd name="T12" fmla="*/ 684 w 708"/>
                <a:gd name="T13" fmla="*/ 59 h 88"/>
                <a:gd name="T14" fmla="*/ 684 w 708"/>
                <a:gd name="T15" fmla="*/ 32 h 88"/>
                <a:gd name="T16" fmla="*/ 681 w 708"/>
                <a:gd name="T17" fmla="*/ 27 h 88"/>
                <a:gd name="T18" fmla="*/ 676 w 708"/>
                <a:gd name="T19" fmla="*/ 25 h 88"/>
                <a:gd name="T20" fmla="*/ 31 w 708"/>
                <a:gd name="T21" fmla="*/ 25 h 88"/>
                <a:gd name="T22" fmla="*/ 26 w 708"/>
                <a:gd name="T23" fmla="*/ 27 h 88"/>
                <a:gd name="T24" fmla="*/ 23 w 708"/>
                <a:gd name="T25" fmla="*/ 32 h 88"/>
                <a:gd name="T26" fmla="*/ 23 w 708"/>
                <a:gd name="T27" fmla="*/ 59 h 88"/>
                <a:gd name="T28" fmla="*/ 29 w 708"/>
                <a:gd name="T29" fmla="*/ 63 h 88"/>
                <a:gd name="T30" fmla="*/ 100 w 708"/>
                <a:gd name="T31" fmla="*/ 65 h 88"/>
                <a:gd name="T32" fmla="*/ 106 w 708"/>
                <a:gd name="T33" fmla="*/ 62 h 88"/>
                <a:gd name="T34" fmla="*/ 109 w 708"/>
                <a:gd name="T35" fmla="*/ 57 h 88"/>
                <a:gd name="T36" fmla="*/ 108 w 708"/>
                <a:gd name="T37" fmla="*/ 29 h 88"/>
                <a:gd name="T38" fmla="*/ 104 w 708"/>
                <a:gd name="T39" fmla="*/ 25 h 88"/>
                <a:gd name="T40" fmla="*/ 31 w 708"/>
                <a:gd name="T41" fmla="*/ 25 h 88"/>
                <a:gd name="T42" fmla="*/ 31 w 708"/>
                <a:gd name="T43" fmla="*/ 88 h 88"/>
                <a:gd name="T44" fmla="*/ 18 w 708"/>
                <a:gd name="T45" fmla="*/ 86 h 88"/>
                <a:gd name="T46" fmla="*/ 9 w 708"/>
                <a:gd name="T47" fmla="*/ 79 h 88"/>
                <a:gd name="T48" fmla="*/ 2 w 708"/>
                <a:gd name="T49" fmla="*/ 69 h 88"/>
                <a:gd name="T50" fmla="*/ 0 w 708"/>
                <a:gd name="T51" fmla="*/ 57 h 88"/>
                <a:gd name="T52" fmla="*/ 0 w 708"/>
                <a:gd name="T53" fmla="*/ 27 h 88"/>
                <a:gd name="T54" fmla="*/ 5 w 708"/>
                <a:gd name="T55" fmla="*/ 15 h 88"/>
                <a:gd name="T56" fmla="*/ 13 w 708"/>
                <a:gd name="T57" fmla="*/ 6 h 88"/>
                <a:gd name="T58" fmla="*/ 25 w 708"/>
                <a:gd name="T59" fmla="*/ 2 h 88"/>
                <a:gd name="T60" fmla="*/ 100 w 708"/>
                <a:gd name="T61" fmla="*/ 0 h 88"/>
                <a:gd name="T62" fmla="*/ 113 w 708"/>
                <a:gd name="T63" fmla="*/ 3 h 88"/>
                <a:gd name="T64" fmla="*/ 123 w 708"/>
                <a:gd name="T65" fmla="*/ 9 h 88"/>
                <a:gd name="T66" fmla="*/ 130 w 708"/>
                <a:gd name="T67" fmla="*/ 20 h 88"/>
                <a:gd name="T68" fmla="*/ 133 w 708"/>
                <a:gd name="T69" fmla="*/ 32 h 88"/>
                <a:gd name="T70" fmla="*/ 131 w 708"/>
                <a:gd name="T71" fmla="*/ 63 h 88"/>
                <a:gd name="T72" fmla="*/ 127 w 708"/>
                <a:gd name="T73" fmla="*/ 74 h 88"/>
                <a:gd name="T74" fmla="*/ 118 w 708"/>
                <a:gd name="T75" fmla="*/ 83 h 88"/>
                <a:gd name="T76" fmla="*/ 106 w 708"/>
                <a:gd name="T77" fmla="*/ 88 h 88"/>
                <a:gd name="T78" fmla="*/ 676 w 708"/>
                <a:gd name="T79" fmla="*/ 88 h 88"/>
                <a:gd name="T80" fmla="*/ 601 w 708"/>
                <a:gd name="T81" fmla="*/ 88 h 88"/>
                <a:gd name="T82" fmla="*/ 589 w 708"/>
                <a:gd name="T83" fmla="*/ 83 h 88"/>
                <a:gd name="T84" fmla="*/ 581 w 708"/>
                <a:gd name="T85" fmla="*/ 74 h 88"/>
                <a:gd name="T86" fmla="*/ 576 w 708"/>
                <a:gd name="T87" fmla="*/ 63 h 88"/>
                <a:gd name="T88" fmla="*/ 575 w 708"/>
                <a:gd name="T89" fmla="*/ 32 h 88"/>
                <a:gd name="T90" fmla="*/ 577 w 708"/>
                <a:gd name="T91" fmla="*/ 20 h 88"/>
                <a:gd name="T92" fmla="*/ 584 w 708"/>
                <a:gd name="T93" fmla="*/ 9 h 88"/>
                <a:gd name="T94" fmla="*/ 594 w 708"/>
                <a:gd name="T95" fmla="*/ 3 h 88"/>
                <a:gd name="T96" fmla="*/ 608 w 708"/>
                <a:gd name="T97" fmla="*/ 0 h 88"/>
                <a:gd name="T98" fmla="*/ 683 w 708"/>
                <a:gd name="T99" fmla="*/ 2 h 88"/>
                <a:gd name="T100" fmla="*/ 694 w 708"/>
                <a:gd name="T101" fmla="*/ 6 h 88"/>
                <a:gd name="T102" fmla="*/ 702 w 708"/>
                <a:gd name="T103" fmla="*/ 15 h 88"/>
                <a:gd name="T104" fmla="*/ 708 w 708"/>
                <a:gd name="T105" fmla="*/ 27 h 88"/>
                <a:gd name="T106" fmla="*/ 708 w 708"/>
                <a:gd name="T107" fmla="*/ 57 h 88"/>
                <a:gd name="T108" fmla="*/ 705 w 708"/>
                <a:gd name="T109" fmla="*/ 69 h 88"/>
                <a:gd name="T110" fmla="*/ 698 w 708"/>
                <a:gd name="T111" fmla="*/ 79 h 88"/>
                <a:gd name="T112" fmla="*/ 689 w 708"/>
                <a:gd name="T113" fmla="*/ 86 h 88"/>
                <a:gd name="T114" fmla="*/ 676 w 708"/>
                <a:gd name="T1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8" h="88">
                  <a:moveTo>
                    <a:pt x="608" y="25"/>
                  </a:moveTo>
                  <a:lnTo>
                    <a:pt x="604" y="25"/>
                  </a:lnTo>
                  <a:lnTo>
                    <a:pt x="601" y="27"/>
                  </a:lnTo>
                  <a:lnTo>
                    <a:pt x="600" y="29"/>
                  </a:lnTo>
                  <a:lnTo>
                    <a:pt x="598" y="32"/>
                  </a:lnTo>
                  <a:lnTo>
                    <a:pt x="598" y="57"/>
                  </a:lnTo>
                  <a:lnTo>
                    <a:pt x="600" y="59"/>
                  </a:lnTo>
                  <a:lnTo>
                    <a:pt x="601" y="62"/>
                  </a:lnTo>
                  <a:lnTo>
                    <a:pt x="604" y="63"/>
                  </a:lnTo>
                  <a:lnTo>
                    <a:pt x="608" y="65"/>
                  </a:lnTo>
                  <a:lnTo>
                    <a:pt x="676" y="65"/>
                  </a:lnTo>
                  <a:lnTo>
                    <a:pt x="680" y="63"/>
                  </a:lnTo>
                  <a:lnTo>
                    <a:pt x="681" y="62"/>
                  </a:lnTo>
                  <a:lnTo>
                    <a:pt x="684" y="59"/>
                  </a:lnTo>
                  <a:lnTo>
                    <a:pt x="684" y="57"/>
                  </a:lnTo>
                  <a:lnTo>
                    <a:pt x="684" y="32"/>
                  </a:lnTo>
                  <a:lnTo>
                    <a:pt x="684" y="29"/>
                  </a:lnTo>
                  <a:lnTo>
                    <a:pt x="681" y="27"/>
                  </a:lnTo>
                  <a:lnTo>
                    <a:pt x="680" y="25"/>
                  </a:lnTo>
                  <a:lnTo>
                    <a:pt x="676" y="25"/>
                  </a:lnTo>
                  <a:lnTo>
                    <a:pt x="608" y="25"/>
                  </a:lnTo>
                  <a:close/>
                  <a:moveTo>
                    <a:pt x="31" y="25"/>
                  </a:moveTo>
                  <a:lnTo>
                    <a:pt x="29" y="25"/>
                  </a:lnTo>
                  <a:lnTo>
                    <a:pt x="26" y="27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9" y="63"/>
                  </a:lnTo>
                  <a:lnTo>
                    <a:pt x="31" y="65"/>
                  </a:lnTo>
                  <a:lnTo>
                    <a:pt x="100" y="65"/>
                  </a:lnTo>
                  <a:lnTo>
                    <a:pt x="104" y="63"/>
                  </a:lnTo>
                  <a:lnTo>
                    <a:pt x="106" y="62"/>
                  </a:lnTo>
                  <a:lnTo>
                    <a:pt x="108" y="59"/>
                  </a:lnTo>
                  <a:lnTo>
                    <a:pt x="109" y="57"/>
                  </a:lnTo>
                  <a:lnTo>
                    <a:pt x="109" y="32"/>
                  </a:lnTo>
                  <a:lnTo>
                    <a:pt x="108" y="29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31" y="25"/>
                  </a:lnTo>
                  <a:close/>
                  <a:moveTo>
                    <a:pt x="100" y="88"/>
                  </a:moveTo>
                  <a:lnTo>
                    <a:pt x="31" y="88"/>
                  </a:lnTo>
                  <a:lnTo>
                    <a:pt x="25" y="88"/>
                  </a:lnTo>
                  <a:lnTo>
                    <a:pt x="18" y="86"/>
                  </a:lnTo>
                  <a:lnTo>
                    <a:pt x="13" y="83"/>
                  </a:lnTo>
                  <a:lnTo>
                    <a:pt x="9" y="79"/>
                  </a:lnTo>
                  <a:lnTo>
                    <a:pt x="5" y="74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8" y="3"/>
                  </a:lnTo>
                  <a:lnTo>
                    <a:pt x="25" y="2"/>
                  </a:lnTo>
                  <a:lnTo>
                    <a:pt x="31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13" y="3"/>
                  </a:lnTo>
                  <a:lnTo>
                    <a:pt x="118" y="6"/>
                  </a:lnTo>
                  <a:lnTo>
                    <a:pt x="123" y="9"/>
                  </a:lnTo>
                  <a:lnTo>
                    <a:pt x="127" y="15"/>
                  </a:lnTo>
                  <a:lnTo>
                    <a:pt x="130" y="20"/>
                  </a:lnTo>
                  <a:lnTo>
                    <a:pt x="131" y="27"/>
                  </a:lnTo>
                  <a:lnTo>
                    <a:pt x="133" y="32"/>
                  </a:lnTo>
                  <a:lnTo>
                    <a:pt x="133" y="57"/>
                  </a:lnTo>
                  <a:lnTo>
                    <a:pt x="131" y="63"/>
                  </a:lnTo>
                  <a:lnTo>
                    <a:pt x="130" y="69"/>
                  </a:lnTo>
                  <a:lnTo>
                    <a:pt x="127" y="74"/>
                  </a:lnTo>
                  <a:lnTo>
                    <a:pt x="123" y="79"/>
                  </a:lnTo>
                  <a:lnTo>
                    <a:pt x="118" y="83"/>
                  </a:lnTo>
                  <a:lnTo>
                    <a:pt x="113" y="86"/>
                  </a:lnTo>
                  <a:lnTo>
                    <a:pt x="106" y="88"/>
                  </a:lnTo>
                  <a:lnTo>
                    <a:pt x="100" y="88"/>
                  </a:lnTo>
                  <a:close/>
                  <a:moveTo>
                    <a:pt x="676" y="88"/>
                  </a:moveTo>
                  <a:lnTo>
                    <a:pt x="608" y="88"/>
                  </a:lnTo>
                  <a:lnTo>
                    <a:pt x="601" y="88"/>
                  </a:lnTo>
                  <a:lnTo>
                    <a:pt x="594" y="86"/>
                  </a:lnTo>
                  <a:lnTo>
                    <a:pt x="589" y="83"/>
                  </a:lnTo>
                  <a:lnTo>
                    <a:pt x="584" y="79"/>
                  </a:lnTo>
                  <a:lnTo>
                    <a:pt x="581" y="74"/>
                  </a:lnTo>
                  <a:lnTo>
                    <a:pt x="577" y="69"/>
                  </a:lnTo>
                  <a:lnTo>
                    <a:pt x="576" y="63"/>
                  </a:lnTo>
                  <a:lnTo>
                    <a:pt x="575" y="57"/>
                  </a:lnTo>
                  <a:lnTo>
                    <a:pt x="575" y="32"/>
                  </a:lnTo>
                  <a:lnTo>
                    <a:pt x="576" y="27"/>
                  </a:lnTo>
                  <a:lnTo>
                    <a:pt x="577" y="20"/>
                  </a:lnTo>
                  <a:lnTo>
                    <a:pt x="581" y="15"/>
                  </a:lnTo>
                  <a:lnTo>
                    <a:pt x="584" y="9"/>
                  </a:lnTo>
                  <a:lnTo>
                    <a:pt x="589" y="6"/>
                  </a:lnTo>
                  <a:lnTo>
                    <a:pt x="594" y="3"/>
                  </a:lnTo>
                  <a:lnTo>
                    <a:pt x="601" y="2"/>
                  </a:lnTo>
                  <a:lnTo>
                    <a:pt x="608" y="0"/>
                  </a:lnTo>
                  <a:lnTo>
                    <a:pt x="676" y="0"/>
                  </a:lnTo>
                  <a:lnTo>
                    <a:pt x="683" y="2"/>
                  </a:lnTo>
                  <a:lnTo>
                    <a:pt x="689" y="3"/>
                  </a:lnTo>
                  <a:lnTo>
                    <a:pt x="694" y="6"/>
                  </a:lnTo>
                  <a:lnTo>
                    <a:pt x="698" y="9"/>
                  </a:lnTo>
                  <a:lnTo>
                    <a:pt x="702" y="15"/>
                  </a:lnTo>
                  <a:lnTo>
                    <a:pt x="705" y="20"/>
                  </a:lnTo>
                  <a:lnTo>
                    <a:pt x="708" y="27"/>
                  </a:lnTo>
                  <a:lnTo>
                    <a:pt x="708" y="32"/>
                  </a:lnTo>
                  <a:lnTo>
                    <a:pt x="708" y="57"/>
                  </a:lnTo>
                  <a:lnTo>
                    <a:pt x="708" y="63"/>
                  </a:lnTo>
                  <a:lnTo>
                    <a:pt x="705" y="69"/>
                  </a:lnTo>
                  <a:lnTo>
                    <a:pt x="702" y="74"/>
                  </a:lnTo>
                  <a:lnTo>
                    <a:pt x="698" y="79"/>
                  </a:lnTo>
                  <a:lnTo>
                    <a:pt x="694" y="83"/>
                  </a:lnTo>
                  <a:lnTo>
                    <a:pt x="689" y="86"/>
                  </a:lnTo>
                  <a:lnTo>
                    <a:pt x="683" y="88"/>
                  </a:lnTo>
                  <a:lnTo>
                    <a:pt x="676" y="88"/>
                  </a:lnTo>
                  <a:close/>
                </a:path>
              </a:pathLst>
            </a:custGeom>
            <a:grpFill/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68" name="benzovoz"/>
          <p:cNvGrpSpPr>
            <a:grpSpLocks noChangeAspect="1"/>
          </p:cNvGrpSpPr>
          <p:nvPr/>
        </p:nvGrpSpPr>
        <p:grpSpPr>
          <a:xfrm>
            <a:off x="3463079" y="2725884"/>
            <a:ext cx="172817" cy="195263"/>
            <a:chOff x="5407025" y="3109913"/>
            <a:chExt cx="442913" cy="450850"/>
          </a:xfrm>
          <a:solidFill>
            <a:srgbClr val="009900"/>
          </a:solidFill>
        </p:grpSpPr>
        <p:sp>
          <p:nvSpPr>
            <p:cNvPr id="969" name="Freeform 404"/>
            <p:cNvSpPr>
              <a:spLocks noEditPoints="1"/>
            </p:cNvSpPr>
            <p:nvPr/>
          </p:nvSpPr>
          <p:spPr bwMode="auto">
            <a:xfrm>
              <a:off x="5407025" y="3109913"/>
              <a:ext cx="442913" cy="450850"/>
            </a:xfrm>
            <a:custGeom>
              <a:avLst/>
              <a:gdLst>
                <a:gd name="T0" fmla="*/ 538 w 1119"/>
                <a:gd name="T1" fmla="*/ 49 h 1137"/>
                <a:gd name="T2" fmla="*/ 971 w 1119"/>
                <a:gd name="T3" fmla="*/ 537 h 1137"/>
                <a:gd name="T4" fmla="*/ 950 w 1119"/>
                <a:gd name="T5" fmla="*/ 447 h 1137"/>
                <a:gd name="T6" fmla="*/ 950 w 1119"/>
                <a:gd name="T7" fmla="*/ 332 h 1137"/>
                <a:gd name="T8" fmla="*/ 832 w 1119"/>
                <a:gd name="T9" fmla="*/ 172 h 1137"/>
                <a:gd name="T10" fmla="*/ 653 w 1119"/>
                <a:gd name="T11" fmla="*/ 83 h 1137"/>
                <a:gd name="T12" fmla="*/ 447 w 1119"/>
                <a:gd name="T13" fmla="*/ 87 h 1137"/>
                <a:gd name="T14" fmla="*/ 272 w 1119"/>
                <a:gd name="T15" fmla="*/ 184 h 1137"/>
                <a:gd name="T16" fmla="*/ 159 w 1119"/>
                <a:gd name="T17" fmla="*/ 349 h 1137"/>
                <a:gd name="T18" fmla="*/ 170 w 1119"/>
                <a:gd name="T19" fmla="*/ 453 h 1137"/>
                <a:gd name="T20" fmla="*/ 184 w 1119"/>
                <a:gd name="T21" fmla="*/ 566 h 1137"/>
                <a:gd name="T22" fmla="*/ 267 w 1119"/>
                <a:gd name="T23" fmla="*/ 297 h 1137"/>
                <a:gd name="T24" fmla="*/ 891 w 1119"/>
                <a:gd name="T25" fmla="*/ 345 h 1137"/>
                <a:gd name="T26" fmla="*/ 963 w 1119"/>
                <a:gd name="T27" fmla="*/ 632 h 1137"/>
                <a:gd name="T28" fmla="*/ 974 w 1119"/>
                <a:gd name="T29" fmla="*/ 508 h 1137"/>
                <a:gd name="T30" fmla="*/ 1095 w 1119"/>
                <a:gd name="T31" fmla="*/ 501 h 1137"/>
                <a:gd name="T32" fmla="*/ 991 w 1119"/>
                <a:gd name="T33" fmla="*/ 445 h 1137"/>
                <a:gd name="T34" fmla="*/ 934 w 1119"/>
                <a:gd name="T35" fmla="*/ 746 h 1137"/>
                <a:gd name="T36" fmla="*/ 954 w 1119"/>
                <a:gd name="T37" fmla="*/ 1021 h 1137"/>
                <a:gd name="T38" fmla="*/ 829 w 1119"/>
                <a:gd name="T39" fmla="*/ 1137 h 1137"/>
                <a:gd name="T40" fmla="*/ 422 w 1119"/>
                <a:gd name="T41" fmla="*/ 1021 h 1137"/>
                <a:gd name="T42" fmla="*/ 241 w 1119"/>
                <a:gd name="T43" fmla="*/ 1137 h 1137"/>
                <a:gd name="T44" fmla="*/ 158 w 1119"/>
                <a:gd name="T45" fmla="*/ 1020 h 1137"/>
                <a:gd name="T46" fmla="*/ 170 w 1119"/>
                <a:gd name="T47" fmla="*/ 724 h 1137"/>
                <a:gd name="T48" fmla="*/ 17 w 1119"/>
                <a:gd name="T49" fmla="*/ 534 h 1137"/>
                <a:gd name="T50" fmla="*/ 17 w 1119"/>
                <a:gd name="T51" fmla="*/ 428 h 1137"/>
                <a:gd name="T52" fmla="*/ 191 w 1119"/>
                <a:gd name="T53" fmla="*/ 241 h 1137"/>
                <a:gd name="T54" fmla="*/ 382 w 1119"/>
                <a:gd name="T55" fmla="*/ 6 h 1137"/>
                <a:gd name="T56" fmla="*/ 786 w 1119"/>
                <a:gd name="T57" fmla="*/ 110 h 1137"/>
                <a:gd name="T58" fmla="*/ 979 w 1119"/>
                <a:gd name="T59" fmla="*/ 338 h 1137"/>
                <a:gd name="T60" fmla="*/ 1117 w 1119"/>
                <a:gd name="T61" fmla="*/ 451 h 1137"/>
                <a:gd name="T62" fmla="*/ 184 w 1119"/>
                <a:gd name="T63" fmla="*/ 596 h 1137"/>
                <a:gd name="T64" fmla="*/ 184 w 1119"/>
                <a:gd name="T65" fmla="*/ 596 h 1137"/>
                <a:gd name="T66" fmla="*/ 121 w 1119"/>
                <a:gd name="T67" fmla="*/ 517 h 1137"/>
                <a:gd name="T68" fmla="*/ 137 w 1119"/>
                <a:gd name="T69" fmla="*/ 446 h 1137"/>
                <a:gd name="T70" fmla="*/ 415 w 1119"/>
                <a:gd name="T71" fmla="*/ 940 h 1137"/>
                <a:gd name="T72" fmla="*/ 799 w 1119"/>
                <a:gd name="T73" fmla="*/ 996 h 1137"/>
                <a:gd name="T74" fmla="*/ 766 w 1119"/>
                <a:gd name="T75" fmla="*/ 887 h 1137"/>
                <a:gd name="T76" fmla="*/ 318 w 1119"/>
                <a:gd name="T77" fmla="*/ 996 h 1137"/>
                <a:gd name="T78" fmla="*/ 441 w 1119"/>
                <a:gd name="T79" fmla="*/ 796 h 1137"/>
                <a:gd name="T80" fmla="*/ 674 w 1119"/>
                <a:gd name="T81" fmla="*/ 734 h 1137"/>
                <a:gd name="T82" fmla="*/ 415 w 1119"/>
                <a:gd name="T83" fmla="*/ 795 h 1137"/>
                <a:gd name="T84" fmla="*/ 670 w 1119"/>
                <a:gd name="T85" fmla="*/ 711 h 1137"/>
                <a:gd name="T86" fmla="*/ 701 w 1119"/>
                <a:gd name="T87" fmla="*/ 801 h 1137"/>
                <a:gd name="T88" fmla="*/ 812 w 1119"/>
                <a:gd name="T89" fmla="*/ 1101 h 1137"/>
                <a:gd name="T90" fmla="*/ 890 w 1119"/>
                <a:gd name="T91" fmla="*/ 1107 h 1137"/>
                <a:gd name="T92" fmla="*/ 225 w 1119"/>
                <a:gd name="T93" fmla="*/ 1104 h 1137"/>
                <a:gd name="T94" fmla="*/ 304 w 1119"/>
                <a:gd name="T95" fmla="*/ 1104 h 1137"/>
                <a:gd name="T96" fmla="*/ 796 w 1119"/>
                <a:gd name="T97" fmla="*/ 822 h 1137"/>
                <a:gd name="T98" fmla="*/ 830 w 1119"/>
                <a:gd name="T99" fmla="*/ 318 h 1137"/>
                <a:gd name="T100" fmla="*/ 245 w 1119"/>
                <a:gd name="T101" fmla="*/ 371 h 1137"/>
                <a:gd name="T102" fmla="*/ 286 w 1119"/>
                <a:gd name="T103" fmla="*/ 546 h 1137"/>
                <a:gd name="T104" fmla="*/ 816 w 1119"/>
                <a:gd name="T105" fmla="*/ 579 h 1137"/>
                <a:gd name="T106" fmla="*/ 800 w 1119"/>
                <a:gd name="T107" fmla="*/ 378 h 1137"/>
                <a:gd name="T108" fmla="*/ 274 w 1119"/>
                <a:gd name="T109" fmla="*/ 588 h 1137"/>
                <a:gd name="T110" fmla="*/ 301 w 1119"/>
                <a:gd name="T111" fmla="*/ 361 h 1137"/>
                <a:gd name="T112" fmla="*/ 824 w 1119"/>
                <a:gd name="T113" fmla="*/ 372 h 1137"/>
                <a:gd name="T114" fmla="*/ 837 w 1119"/>
                <a:gd name="T115" fmla="*/ 596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9" h="1137">
                  <a:moveTo>
                    <a:pt x="712" y="75"/>
                  </a:moveTo>
                  <a:lnTo>
                    <a:pt x="712" y="24"/>
                  </a:lnTo>
                  <a:lnTo>
                    <a:pt x="405" y="24"/>
                  </a:lnTo>
                  <a:lnTo>
                    <a:pt x="405" y="75"/>
                  </a:lnTo>
                  <a:lnTo>
                    <a:pt x="424" y="70"/>
                  </a:lnTo>
                  <a:lnTo>
                    <a:pt x="442" y="63"/>
                  </a:lnTo>
                  <a:lnTo>
                    <a:pt x="461" y="59"/>
                  </a:lnTo>
                  <a:lnTo>
                    <a:pt x="480" y="55"/>
                  </a:lnTo>
                  <a:lnTo>
                    <a:pt x="499" y="51"/>
                  </a:lnTo>
                  <a:lnTo>
                    <a:pt x="518" y="50"/>
                  </a:lnTo>
                  <a:lnTo>
                    <a:pt x="538" y="49"/>
                  </a:lnTo>
                  <a:lnTo>
                    <a:pt x="558" y="47"/>
                  </a:lnTo>
                  <a:lnTo>
                    <a:pt x="579" y="49"/>
                  </a:lnTo>
                  <a:lnTo>
                    <a:pt x="599" y="50"/>
                  </a:lnTo>
                  <a:lnTo>
                    <a:pt x="618" y="51"/>
                  </a:lnTo>
                  <a:lnTo>
                    <a:pt x="637" y="55"/>
                  </a:lnTo>
                  <a:lnTo>
                    <a:pt x="657" y="59"/>
                  </a:lnTo>
                  <a:lnTo>
                    <a:pt x="675" y="63"/>
                  </a:lnTo>
                  <a:lnTo>
                    <a:pt x="694" y="70"/>
                  </a:lnTo>
                  <a:lnTo>
                    <a:pt x="712" y="75"/>
                  </a:lnTo>
                  <a:close/>
                  <a:moveTo>
                    <a:pt x="934" y="566"/>
                  </a:moveTo>
                  <a:lnTo>
                    <a:pt x="971" y="537"/>
                  </a:lnTo>
                  <a:lnTo>
                    <a:pt x="967" y="534"/>
                  </a:lnTo>
                  <a:lnTo>
                    <a:pt x="962" y="532"/>
                  </a:lnTo>
                  <a:lnTo>
                    <a:pt x="958" y="528"/>
                  </a:lnTo>
                  <a:lnTo>
                    <a:pt x="955" y="522"/>
                  </a:lnTo>
                  <a:lnTo>
                    <a:pt x="953" y="518"/>
                  </a:lnTo>
                  <a:lnTo>
                    <a:pt x="950" y="513"/>
                  </a:lnTo>
                  <a:lnTo>
                    <a:pt x="949" y="507"/>
                  </a:lnTo>
                  <a:lnTo>
                    <a:pt x="949" y="501"/>
                  </a:lnTo>
                  <a:lnTo>
                    <a:pt x="949" y="459"/>
                  </a:lnTo>
                  <a:lnTo>
                    <a:pt x="949" y="453"/>
                  </a:lnTo>
                  <a:lnTo>
                    <a:pt x="950" y="447"/>
                  </a:lnTo>
                  <a:lnTo>
                    <a:pt x="953" y="441"/>
                  </a:lnTo>
                  <a:lnTo>
                    <a:pt x="957" y="436"/>
                  </a:lnTo>
                  <a:lnTo>
                    <a:pt x="961" y="432"/>
                  </a:lnTo>
                  <a:lnTo>
                    <a:pt x="966" y="428"/>
                  </a:lnTo>
                  <a:lnTo>
                    <a:pt x="971" y="424"/>
                  </a:lnTo>
                  <a:lnTo>
                    <a:pt x="978" y="422"/>
                  </a:lnTo>
                  <a:lnTo>
                    <a:pt x="974" y="403"/>
                  </a:lnTo>
                  <a:lnTo>
                    <a:pt x="969" y="384"/>
                  </a:lnTo>
                  <a:lnTo>
                    <a:pt x="963" y="367"/>
                  </a:lnTo>
                  <a:lnTo>
                    <a:pt x="958" y="349"/>
                  </a:lnTo>
                  <a:lnTo>
                    <a:pt x="950" y="332"/>
                  </a:lnTo>
                  <a:lnTo>
                    <a:pt x="944" y="316"/>
                  </a:lnTo>
                  <a:lnTo>
                    <a:pt x="934" y="299"/>
                  </a:lnTo>
                  <a:lnTo>
                    <a:pt x="925" y="283"/>
                  </a:lnTo>
                  <a:lnTo>
                    <a:pt x="916" y="267"/>
                  </a:lnTo>
                  <a:lnTo>
                    <a:pt x="905" y="253"/>
                  </a:lnTo>
                  <a:lnTo>
                    <a:pt x="895" y="237"/>
                  </a:lnTo>
                  <a:lnTo>
                    <a:pt x="883" y="224"/>
                  </a:lnTo>
                  <a:lnTo>
                    <a:pt x="871" y="209"/>
                  </a:lnTo>
                  <a:lnTo>
                    <a:pt x="858" y="196"/>
                  </a:lnTo>
                  <a:lnTo>
                    <a:pt x="845" y="184"/>
                  </a:lnTo>
                  <a:lnTo>
                    <a:pt x="832" y="172"/>
                  </a:lnTo>
                  <a:lnTo>
                    <a:pt x="817" y="160"/>
                  </a:lnTo>
                  <a:lnTo>
                    <a:pt x="803" y="150"/>
                  </a:lnTo>
                  <a:lnTo>
                    <a:pt x="787" y="139"/>
                  </a:lnTo>
                  <a:lnTo>
                    <a:pt x="771" y="130"/>
                  </a:lnTo>
                  <a:lnTo>
                    <a:pt x="755" y="121"/>
                  </a:lnTo>
                  <a:lnTo>
                    <a:pt x="740" y="113"/>
                  </a:lnTo>
                  <a:lnTo>
                    <a:pt x="722" y="105"/>
                  </a:lnTo>
                  <a:lnTo>
                    <a:pt x="705" y="99"/>
                  </a:lnTo>
                  <a:lnTo>
                    <a:pt x="688" y="92"/>
                  </a:lnTo>
                  <a:lnTo>
                    <a:pt x="670" y="87"/>
                  </a:lnTo>
                  <a:lnTo>
                    <a:pt x="653" y="83"/>
                  </a:lnTo>
                  <a:lnTo>
                    <a:pt x="634" y="79"/>
                  </a:lnTo>
                  <a:lnTo>
                    <a:pt x="616" y="76"/>
                  </a:lnTo>
                  <a:lnTo>
                    <a:pt x="596" y="74"/>
                  </a:lnTo>
                  <a:lnTo>
                    <a:pt x="578" y="72"/>
                  </a:lnTo>
                  <a:lnTo>
                    <a:pt x="558" y="72"/>
                  </a:lnTo>
                  <a:lnTo>
                    <a:pt x="540" y="72"/>
                  </a:lnTo>
                  <a:lnTo>
                    <a:pt x="521" y="74"/>
                  </a:lnTo>
                  <a:lnTo>
                    <a:pt x="501" y="76"/>
                  </a:lnTo>
                  <a:lnTo>
                    <a:pt x="483" y="79"/>
                  </a:lnTo>
                  <a:lnTo>
                    <a:pt x="465" y="83"/>
                  </a:lnTo>
                  <a:lnTo>
                    <a:pt x="447" y="87"/>
                  </a:lnTo>
                  <a:lnTo>
                    <a:pt x="429" y="92"/>
                  </a:lnTo>
                  <a:lnTo>
                    <a:pt x="412" y="99"/>
                  </a:lnTo>
                  <a:lnTo>
                    <a:pt x="395" y="105"/>
                  </a:lnTo>
                  <a:lnTo>
                    <a:pt x="378" y="113"/>
                  </a:lnTo>
                  <a:lnTo>
                    <a:pt x="362" y="121"/>
                  </a:lnTo>
                  <a:lnTo>
                    <a:pt x="346" y="130"/>
                  </a:lnTo>
                  <a:lnTo>
                    <a:pt x="330" y="139"/>
                  </a:lnTo>
                  <a:lnTo>
                    <a:pt x="314" y="150"/>
                  </a:lnTo>
                  <a:lnTo>
                    <a:pt x="300" y="160"/>
                  </a:lnTo>
                  <a:lnTo>
                    <a:pt x="286" y="172"/>
                  </a:lnTo>
                  <a:lnTo>
                    <a:pt x="272" y="184"/>
                  </a:lnTo>
                  <a:lnTo>
                    <a:pt x="259" y="196"/>
                  </a:lnTo>
                  <a:lnTo>
                    <a:pt x="246" y="209"/>
                  </a:lnTo>
                  <a:lnTo>
                    <a:pt x="234" y="224"/>
                  </a:lnTo>
                  <a:lnTo>
                    <a:pt x="222" y="237"/>
                  </a:lnTo>
                  <a:lnTo>
                    <a:pt x="212" y="251"/>
                  </a:lnTo>
                  <a:lnTo>
                    <a:pt x="201" y="267"/>
                  </a:lnTo>
                  <a:lnTo>
                    <a:pt x="192" y="283"/>
                  </a:lnTo>
                  <a:lnTo>
                    <a:pt x="183" y="299"/>
                  </a:lnTo>
                  <a:lnTo>
                    <a:pt x="175" y="314"/>
                  </a:lnTo>
                  <a:lnTo>
                    <a:pt x="167" y="332"/>
                  </a:lnTo>
                  <a:lnTo>
                    <a:pt x="159" y="349"/>
                  </a:lnTo>
                  <a:lnTo>
                    <a:pt x="154" y="367"/>
                  </a:lnTo>
                  <a:lnTo>
                    <a:pt x="149" y="384"/>
                  </a:lnTo>
                  <a:lnTo>
                    <a:pt x="143" y="403"/>
                  </a:lnTo>
                  <a:lnTo>
                    <a:pt x="139" y="421"/>
                  </a:lnTo>
                  <a:lnTo>
                    <a:pt x="146" y="424"/>
                  </a:lnTo>
                  <a:lnTo>
                    <a:pt x="151" y="426"/>
                  </a:lnTo>
                  <a:lnTo>
                    <a:pt x="157" y="430"/>
                  </a:lnTo>
                  <a:lnTo>
                    <a:pt x="162" y="436"/>
                  </a:lnTo>
                  <a:lnTo>
                    <a:pt x="164" y="441"/>
                  </a:lnTo>
                  <a:lnTo>
                    <a:pt x="167" y="446"/>
                  </a:lnTo>
                  <a:lnTo>
                    <a:pt x="170" y="453"/>
                  </a:lnTo>
                  <a:lnTo>
                    <a:pt x="170" y="459"/>
                  </a:lnTo>
                  <a:lnTo>
                    <a:pt x="170" y="501"/>
                  </a:lnTo>
                  <a:lnTo>
                    <a:pt x="170" y="507"/>
                  </a:lnTo>
                  <a:lnTo>
                    <a:pt x="168" y="513"/>
                  </a:lnTo>
                  <a:lnTo>
                    <a:pt x="166" y="518"/>
                  </a:lnTo>
                  <a:lnTo>
                    <a:pt x="163" y="522"/>
                  </a:lnTo>
                  <a:lnTo>
                    <a:pt x="161" y="528"/>
                  </a:lnTo>
                  <a:lnTo>
                    <a:pt x="157" y="532"/>
                  </a:lnTo>
                  <a:lnTo>
                    <a:pt x="151" y="534"/>
                  </a:lnTo>
                  <a:lnTo>
                    <a:pt x="147" y="537"/>
                  </a:lnTo>
                  <a:lnTo>
                    <a:pt x="184" y="566"/>
                  </a:lnTo>
                  <a:lnTo>
                    <a:pt x="184" y="566"/>
                  </a:lnTo>
                  <a:lnTo>
                    <a:pt x="221" y="367"/>
                  </a:lnTo>
                  <a:lnTo>
                    <a:pt x="225" y="347"/>
                  </a:lnTo>
                  <a:lnTo>
                    <a:pt x="230" y="332"/>
                  </a:lnTo>
                  <a:lnTo>
                    <a:pt x="234" y="324"/>
                  </a:lnTo>
                  <a:lnTo>
                    <a:pt x="238" y="318"/>
                  </a:lnTo>
                  <a:lnTo>
                    <a:pt x="243" y="312"/>
                  </a:lnTo>
                  <a:lnTo>
                    <a:pt x="247" y="308"/>
                  </a:lnTo>
                  <a:lnTo>
                    <a:pt x="254" y="304"/>
                  </a:lnTo>
                  <a:lnTo>
                    <a:pt x="259" y="300"/>
                  </a:lnTo>
                  <a:lnTo>
                    <a:pt x="267" y="297"/>
                  </a:lnTo>
                  <a:lnTo>
                    <a:pt x="274" y="295"/>
                  </a:lnTo>
                  <a:lnTo>
                    <a:pt x="291" y="292"/>
                  </a:lnTo>
                  <a:lnTo>
                    <a:pt x="312" y="291"/>
                  </a:lnTo>
                  <a:lnTo>
                    <a:pt x="807" y="291"/>
                  </a:lnTo>
                  <a:lnTo>
                    <a:pt x="824" y="293"/>
                  </a:lnTo>
                  <a:lnTo>
                    <a:pt x="840" y="296"/>
                  </a:lnTo>
                  <a:lnTo>
                    <a:pt x="853" y="303"/>
                  </a:lnTo>
                  <a:lnTo>
                    <a:pt x="865" y="309"/>
                  </a:lnTo>
                  <a:lnTo>
                    <a:pt x="875" y="320"/>
                  </a:lnTo>
                  <a:lnTo>
                    <a:pt x="884" y="330"/>
                  </a:lnTo>
                  <a:lnTo>
                    <a:pt x="891" y="345"/>
                  </a:lnTo>
                  <a:lnTo>
                    <a:pt x="896" y="361"/>
                  </a:lnTo>
                  <a:lnTo>
                    <a:pt x="934" y="563"/>
                  </a:lnTo>
                  <a:lnTo>
                    <a:pt x="934" y="566"/>
                  </a:lnTo>
                  <a:close/>
                  <a:moveTo>
                    <a:pt x="980" y="561"/>
                  </a:moveTo>
                  <a:lnTo>
                    <a:pt x="934" y="595"/>
                  </a:lnTo>
                  <a:lnTo>
                    <a:pt x="934" y="596"/>
                  </a:lnTo>
                  <a:lnTo>
                    <a:pt x="934" y="699"/>
                  </a:lnTo>
                  <a:lnTo>
                    <a:pt x="942" y="683"/>
                  </a:lnTo>
                  <a:lnTo>
                    <a:pt x="950" y="666"/>
                  </a:lnTo>
                  <a:lnTo>
                    <a:pt x="957" y="649"/>
                  </a:lnTo>
                  <a:lnTo>
                    <a:pt x="963" y="632"/>
                  </a:lnTo>
                  <a:lnTo>
                    <a:pt x="969" y="614"/>
                  </a:lnTo>
                  <a:lnTo>
                    <a:pt x="972" y="597"/>
                  </a:lnTo>
                  <a:lnTo>
                    <a:pt x="976" y="579"/>
                  </a:lnTo>
                  <a:lnTo>
                    <a:pt x="980" y="561"/>
                  </a:lnTo>
                  <a:close/>
                  <a:moveTo>
                    <a:pt x="988" y="445"/>
                  </a:moveTo>
                  <a:lnTo>
                    <a:pt x="982" y="446"/>
                  </a:lnTo>
                  <a:lnTo>
                    <a:pt x="976" y="449"/>
                  </a:lnTo>
                  <a:lnTo>
                    <a:pt x="974" y="454"/>
                  </a:lnTo>
                  <a:lnTo>
                    <a:pt x="972" y="459"/>
                  </a:lnTo>
                  <a:lnTo>
                    <a:pt x="972" y="501"/>
                  </a:lnTo>
                  <a:lnTo>
                    <a:pt x="974" y="508"/>
                  </a:lnTo>
                  <a:lnTo>
                    <a:pt x="976" y="512"/>
                  </a:lnTo>
                  <a:lnTo>
                    <a:pt x="982" y="516"/>
                  </a:lnTo>
                  <a:lnTo>
                    <a:pt x="988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6" y="517"/>
                  </a:lnTo>
                  <a:lnTo>
                    <a:pt x="1079" y="517"/>
                  </a:lnTo>
                  <a:lnTo>
                    <a:pt x="1086" y="516"/>
                  </a:lnTo>
                  <a:lnTo>
                    <a:pt x="1090" y="512"/>
                  </a:lnTo>
                  <a:lnTo>
                    <a:pt x="1094" y="508"/>
                  </a:lnTo>
                  <a:lnTo>
                    <a:pt x="1095" y="501"/>
                  </a:lnTo>
                  <a:lnTo>
                    <a:pt x="1095" y="459"/>
                  </a:lnTo>
                  <a:lnTo>
                    <a:pt x="1094" y="454"/>
                  </a:lnTo>
                  <a:lnTo>
                    <a:pt x="1090" y="449"/>
                  </a:lnTo>
                  <a:lnTo>
                    <a:pt x="1086" y="446"/>
                  </a:lnTo>
                  <a:lnTo>
                    <a:pt x="1079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1" y="445"/>
                  </a:lnTo>
                  <a:lnTo>
                    <a:pt x="991" y="445"/>
                  </a:lnTo>
                  <a:lnTo>
                    <a:pt x="988" y="445"/>
                  </a:lnTo>
                  <a:close/>
                  <a:moveTo>
                    <a:pt x="1079" y="541"/>
                  </a:moveTo>
                  <a:lnTo>
                    <a:pt x="1007" y="541"/>
                  </a:lnTo>
                  <a:lnTo>
                    <a:pt x="1003" y="568"/>
                  </a:lnTo>
                  <a:lnTo>
                    <a:pt x="997" y="595"/>
                  </a:lnTo>
                  <a:lnTo>
                    <a:pt x="991" y="621"/>
                  </a:lnTo>
                  <a:lnTo>
                    <a:pt x="983" y="647"/>
                  </a:lnTo>
                  <a:lnTo>
                    <a:pt x="974" y="674"/>
                  </a:lnTo>
                  <a:lnTo>
                    <a:pt x="962" y="699"/>
                  </a:lnTo>
                  <a:lnTo>
                    <a:pt x="949" y="722"/>
                  </a:lnTo>
                  <a:lnTo>
                    <a:pt x="934" y="746"/>
                  </a:lnTo>
                  <a:lnTo>
                    <a:pt x="934" y="817"/>
                  </a:lnTo>
                  <a:lnTo>
                    <a:pt x="954" y="817"/>
                  </a:lnTo>
                  <a:lnTo>
                    <a:pt x="959" y="818"/>
                  </a:lnTo>
                  <a:lnTo>
                    <a:pt x="963" y="821"/>
                  </a:lnTo>
                  <a:lnTo>
                    <a:pt x="966" y="825"/>
                  </a:lnTo>
                  <a:lnTo>
                    <a:pt x="966" y="829"/>
                  </a:lnTo>
                  <a:lnTo>
                    <a:pt x="966" y="1008"/>
                  </a:lnTo>
                  <a:lnTo>
                    <a:pt x="966" y="1013"/>
                  </a:lnTo>
                  <a:lnTo>
                    <a:pt x="963" y="1017"/>
                  </a:lnTo>
                  <a:lnTo>
                    <a:pt x="959" y="1020"/>
                  </a:lnTo>
                  <a:lnTo>
                    <a:pt x="954" y="1021"/>
                  </a:lnTo>
                  <a:lnTo>
                    <a:pt x="919" y="1021"/>
                  </a:lnTo>
                  <a:lnTo>
                    <a:pt x="919" y="1095"/>
                  </a:lnTo>
                  <a:lnTo>
                    <a:pt x="919" y="1103"/>
                  </a:lnTo>
                  <a:lnTo>
                    <a:pt x="916" y="1111"/>
                  </a:lnTo>
                  <a:lnTo>
                    <a:pt x="912" y="1119"/>
                  </a:lnTo>
                  <a:lnTo>
                    <a:pt x="907" y="1124"/>
                  </a:lnTo>
                  <a:lnTo>
                    <a:pt x="900" y="1129"/>
                  </a:lnTo>
                  <a:lnTo>
                    <a:pt x="894" y="1133"/>
                  </a:lnTo>
                  <a:lnTo>
                    <a:pt x="886" y="1136"/>
                  </a:lnTo>
                  <a:lnTo>
                    <a:pt x="876" y="1137"/>
                  </a:lnTo>
                  <a:lnTo>
                    <a:pt x="829" y="1137"/>
                  </a:lnTo>
                  <a:lnTo>
                    <a:pt x="821" y="1136"/>
                  </a:lnTo>
                  <a:lnTo>
                    <a:pt x="812" y="1133"/>
                  </a:lnTo>
                  <a:lnTo>
                    <a:pt x="805" y="1129"/>
                  </a:lnTo>
                  <a:lnTo>
                    <a:pt x="799" y="1124"/>
                  </a:lnTo>
                  <a:lnTo>
                    <a:pt x="794" y="1119"/>
                  </a:lnTo>
                  <a:lnTo>
                    <a:pt x="790" y="1111"/>
                  </a:lnTo>
                  <a:lnTo>
                    <a:pt x="788" y="1103"/>
                  </a:lnTo>
                  <a:lnTo>
                    <a:pt x="787" y="1095"/>
                  </a:lnTo>
                  <a:lnTo>
                    <a:pt x="787" y="1021"/>
                  </a:lnTo>
                  <a:lnTo>
                    <a:pt x="695" y="1021"/>
                  </a:lnTo>
                  <a:lnTo>
                    <a:pt x="422" y="1021"/>
                  </a:lnTo>
                  <a:lnTo>
                    <a:pt x="330" y="1021"/>
                  </a:lnTo>
                  <a:lnTo>
                    <a:pt x="330" y="1095"/>
                  </a:lnTo>
                  <a:lnTo>
                    <a:pt x="330" y="1103"/>
                  </a:lnTo>
                  <a:lnTo>
                    <a:pt x="328" y="1111"/>
                  </a:lnTo>
                  <a:lnTo>
                    <a:pt x="324" y="1119"/>
                  </a:lnTo>
                  <a:lnTo>
                    <a:pt x="318" y="1124"/>
                  </a:lnTo>
                  <a:lnTo>
                    <a:pt x="312" y="1129"/>
                  </a:lnTo>
                  <a:lnTo>
                    <a:pt x="305" y="1133"/>
                  </a:lnTo>
                  <a:lnTo>
                    <a:pt x="297" y="1136"/>
                  </a:lnTo>
                  <a:lnTo>
                    <a:pt x="288" y="1137"/>
                  </a:lnTo>
                  <a:lnTo>
                    <a:pt x="241" y="1137"/>
                  </a:lnTo>
                  <a:lnTo>
                    <a:pt x="233" y="1136"/>
                  </a:lnTo>
                  <a:lnTo>
                    <a:pt x="224" y="1133"/>
                  </a:lnTo>
                  <a:lnTo>
                    <a:pt x="217" y="1129"/>
                  </a:lnTo>
                  <a:lnTo>
                    <a:pt x="211" y="1124"/>
                  </a:lnTo>
                  <a:lnTo>
                    <a:pt x="205" y="1119"/>
                  </a:lnTo>
                  <a:lnTo>
                    <a:pt x="201" y="1111"/>
                  </a:lnTo>
                  <a:lnTo>
                    <a:pt x="199" y="1103"/>
                  </a:lnTo>
                  <a:lnTo>
                    <a:pt x="199" y="1095"/>
                  </a:lnTo>
                  <a:lnTo>
                    <a:pt x="199" y="1021"/>
                  </a:lnTo>
                  <a:lnTo>
                    <a:pt x="163" y="1021"/>
                  </a:lnTo>
                  <a:lnTo>
                    <a:pt x="158" y="1020"/>
                  </a:lnTo>
                  <a:lnTo>
                    <a:pt x="154" y="1017"/>
                  </a:lnTo>
                  <a:lnTo>
                    <a:pt x="151" y="1013"/>
                  </a:lnTo>
                  <a:lnTo>
                    <a:pt x="151" y="1008"/>
                  </a:lnTo>
                  <a:lnTo>
                    <a:pt x="151" y="829"/>
                  </a:lnTo>
                  <a:lnTo>
                    <a:pt x="151" y="825"/>
                  </a:lnTo>
                  <a:lnTo>
                    <a:pt x="154" y="821"/>
                  </a:lnTo>
                  <a:lnTo>
                    <a:pt x="158" y="818"/>
                  </a:lnTo>
                  <a:lnTo>
                    <a:pt x="163" y="817"/>
                  </a:lnTo>
                  <a:lnTo>
                    <a:pt x="184" y="817"/>
                  </a:lnTo>
                  <a:lnTo>
                    <a:pt x="184" y="747"/>
                  </a:lnTo>
                  <a:lnTo>
                    <a:pt x="170" y="724"/>
                  </a:lnTo>
                  <a:lnTo>
                    <a:pt x="157" y="700"/>
                  </a:lnTo>
                  <a:lnTo>
                    <a:pt x="145" y="675"/>
                  </a:lnTo>
                  <a:lnTo>
                    <a:pt x="134" y="649"/>
                  </a:lnTo>
                  <a:lnTo>
                    <a:pt x="126" y="622"/>
                  </a:lnTo>
                  <a:lnTo>
                    <a:pt x="120" y="596"/>
                  </a:lnTo>
                  <a:lnTo>
                    <a:pt x="114" y="568"/>
                  </a:lnTo>
                  <a:lnTo>
                    <a:pt x="111" y="541"/>
                  </a:lnTo>
                  <a:lnTo>
                    <a:pt x="39" y="541"/>
                  </a:lnTo>
                  <a:lnTo>
                    <a:pt x="32" y="539"/>
                  </a:lnTo>
                  <a:lnTo>
                    <a:pt x="24" y="538"/>
                  </a:lnTo>
                  <a:lnTo>
                    <a:pt x="17" y="534"/>
                  </a:lnTo>
                  <a:lnTo>
                    <a:pt x="12" y="529"/>
                  </a:lnTo>
                  <a:lnTo>
                    <a:pt x="7" y="524"/>
                  </a:lnTo>
                  <a:lnTo>
                    <a:pt x="3" y="517"/>
                  </a:lnTo>
                  <a:lnTo>
                    <a:pt x="1" y="509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1" y="451"/>
                  </a:lnTo>
                  <a:lnTo>
                    <a:pt x="3" y="445"/>
                  </a:lnTo>
                  <a:lnTo>
                    <a:pt x="7" y="438"/>
                  </a:lnTo>
                  <a:lnTo>
                    <a:pt x="12" y="432"/>
                  </a:lnTo>
                  <a:lnTo>
                    <a:pt x="17" y="428"/>
                  </a:lnTo>
                  <a:lnTo>
                    <a:pt x="24" y="424"/>
                  </a:lnTo>
                  <a:lnTo>
                    <a:pt x="32" y="421"/>
                  </a:lnTo>
                  <a:lnTo>
                    <a:pt x="39" y="420"/>
                  </a:lnTo>
                  <a:lnTo>
                    <a:pt x="116" y="420"/>
                  </a:lnTo>
                  <a:lnTo>
                    <a:pt x="121" y="392"/>
                  </a:lnTo>
                  <a:lnTo>
                    <a:pt x="129" y="364"/>
                  </a:lnTo>
                  <a:lnTo>
                    <a:pt x="138" y="338"/>
                  </a:lnTo>
                  <a:lnTo>
                    <a:pt x="149" y="312"/>
                  </a:lnTo>
                  <a:lnTo>
                    <a:pt x="162" y="287"/>
                  </a:lnTo>
                  <a:lnTo>
                    <a:pt x="175" y="263"/>
                  </a:lnTo>
                  <a:lnTo>
                    <a:pt x="191" y="241"/>
                  </a:lnTo>
                  <a:lnTo>
                    <a:pt x="208" y="218"/>
                  </a:lnTo>
                  <a:lnTo>
                    <a:pt x="225" y="197"/>
                  </a:lnTo>
                  <a:lnTo>
                    <a:pt x="245" y="178"/>
                  </a:lnTo>
                  <a:lnTo>
                    <a:pt x="264" y="158"/>
                  </a:lnTo>
                  <a:lnTo>
                    <a:pt x="286" y="141"/>
                  </a:lnTo>
                  <a:lnTo>
                    <a:pt x="309" y="125"/>
                  </a:lnTo>
                  <a:lnTo>
                    <a:pt x="332" y="110"/>
                  </a:lnTo>
                  <a:lnTo>
                    <a:pt x="357" y="97"/>
                  </a:lnTo>
                  <a:lnTo>
                    <a:pt x="382" y="85"/>
                  </a:lnTo>
                  <a:lnTo>
                    <a:pt x="382" y="12"/>
                  </a:lnTo>
                  <a:lnTo>
                    <a:pt x="382" y="6"/>
                  </a:lnTo>
                  <a:lnTo>
                    <a:pt x="384" y="3"/>
                  </a:lnTo>
                  <a:lnTo>
                    <a:pt x="388" y="0"/>
                  </a:lnTo>
                  <a:lnTo>
                    <a:pt x="393" y="0"/>
                  </a:lnTo>
                  <a:lnTo>
                    <a:pt x="724" y="0"/>
                  </a:lnTo>
                  <a:lnTo>
                    <a:pt x="729" y="0"/>
                  </a:lnTo>
                  <a:lnTo>
                    <a:pt x="733" y="3"/>
                  </a:lnTo>
                  <a:lnTo>
                    <a:pt x="736" y="6"/>
                  </a:lnTo>
                  <a:lnTo>
                    <a:pt x="736" y="12"/>
                  </a:lnTo>
                  <a:lnTo>
                    <a:pt x="736" y="85"/>
                  </a:lnTo>
                  <a:lnTo>
                    <a:pt x="761" y="97"/>
                  </a:lnTo>
                  <a:lnTo>
                    <a:pt x="786" y="110"/>
                  </a:lnTo>
                  <a:lnTo>
                    <a:pt x="809" y="125"/>
                  </a:lnTo>
                  <a:lnTo>
                    <a:pt x="832" y="141"/>
                  </a:lnTo>
                  <a:lnTo>
                    <a:pt x="853" y="158"/>
                  </a:lnTo>
                  <a:lnTo>
                    <a:pt x="872" y="178"/>
                  </a:lnTo>
                  <a:lnTo>
                    <a:pt x="892" y="197"/>
                  </a:lnTo>
                  <a:lnTo>
                    <a:pt x="911" y="218"/>
                  </a:lnTo>
                  <a:lnTo>
                    <a:pt x="926" y="239"/>
                  </a:lnTo>
                  <a:lnTo>
                    <a:pt x="942" y="263"/>
                  </a:lnTo>
                  <a:lnTo>
                    <a:pt x="955" y="287"/>
                  </a:lnTo>
                  <a:lnTo>
                    <a:pt x="969" y="312"/>
                  </a:lnTo>
                  <a:lnTo>
                    <a:pt x="979" y="338"/>
                  </a:lnTo>
                  <a:lnTo>
                    <a:pt x="988" y="364"/>
                  </a:lnTo>
                  <a:lnTo>
                    <a:pt x="996" y="392"/>
                  </a:lnTo>
                  <a:lnTo>
                    <a:pt x="1001" y="420"/>
                  </a:lnTo>
                  <a:lnTo>
                    <a:pt x="1079" y="420"/>
                  </a:lnTo>
                  <a:lnTo>
                    <a:pt x="1087" y="421"/>
                  </a:lnTo>
                  <a:lnTo>
                    <a:pt x="1095" y="424"/>
                  </a:lnTo>
                  <a:lnTo>
                    <a:pt x="1101" y="428"/>
                  </a:lnTo>
                  <a:lnTo>
                    <a:pt x="1107" y="432"/>
                  </a:lnTo>
                  <a:lnTo>
                    <a:pt x="1112" y="438"/>
                  </a:lnTo>
                  <a:lnTo>
                    <a:pt x="1116" y="445"/>
                  </a:lnTo>
                  <a:lnTo>
                    <a:pt x="1117" y="451"/>
                  </a:lnTo>
                  <a:lnTo>
                    <a:pt x="1119" y="459"/>
                  </a:lnTo>
                  <a:lnTo>
                    <a:pt x="1119" y="501"/>
                  </a:lnTo>
                  <a:lnTo>
                    <a:pt x="1117" y="509"/>
                  </a:lnTo>
                  <a:lnTo>
                    <a:pt x="1116" y="517"/>
                  </a:lnTo>
                  <a:lnTo>
                    <a:pt x="1112" y="524"/>
                  </a:lnTo>
                  <a:lnTo>
                    <a:pt x="1107" y="529"/>
                  </a:lnTo>
                  <a:lnTo>
                    <a:pt x="1101" y="534"/>
                  </a:lnTo>
                  <a:lnTo>
                    <a:pt x="1095" y="538"/>
                  </a:lnTo>
                  <a:lnTo>
                    <a:pt x="1087" y="539"/>
                  </a:lnTo>
                  <a:lnTo>
                    <a:pt x="1079" y="541"/>
                  </a:lnTo>
                  <a:close/>
                  <a:moveTo>
                    <a:pt x="184" y="596"/>
                  </a:moveTo>
                  <a:lnTo>
                    <a:pt x="183" y="595"/>
                  </a:lnTo>
                  <a:lnTo>
                    <a:pt x="137" y="561"/>
                  </a:lnTo>
                  <a:lnTo>
                    <a:pt x="141" y="579"/>
                  </a:lnTo>
                  <a:lnTo>
                    <a:pt x="145" y="597"/>
                  </a:lnTo>
                  <a:lnTo>
                    <a:pt x="149" y="614"/>
                  </a:lnTo>
                  <a:lnTo>
                    <a:pt x="155" y="633"/>
                  </a:lnTo>
                  <a:lnTo>
                    <a:pt x="161" y="650"/>
                  </a:lnTo>
                  <a:lnTo>
                    <a:pt x="168" y="667"/>
                  </a:lnTo>
                  <a:lnTo>
                    <a:pt x="176" y="684"/>
                  </a:lnTo>
                  <a:lnTo>
                    <a:pt x="184" y="701"/>
                  </a:lnTo>
                  <a:lnTo>
                    <a:pt x="184" y="596"/>
                  </a:lnTo>
                  <a:close/>
                  <a:moveTo>
                    <a:pt x="39" y="445"/>
                  </a:moveTo>
                  <a:lnTo>
                    <a:pt x="33" y="446"/>
                  </a:lnTo>
                  <a:lnTo>
                    <a:pt x="29" y="449"/>
                  </a:lnTo>
                  <a:lnTo>
                    <a:pt x="25" y="454"/>
                  </a:lnTo>
                  <a:lnTo>
                    <a:pt x="24" y="459"/>
                  </a:lnTo>
                  <a:lnTo>
                    <a:pt x="24" y="501"/>
                  </a:lnTo>
                  <a:lnTo>
                    <a:pt x="25" y="508"/>
                  </a:lnTo>
                  <a:lnTo>
                    <a:pt x="29" y="512"/>
                  </a:lnTo>
                  <a:lnTo>
                    <a:pt x="33" y="516"/>
                  </a:lnTo>
                  <a:lnTo>
                    <a:pt x="39" y="517"/>
                  </a:lnTo>
                  <a:lnTo>
                    <a:pt x="121" y="517"/>
                  </a:lnTo>
                  <a:lnTo>
                    <a:pt x="122" y="517"/>
                  </a:lnTo>
                  <a:lnTo>
                    <a:pt x="122" y="517"/>
                  </a:lnTo>
                  <a:lnTo>
                    <a:pt x="130" y="517"/>
                  </a:lnTo>
                  <a:lnTo>
                    <a:pt x="137" y="516"/>
                  </a:lnTo>
                  <a:lnTo>
                    <a:pt x="141" y="512"/>
                  </a:lnTo>
                  <a:lnTo>
                    <a:pt x="145" y="508"/>
                  </a:lnTo>
                  <a:lnTo>
                    <a:pt x="146" y="501"/>
                  </a:lnTo>
                  <a:lnTo>
                    <a:pt x="146" y="459"/>
                  </a:lnTo>
                  <a:lnTo>
                    <a:pt x="145" y="454"/>
                  </a:lnTo>
                  <a:lnTo>
                    <a:pt x="141" y="449"/>
                  </a:lnTo>
                  <a:lnTo>
                    <a:pt x="137" y="446"/>
                  </a:lnTo>
                  <a:lnTo>
                    <a:pt x="130" y="445"/>
                  </a:lnTo>
                  <a:lnTo>
                    <a:pt x="39" y="445"/>
                  </a:lnTo>
                  <a:close/>
                  <a:moveTo>
                    <a:pt x="682" y="996"/>
                  </a:moveTo>
                  <a:lnTo>
                    <a:pt x="682" y="961"/>
                  </a:lnTo>
                  <a:lnTo>
                    <a:pt x="436" y="961"/>
                  </a:lnTo>
                  <a:lnTo>
                    <a:pt x="436" y="996"/>
                  </a:lnTo>
                  <a:lnTo>
                    <a:pt x="682" y="996"/>
                  </a:lnTo>
                  <a:close/>
                  <a:moveTo>
                    <a:pt x="412" y="996"/>
                  </a:moveTo>
                  <a:lnTo>
                    <a:pt x="412" y="947"/>
                  </a:lnTo>
                  <a:lnTo>
                    <a:pt x="412" y="943"/>
                  </a:lnTo>
                  <a:lnTo>
                    <a:pt x="415" y="940"/>
                  </a:lnTo>
                  <a:lnTo>
                    <a:pt x="418" y="937"/>
                  </a:lnTo>
                  <a:lnTo>
                    <a:pt x="424" y="936"/>
                  </a:lnTo>
                  <a:lnTo>
                    <a:pt x="694" y="936"/>
                  </a:lnTo>
                  <a:lnTo>
                    <a:pt x="699" y="937"/>
                  </a:lnTo>
                  <a:lnTo>
                    <a:pt x="703" y="940"/>
                  </a:lnTo>
                  <a:lnTo>
                    <a:pt x="705" y="943"/>
                  </a:lnTo>
                  <a:lnTo>
                    <a:pt x="707" y="947"/>
                  </a:lnTo>
                  <a:lnTo>
                    <a:pt x="707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907" y="996"/>
                  </a:lnTo>
                  <a:lnTo>
                    <a:pt x="907" y="996"/>
                  </a:lnTo>
                  <a:lnTo>
                    <a:pt x="908" y="996"/>
                  </a:lnTo>
                  <a:lnTo>
                    <a:pt x="942" y="996"/>
                  </a:lnTo>
                  <a:lnTo>
                    <a:pt x="94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809" y="842"/>
                  </a:lnTo>
                  <a:lnTo>
                    <a:pt x="770" y="884"/>
                  </a:lnTo>
                  <a:lnTo>
                    <a:pt x="766" y="887"/>
                  </a:lnTo>
                  <a:lnTo>
                    <a:pt x="762" y="888"/>
                  </a:lnTo>
                  <a:lnTo>
                    <a:pt x="357" y="888"/>
                  </a:lnTo>
                  <a:lnTo>
                    <a:pt x="351" y="887"/>
                  </a:lnTo>
                  <a:lnTo>
                    <a:pt x="347" y="884"/>
                  </a:lnTo>
                  <a:lnTo>
                    <a:pt x="308" y="842"/>
                  </a:lnTo>
                  <a:lnTo>
                    <a:pt x="175" y="842"/>
                  </a:lnTo>
                  <a:lnTo>
                    <a:pt x="175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318" y="996"/>
                  </a:lnTo>
                  <a:lnTo>
                    <a:pt x="318" y="996"/>
                  </a:lnTo>
                  <a:lnTo>
                    <a:pt x="320" y="996"/>
                  </a:lnTo>
                  <a:lnTo>
                    <a:pt x="412" y="996"/>
                  </a:lnTo>
                  <a:close/>
                  <a:moveTo>
                    <a:pt x="447" y="734"/>
                  </a:moveTo>
                  <a:lnTo>
                    <a:pt x="443" y="734"/>
                  </a:lnTo>
                  <a:lnTo>
                    <a:pt x="441" y="737"/>
                  </a:lnTo>
                  <a:lnTo>
                    <a:pt x="438" y="741"/>
                  </a:lnTo>
                  <a:lnTo>
                    <a:pt x="438" y="745"/>
                  </a:lnTo>
                  <a:lnTo>
                    <a:pt x="438" y="788"/>
                  </a:lnTo>
                  <a:lnTo>
                    <a:pt x="438" y="792"/>
                  </a:lnTo>
                  <a:lnTo>
                    <a:pt x="441" y="796"/>
                  </a:lnTo>
                  <a:lnTo>
                    <a:pt x="443" y="797"/>
                  </a:lnTo>
                  <a:lnTo>
                    <a:pt x="447" y="799"/>
                  </a:lnTo>
                  <a:lnTo>
                    <a:pt x="670" y="799"/>
                  </a:lnTo>
                  <a:lnTo>
                    <a:pt x="674" y="797"/>
                  </a:lnTo>
                  <a:lnTo>
                    <a:pt x="676" y="796"/>
                  </a:lnTo>
                  <a:lnTo>
                    <a:pt x="679" y="792"/>
                  </a:lnTo>
                  <a:lnTo>
                    <a:pt x="679" y="788"/>
                  </a:lnTo>
                  <a:lnTo>
                    <a:pt x="679" y="745"/>
                  </a:lnTo>
                  <a:lnTo>
                    <a:pt x="679" y="741"/>
                  </a:lnTo>
                  <a:lnTo>
                    <a:pt x="676" y="737"/>
                  </a:lnTo>
                  <a:lnTo>
                    <a:pt x="674" y="734"/>
                  </a:lnTo>
                  <a:lnTo>
                    <a:pt x="670" y="734"/>
                  </a:lnTo>
                  <a:lnTo>
                    <a:pt x="447" y="734"/>
                  </a:lnTo>
                  <a:close/>
                  <a:moveTo>
                    <a:pt x="670" y="822"/>
                  </a:moveTo>
                  <a:lnTo>
                    <a:pt x="447" y="822"/>
                  </a:lnTo>
                  <a:lnTo>
                    <a:pt x="441" y="822"/>
                  </a:lnTo>
                  <a:lnTo>
                    <a:pt x="434" y="820"/>
                  </a:lnTo>
                  <a:lnTo>
                    <a:pt x="429" y="817"/>
                  </a:lnTo>
                  <a:lnTo>
                    <a:pt x="424" y="813"/>
                  </a:lnTo>
                  <a:lnTo>
                    <a:pt x="420" y="808"/>
                  </a:lnTo>
                  <a:lnTo>
                    <a:pt x="416" y="801"/>
                  </a:lnTo>
                  <a:lnTo>
                    <a:pt x="415" y="795"/>
                  </a:lnTo>
                  <a:lnTo>
                    <a:pt x="413" y="788"/>
                  </a:lnTo>
                  <a:lnTo>
                    <a:pt x="413" y="745"/>
                  </a:lnTo>
                  <a:lnTo>
                    <a:pt x="415" y="737"/>
                  </a:lnTo>
                  <a:lnTo>
                    <a:pt x="416" y="730"/>
                  </a:lnTo>
                  <a:lnTo>
                    <a:pt x="420" y="725"/>
                  </a:lnTo>
                  <a:lnTo>
                    <a:pt x="424" y="720"/>
                  </a:lnTo>
                  <a:lnTo>
                    <a:pt x="429" y="716"/>
                  </a:lnTo>
                  <a:lnTo>
                    <a:pt x="434" y="713"/>
                  </a:lnTo>
                  <a:lnTo>
                    <a:pt x="441" y="711"/>
                  </a:lnTo>
                  <a:lnTo>
                    <a:pt x="447" y="711"/>
                  </a:lnTo>
                  <a:lnTo>
                    <a:pt x="670" y="711"/>
                  </a:lnTo>
                  <a:lnTo>
                    <a:pt x="676" y="711"/>
                  </a:lnTo>
                  <a:lnTo>
                    <a:pt x="683" y="713"/>
                  </a:lnTo>
                  <a:lnTo>
                    <a:pt x="688" y="716"/>
                  </a:lnTo>
                  <a:lnTo>
                    <a:pt x="694" y="720"/>
                  </a:lnTo>
                  <a:lnTo>
                    <a:pt x="697" y="725"/>
                  </a:lnTo>
                  <a:lnTo>
                    <a:pt x="701" y="730"/>
                  </a:lnTo>
                  <a:lnTo>
                    <a:pt x="703" y="737"/>
                  </a:lnTo>
                  <a:lnTo>
                    <a:pt x="704" y="745"/>
                  </a:lnTo>
                  <a:lnTo>
                    <a:pt x="704" y="788"/>
                  </a:lnTo>
                  <a:lnTo>
                    <a:pt x="703" y="795"/>
                  </a:lnTo>
                  <a:lnTo>
                    <a:pt x="701" y="801"/>
                  </a:lnTo>
                  <a:lnTo>
                    <a:pt x="697" y="808"/>
                  </a:lnTo>
                  <a:lnTo>
                    <a:pt x="694" y="813"/>
                  </a:lnTo>
                  <a:lnTo>
                    <a:pt x="688" y="817"/>
                  </a:lnTo>
                  <a:lnTo>
                    <a:pt x="683" y="820"/>
                  </a:lnTo>
                  <a:lnTo>
                    <a:pt x="676" y="822"/>
                  </a:lnTo>
                  <a:lnTo>
                    <a:pt x="670" y="822"/>
                  </a:lnTo>
                  <a:close/>
                  <a:moveTo>
                    <a:pt x="895" y="1021"/>
                  </a:moveTo>
                  <a:lnTo>
                    <a:pt x="811" y="1021"/>
                  </a:lnTo>
                  <a:lnTo>
                    <a:pt x="811" y="1095"/>
                  </a:lnTo>
                  <a:lnTo>
                    <a:pt x="811" y="1097"/>
                  </a:lnTo>
                  <a:lnTo>
                    <a:pt x="812" y="1101"/>
                  </a:lnTo>
                  <a:lnTo>
                    <a:pt x="813" y="1104"/>
                  </a:lnTo>
                  <a:lnTo>
                    <a:pt x="816" y="1107"/>
                  </a:lnTo>
                  <a:lnTo>
                    <a:pt x="819" y="1109"/>
                  </a:lnTo>
                  <a:lnTo>
                    <a:pt x="821" y="1111"/>
                  </a:lnTo>
                  <a:lnTo>
                    <a:pt x="825" y="1112"/>
                  </a:lnTo>
                  <a:lnTo>
                    <a:pt x="829" y="1112"/>
                  </a:lnTo>
                  <a:lnTo>
                    <a:pt x="876" y="1112"/>
                  </a:lnTo>
                  <a:lnTo>
                    <a:pt x="880" y="1112"/>
                  </a:lnTo>
                  <a:lnTo>
                    <a:pt x="884" y="1111"/>
                  </a:lnTo>
                  <a:lnTo>
                    <a:pt x="887" y="1109"/>
                  </a:lnTo>
                  <a:lnTo>
                    <a:pt x="890" y="1107"/>
                  </a:lnTo>
                  <a:lnTo>
                    <a:pt x="892" y="1104"/>
                  </a:lnTo>
                  <a:lnTo>
                    <a:pt x="894" y="1101"/>
                  </a:lnTo>
                  <a:lnTo>
                    <a:pt x="895" y="1097"/>
                  </a:lnTo>
                  <a:lnTo>
                    <a:pt x="895" y="1095"/>
                  </a:lnTo>
                  <a:lnTo>
                    <a:pt x="895" y="1021"/>
                  </a:lnTo>
                  <a:close/>
                  <a:moveTo>
                    <a:pt x="307" y="1021"/>
                  </a:moveTo>
                  <a:lnTo>
                    <a:pt x="222" y="1021"/>
                  </a:lnTo>
                  <a:lnTo>
                    <a:pt x="222" y="1095"/>
                  </a:lnTo>
                  <a:lnTo>
                    <a:pt x="222" y="1097"/>
                  </a:lnTo>
                  <a:lnTo>
                    <a:pt x="224" y="1101"/>
                  </a:lnTo>
                  <a:lnTo>
                    <a:pt x="225" y="1104"/>
                  </a:lnTo>
                  <a:lnTo>
                    <a:pt x="228" y="1107"/>
                  </a:lnTo>
                  <a:lnTo>
                    <a:pt x="230" y="1109"/>
                  </a:lnTo>
                  <a:lnTo>
                    <a:pt x="234" y="1111"/>
                  </a:lnTo>
                  <a:lnTo>
                    <a:pt x="237" y="1112"/>
                  </a:lnTo>
                  <a:lnTo>
                    <a:pt x="241" y="1112"/>
                  </a:lnTo>
                  <a:lnTo>
                    <a:pt x="288" y="1112"/>
                  </a:lnTo>
                  <a:lnTo>
                    <a:pt x="292" y="1112"/>
                  </a:lnTo>
                  <a:lnTo>
                    <a:pt x="296" y="1111"/>
                  </a:lnTo>
                  <a:lnTo>
                    <a:pt x="299" y="1109"/>
                  </a:lnTo>
                  <a:lnTo>
                    <a:pt x="301" y="1107"/>
                  </a:lnTo>
                  <a:lnTo>
                    <a:pt x="304" y="1104"/>
                  </a:lnTo>
                  <a:lnTo>
                    <a:pt x="305" y="1101"/>
                  </a:lnTo>
                  <a:lnTo>
                    <a:pt x="307" y="1097"/>
                  </a:lnTo>
                  <a:lnTo>
                    <a:pt x="307" y="1095"/>
                  </a:lnTo>
                  <a:lnTo>
                    <a:pt x="307" y="1021"/>
                  </a:lnTo>
                  <a:close/>
                  <a:moveTo>
                    <a:pt x="208" y="817"/>
                  </a:moveTo>
                  <a:lnTo>
                    <a:pt x="313" y="817"/>
                  </a:lnTo>
                  <a:lnTo>
                    <a:pt x="317" y="818"/>
                  </a:lnTo>
                  <a:lnTo>
                    <a:pt x="321" y="822"/>
                  </a:lnTo>
                  <a:lnTo>
                    <a:pt x="362" y="863"/>
                  </a:lnTo>
                  <a:lnTo>
                    <a:pt x="757" y="863"/>
                  </a:lnTo>
                  <a:lnTo>
                    <a:pt x="796" y="822"/>
                  </a:lnTo>
                  <a:lnTo>
                    <a:pt x="800" y="818"/>
                  </a:lnTo>
                  <a:lnTo>
                    <a:pt x="805" y="817"/>
                  </a:lnTo>
                  <a:lnTo>
                    <a:pt x="911" y="817"/>
                  </a:lnTo>
                  <a:lnTo>
                    <a:pt x="911" y="566"/>
                  </a:lnTo>
                  <a:lnTo>
                    <a:pt x="874" y="366"/>
                  </a:lnTo>
                  <a:lnTo>
                    <a:pt x="870" y="354"/>
                  </a:lnTo>
                  <a:lnTo>
                    <a:pt x="865" y="343"/>
                  </a:lnTo>
                  <a:lnTo>
                    <a:pt x="858" y="335"/>
                  </a:lnTo>
                  <a:lnTo>
                    <a:pt x="850" y="329"/>
                  </a:lnTo>
                  <a:lnTo>
                    <a:pt x="841" y="322"/>
                  </a:lnTo>
                  <a:lnTo>
                    <a:pt x="830" y="318"/>
                  </a:lnTo>
                  <a:lnTo>
                    <a:pt x="820" y="316"/>
                  </a:lnTo>
                  <a:lnTo>
                    <a:pt x="807" y="316"/>
                  </a:lnTo>
                  <a:lnTo>
                    <a:pt x="312" y="316"/>
                  </a:lnTo>
                  <a:lnTo>
                    <a:pt x="296" y="316"/>
                  </a:lnTo>
                  <a:lnTo>
                    <a:pt x="283" y="317"/>
                  </a:lnTo>
                  <a:lnTo>
                    <a:pt x="271" y="321"/>
                  </a:lnTo>
                  <a:lnTo>
                    <a:pt x="263" y="326"/>
                  </a:lnTo>
                  <a:lnTo>
                    <a:pt x="257" y="333"/>
                  </a:lnTo>
                  <a:lnTo>
                    <a:pt x="251" y="343"/>
                  </a:lnTo>
                  <a:lnTo>
                    <a:pt x="247" y="355"/>
                  </a:lnTo>
                  <a:lnTo>
                    <a:pt x="245" y="371"/>
                  </a:lnTo>
                  <a:lnTo>
                    <a:pt x="208" y="567"/>
                  </a:lnTo>
                  <a:lnTo>
                    <a:pt x="208" y="817"/>
                  </a:lnTo>
                  <a:close/>
                  <a:moveTo>
                    <a:pt x="828" y="387"/>
                  </a:moveTo>
                  <a:lnTo>
                    <a:pt x="828" y="387"/>
                  </a:lnTo>
                  <a:lnTo>
                    <a:pt x="828" y="387"/>
                  </a:lnTo>
                  <a:close/>
                  <a:moveTo>
                    <a:pt x="328" y="374"/>
                  </a:moveTo>
                  <a:lnTo>
                    <a:pt x="322" y="375"/>
                  </a:lnTo>
                  <a:lnTo>
                    <a:pt x="318" y="378"/>
                  </a:lnTo>
                  <a:lnTo>
                    <a:pt x="316" y="382"/>
                  </a:lnTo>
                  <a:lnTo>
                    <a:pt x="314" y="387"/>
                  </a:lnTo>
                  <a:lnTo>
                    <a:pt x="286" y="546"/>
                  </a:lnTo>
                  <a:lnTo>
                    <a:pt x="286" y="554"/>
                  </a:lnTo>
                  <a:lnTo>
                    <a:pt x="286" y="561"/>
                  </a:lnTo>
                  <a:lnTo>
                    <a:pt x="288" y="567"/>
                  </a:lnTo>
                  <a:lnTo>
                    <a:pt x="292" y="572"/>
                  </a:lnTo>
                  <a:lnTo>
                    <a:pt x="296" y="576"/>
                  </a:lnTo>
                  <a:lnTo>
                    <a:pt x="303" y="579"/>
                  </a:lnTo>
                  <a:lnTo>
                    <a:pt x="309" y="582"/>
                  </a:lnTo>
                  <a:lnTo>
                    <a:pt x="316" y="582"/>
                  </a:lnTo>
                  <a:lnTo>
                    <a:pt x="801" y="582"/>
                  </a:lnTo>
                  <a:lnTo>
                    <a:pt x="809" y="582"/>
                  </a:lnTo>
                  <a:lnTo>
                    <a:pt x="816" y="579"/>
                  </a:lnTo>
                  <a:lnTo>
                    <a:pt x="822" y="576"/>
                  </a:lnTo>
                  <a:lnTo>
                    <a:pt x="826" y="572"/>
                  </a:lnTo>
                  <a:lnTo>
                    <a:pt x="830" y="567"/>
                  </a:lnTo>
                  <a:lnTo>
                    <a:pt x="833" y="561"/>
                  </a:lnTo>
                  <a:lnTo>
                    <a:pt x="833" y="554"/>
                  </a:lnTo>
                  <a:lnTo>
                    <a:pt x="833" y="546"/>
                  </a:lnTo>
                  <a:lnTo>
                    <a:pt x="804" y="389"/>
                  </a:lnTo>
                  <a:lnTo>
                    <a:pt x="804" y="388"/>
                  </a:lnTo>
                  <a:lnTo>
                    <a:pt x="804" y="387"/>
                  </a:lnTo>
                  <a:lnTo>
                    <a:pt x="803" y="382"/>
                  </a:lnTo>
                  <a:lnTo>
                    <a:pt x="800" y="378"/>
                  </a:lnTo>
                  <a:lnTo>
                    <a:pt x="795" y="375"/>
                  </a:lnTo>
                  <a:lnTo>
                    <a:pt x="790" y="374"/>
                  </a:lnTo>
                  <a:lnTo>
                    <a:pt x="328" y="374"/>
                  </a:lnTo>
                  <a:close/>
                  <a:moveTo>
                    <a:pt x="801" y="607"/>
                  </a:moveTo>
                  <a:lnTo>
                    <a:pt x="316" y="607"/>
                  </a:lnTo>
                  <a:lnTo>
                    <a:pt x="304" y="605"/>
                  </a:lnTo>
                  <a:lnTo>
                    <a:pt x="292" y="601"/>
                  </a:lnTo>
                  <a:lnTo>
                    <a:pt x="287" y="599"/>
                  </a:lnTo>
                  <a:lnTo>
                    <a:pt x="282" y="596"/>
                  </a:lnTo>
                  <a:lnTo>
                    <a:pt x="278" y="592"/>
                  </a:lnTo>
                  <a:lnTo>
                    <a:pt x="274" y="588"/>
                  </a:lnTo>
                  <a:lnTo>
                    <a:pt x="270" y="583"/>
                  </a:lnTo>
                  <a:lnTo>
                    <a:pt x="267" y="579"/>
                  </a:lnTo>
                  <a:lnTo>
                    <a:pt x="264" y="574"/>
                  </a:lnTo>
                  <a:lnTo>
                    <a:pt x="263" y="567"/>
                  </a:lnTo>
                  <a:lnTo>
                    <a:pt x="261" y="555"/>
                  </a:lnTo>
                  <a:lnTo>
                    <a:pt x="262" y="542"/>
                  </a:lnTo>
                  <a:lnTo>
                    <a:pt x="291" y="386"/>
                  </a:lnTo>
                  <a:lnTo>
                    <a:pt x="292" y="379"/>
                  </a:lnTo>
                  <a:lnTo>
                    <a:pt x="293" y="372"/>
                  </a:lnTo>
                  <a:lnTo>
                    <a:pt x="297" y="366"/>
                  </a:lnTo>
                  <a:lnTo>
                    <a:pt x="301" y="361"/>
                  </a:lnTo>
                  <a:lnTo>
                    <a:pt x="308" y="357"/>
                  </a:lnTo>
                  <a:lnTo>
                    <a:pt x="313" y="353"/>
                  </a:lnTo>
                  <a:lnTo>
                    <a:pt x="321" y="350"/>
                  </a:lnTo>
                  <a:lnTo>
                    <a:pt x="328" y="350"/>
                  </a:lnTo>
                  <a:lnTo>
                    <a:pt x="790" y="350"/>
                  </a:lnTo>
                  <a:lnTo>
                    <a:pt x="797" y="350"/>
                  </a:lnTo>
                  <a:lnTo>
                    <a:pt x="804" y="353"/>
                  </a:lnTo>
                  <a:lnTo>
                    <a:pt x="811" y="357"/>
                  </a:lnTo>
                  <a:lnTo>
                    <a:pt x="816" y="361"/>
                  </a:lnTo>
                  <a:lnTo>
                    <a:pt x="821" y="366"/>
                  </a:lnTo>
                  <a:lnTo>
                    <a:pt x="824" y="372"/>
                  </a:lnTo>
                  <a:lnTo>
                    <a:pt x="826" y="379"/>
                  </a:lnTo>
                  <a:lnTo>
                    <a:pt x="828" y="386"/>
                  </a:lnTo>
                  <a:lnTo>
                    <a:pt x="857" y="542"/>
                  </a:lnTo>
                  <a:lnTo>
                    <a:pt x="857" y="555"/>
                  </a:lnTo>
                  <a:lnTo>
                    <a:pt x="855" y="567"/>
                  </a:lnTo>
                  <a:lnTo>
                    <a:pt x="854" y="574"/>
                  </a:lnTo>
                  <a:lnTo>
                    <a:pt x="851" y="579"/>
                  </a:lnTo>
                  <a:lnTo>
                    <a:pt x="849" y="583"/>
                  </a:lnTo>
                  <a:lnTo>
                    <a:pt x="845" y="588"/>
                  </a:lnTo>
                  <a:lnTo>
                    <a:pt x="841" y="592"/>
                  </a:lnTo>
                  <a:lnTo>
                    <a:pt x="837" y="596"/>
                  </a:lnTo>
                  <a:lnTo>
                    <a:pt x="832" y="599"/>
                  </a:lnTo>
                  <a:lnTo>
                    <a:pt x="826" y="601"/>
                  </a:lnTo>
                  <a:lnTo>
                    <a:pt x="815" y="605"/>
                  </a:lnTo>
                  <a:lnTo>
                    <a:pt x="801" y="607"/>
                  </a:lnTo>
                  <a:close/>
                </a:path>
              </a:pathLst>
            </a:custGeom>
            <a:grpFill/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0" name="Freeform 405"/>
            <p:cNvSpPr>
              <a:spLocks noEditPoints="1"/>
            </p:cNvSpPr>
            <p:nvPr/>
          </p:nvSpPr>
          <p:spPr bwMode="auto">
            <a:xfrm>
              <a:off x="5486400" y="3460750"/>
              <a:ext cx="280988" cy="34925"/>
            </a:xfrm>
            <a:custGeom>
              <a:avLst/>
              <a:gdLst>
                <a:gd name="T0" fmla="*/ 604 w 708"/>
                <a:gd name="T1" fmla="*/ 25 h 88"/>
                <a:gd name="T2" fmla="*/ 600 w 708"/>
                <a:gd name="T3" fmla="*/ 29 h 88"/>
                <a:gd name="T4" fmla="*/ 598 w 708"/>
                <a:gd name="T5" fmla="*/ 57 h 88"/>
                <a:gd name="T6" fmla="*/ 601 w 708"/>
                <a:gd name="T7" fmla="*/ 62 h 88"/>
                <a:gd name="T8" fmla="*/ 608 w 708"/>
                <a:gd name="T9" fmla="*/ 65 h 88"/>
                <a:gd name="T10" fmla="*/ 680 w 708"/>
                <a:gd name="T11" fmla="*/ 63 h 88"/>
                <a:gd name="T12" fmla="*/ 684 w 708"/>
                <a:gd name="T13" fmla="*/ 59 h 88"/>
                <a:gd name="T14" fmla="*/ 684 w 708"/>
                <a:gd name="T15" fmla="*/ 32 h 88"/>
                <a:gd name="T16" fmla="*/ 681 w 708"/>
                <a:gd name="T17" fmla="*/ 27 h 88"/>
                <a:gd name="T18" fmla="*/ 676 w 708"/>
                <a:gd name="T19" fmla="*/ 25 h 88"/>
                <a:gd name="T20" fmla="*/ 31 w 708"/>
                <a:gd name="T21" fmla="*/ 25 h 88"/>
                <a:gd name="T22" fmla="*/ 26 w 708"/>
                <a:gd name="T23" fmla="*/ 27 h 88"/>
                <a:gd name="T24" fmla="*/ 23 w 708"/>
                <a:gd name="T25" fmla="*/ 32 h 88"/>
                <a:gd name="T26" fmla="*/ 23 w 708"/>
                <a:gd name="T27" fmla="*/ 59 h 88"/>
                <a:gd name="T28" fmla="*/ 29 w 708"/>
                <a:gd name="T29" fmla="*/ 63 h 88"/>
                <a:gd name="T30" fmla="*/ 100 w 708"/>
                <a:gd name="T31" fmla="*/ 65 h 88"/>
                <a:gd name="T32" fmla="*/ 106 w 708"/>
                <a:gd name="T33" fmla="*/ 62 h 88"/>
                <a:gd name="T34" fmla="*/ 109 w 708"/>
                <a:gd name="T35" fmla="*/ 57 h 88"/>
                <a:gd name="T36" fmla="*/ 108 w 708"/>
                <a:gd name="T37" fmla="*/ 29 h 88"/>
                <a:gd name="T38" fmla="*/ 104 w 708"/>
                <a:gd name="T39" fmla="*/ 25 h 88"/>
                <a:gd name="T40" fmla="*/ 31 w 708"/>
                <a:gd name="T41" fmla="*/ 25 h 88"/>
                <a:gd name="T42" fmla="*/ 31 w 708"/>
                <a:gd name="T43" fmla="*/ 88 h 88"/>
                <a:gd name="T44" fmla="*/ 18 w 708"/>
                <a:gd name="T45" fmla="*/ 86 h 88"/>
                <a:gd name="T46" fmla="*/ 9 w 708"/>
                <a:gd name="T47" fmla="*/ 79 h 88"/>
                <a:gd name="T48" fmla="*/ 2 w 708"/>
                <a:gd name="T49" fmla="*/ 69 h 88"/>
                <a:gd name="T50" fmla="*/ 0 w 708"/>
                <a:gd name="T51" fmla="*/ 57 h 88"/>
                <a:gd name="T52" fmla="*/ 0 w 708"/>
                <a:gd name="T53" fmla="*/ 27 h 88"/>
                <a:gd name="T54" fmla="*/ 5 w 708"/>
                <a:gd name="T55" fmla="*/ 15 h 88"/>
                <a:gd name="T56" fmla="*/ 13 w 708"/>
                <a:gd name="T57" fmla="*/ 6 h 88"/>
                <a:gd name="T58" fmla="*/ 25 w 708"/>
                <a:gd name="T59" fmla="*/ 2 h 88"/>
                <a:gd name="T60" fmla="*/ 100 w 708"/>
                <a:gd name="T61" fmla="*/ 0 h 88"/>
                <a:gd name="T62" fmla="*/ 113 w 708"/>
                <a:gd name="T63" fmla="*/ 3 h 88"/>
                <a:gd name="T64" fmla="*/ 123 w 708"/>
                <a:gd name="T65" fmla="*/ 9 h 88"/>
                <a:gd name="T66" fmla="*/ 130 w 708"/>
                <a:gd name="T67" fmla="*/ 20 h 88"/>
                <a:gd name="T68" fmla="*/ 133 w 708"/>
                <a:gd name="T69" fmla="*/ 32 h 88"/>
                <a:gd name="T70" fmla="*/ 131 w 708"/>
                <a:gd name="T71" fmla="*/ 63 h 88"/>
                <a:gd name="T72" fmla="*/ 127 w 708"/>
                <a:gd name="T73" fmla="*/ 74 h 88"/>
                <a:gd name="T74" fmla="*/ 118 w 708"/>
                <a:gd name="T75" fmla="*/ 83 h 88"/>
                <a:gd name="T76" fmla="*/ 106 w 708"/>
                <a:gd name="T77" fmla="*/ 88 h 88"/>
                <a:gd name="T78" fmla="*/ 676 w 708"/>
                <a:gd name="T79" fmla="*/ 88 h 88"/>
                <a:gd name="T80" fmla="*/ 601 w 708"/>
                <a:gd name="T81" fmla="*/ 88 h 88"/>
                <a:gd name="T82" fmla="*/ 589 w 708"/>
                <a:gd name="T83" fmla="*/ 83 h 88"/>
                <a:gd name="T84" fmla="*/ 581 w 708"/>
                <a:gd name="T85" fmla="*/ 74 h 88"/>
                <a:gd name="T86" fmla="*/ 576 w 708"/>
                <a:gd name="T87" fmla="*/ 63 h 88"/>
                <a:gd name="T88" fmla="*/ 575 w 708"/>
                <a:gd name="T89" fmla="*/ 32 h 88"/>
                <a:gd name="T90" fmla="*/ 577 w 708"/>
                <a:gd name="T91" fmla="*/ 20 h 88"/>
                <a:gd name="T92" fmla="*/ 584 w 708"/>
                <a:gd name="T93" fmla="*/ 9 h 88"/>
                <a:gd name="T94" fmla="*/ 594 w 708"/>
                <a:gd name="T95" fmla="*/ 3 h 88"/>
                <a:gd name="T96" fmla="*/ 608 w 708"/>
                <a:gd name="T97" fmla="*/ 0 h 88"/>
                <a:gd name="T98" fmla="*/ 683 w 708"/>
                <a:gd name="T99" fmla="*/ 2 h 88"/>
                <a:gd name="T100" fmla="*/ 694 w 708"/>
                <a:gd name="T101" fmla="*/ 6 h 88"/>
                <a:gd name="T102" fmla="*/ 702 w 708"/>
                <a:gd name="T103" fmla="*/ 15 h 88"/>
                <a:gd name="T104" fmla="*/ 708 w 708"/>
                <a:gd name="T105" fmla="*/ 27 h 88"/>
                <a:gd name="T106" fmla="*/ 708 w 708"/>
                <a:gd name="T107" fmla="*/ 57 h 88"/>
                <a:gd name="T108" fmla="*/ 705 w 708"/>
                <a:gd name="T109" fmla="*/ 69 h 88"/>
                <a:gd name="T110" fmla="*/ 698 w 708"/>
                <a:gd name="T111" fmla="*/ 79 h 88"/>
                <a:gd name="T112" fmla="*/ 689 w 708"/>
                <a:gd name="T113" fmla="*/ 86 h 88"/>
                <a:gd name="T114" fmla="*/ 676 w 708"/>
                <a:gd name="T1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8" h="88">
                  <a:moveTo>
                    <a:pt x="608" y="25"/>
                  </a:moveTo>
                  <a:lnTo>
                    <a:pt x="604" y="25"/>
                  </a:lnTo>
                  <a:lnTo>
                    <a:pt x="601" y="27"/>
                  </a:lnTo>
                  <a:lnTo>
                    <a:pt x="600" y="29"/>
                  </a:lnTo>
                  <a:lnTo>
                    <a:pt x="598" y="32"/>
                  </a:lnTo>
                  <a:lnTo>
                    <a:pt x="598" y="57"/>
                  </a:lnTo>
                  <a:lnTo>
                    <a:pt x="600" y="59"/>
                  </a:lnTo>
                  <a:lnTo>
                    <a:pt x="601" y="62"/>
                  </a:lnTo>
                  <a:lnTo>
                    <a:pt x="604" y="63"/>
                  </a:lnTo>
                  <a:lnTo>
                    <a:pt x="608" y="65"/>
                  </a:lnTo>
                  <a:lnTo>
                    <a:pt x="676" y="65"/>
                  </a:lnTo>
                  <a:lnTo>
                    <a:pt x="680" y="63"/>
                  </a:lnTo>
                  <a:lnTo>
                    <a:pt x="681" y="62"/>
                  </a:lnTo>
                  <a:lnTo>
                    <a:pt x="684" y="59"/>
                  </a:lnTo>
                  <a:lnTo>
                    <a:pt x="684" y="57"/>
                  </a:lnTo>
                  <a:lnTo>
                    <a:pt x="684" y="32"/>
                  </a:lnTo>
                  <a:lnTo>
                    <a:pt x="684" y="29"/>
                  </a:lnTo>
                  <a:lnTo>
                    <a:pt x="681" y="27"/>
                  </a:lnTo>
                  <a:lnTo>
                    <a:pt x="680" y="25"/>
                  </a:lnTo>
                  <a:lnTo>
                    <a:pt x="676" y="25"/>
                  </a:lnTo>
                  <a:lnTo>
                    <a:pt x="608" y="25"/>
                  </a:lnTo>
                  <a:close/>
                  <a:moveTo>
                    <a:pt x="31" y="25"/>
                  </a:moveTo>
                  <a:lnTo>
                    <a:pt x="29" y="25"/>
                  </a:lnTo>
                  <a:lnTo>
                    <a:pt x="26" y="27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9" y="63"/>
                  </a:lnTo>
                  <a:lnTo>
                    <a:pt x="31" y="65"/>
                  </a:lnTo>
                  <a:lnTo>
                    <a:pt x="100" y="65"/>
                  </a:lnTo>
                  <a:lnTo>
                    <a:pt x="104" y="63"/>
                  </a:lnTo>
                  <a:lnTo>
                    <a:pt x="106" y="62"/>
                  </a:lnTo>
                  <a:lnTo>
                    <a:pt x="108" y="59"/>
                  </a:lnTo>
                  <a:lnTo>
                    <a:pt x="109" y="57"/>
                  </a:lnTo>
                  <a:lnTo>
                    <a:pt x="109" y="32"/>
                  </a:lnTo>
                  <a:lnTo>
                    <a:pt x="108" y="29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31" y="25"/>
                  </a:lnTo>
                  <a:close/>
                  <a:moveTo>
                    <a:pt x="100" y="88"/>
                  </a:moveTo>
                  <a:lnTo>
                    <a:pt x="31" y="88"/>
                  </a:lnTo>
                  <a:lnTo>
                    <a:pt x="25" y="88"/>
                  </a:lnTo>
                  <a:lnTo>
                    <a:pt x="18" y="86"/>
                  </a:lnTo>
                  <a:lnTo>
                    <a:pt x="13" y="83"/>
                  </a:lnTo>
                  <a:lnTo>
                    <a:pt x="9" y="79"/>
                  </a:lnTo>
                  <a:lnTo>
                    <a:pt x="5" y="74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8" y="3"/>
                  </a:lnTo>
                  <a:lnTo>
                    <a:pt x="25" y="2"/>
                  </a:lnTo>
                  <a:lnTo>
                    <a:pt x="31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13" y="3"/>
                  </a:lnTo>
                  <a:lnTo>
                    <a:pt x="118" y="6"/>
                  </a:lnTo>
                  <a:lnTo>
                    <a:pt x="123" y="9"/>
                  </a:lnTo>
                  <a:lnTo>
                    <a:pt x="127" y="15"/>
                  </a:lnTo>
                  <a:lnTo>
                    <a:pt x="130" y="20"/>
                  </a:lnTo>
                  <a:lnTo>
                    <a:pt x="131" y="27"/>
                  </a:lnTo>
                  <a:lnTo>
                    <a:pt x="133" y="32"/>
                  </a:lnTo>
                  <a:lnTo>
                    <a:pt x="133" y="57"/>
                  </a:lnTo>
                  <a:lnTo>
                    <a:pt x="131" y="63"/>
                  </a:lnTo>
                  <a:lnTo>
                    <a:pt x="130" y="69"/>
                  </a:lnTo>
                  <a:lnTo>
                    <a:pt x="127" y="74"/>
                  </a:lnTo>
                  <a:lnTo>
                    <a:pt x="123" y="79"/>
                  </a:lnTo>
                  <a:lnTo>
                    <a:pt x="118" y="83"/>
                  </a:lnTo>
                  <a:lnTo>
                    <a:pt x="113" y="86"/>
                  </a:lnTo>
                  <a:lnTo>
                    <a:pt x="106" y="88"/>
                  </a:lnTo>
                  <a:lnTo>
                    <a:pt x="100" y="88"/>
                  </a:lnTo>
                  <a:close/>
                  <a:moveTo>
                    <a:pt x="676" y="88"/>
                  </a:moveTo>
                  <a:lnTo>
                    <a:pt x="608" y="88"/>
                  </a:lnTo>
                  <a:lnTo>
                    <a:pt x="601" y="88"/>
                  </a:lnTo>
                  <a:lnTo>
                    <a:pt x="594" y="86"/>
                  </a:lnTo>
                  <a:lnTo>
                    <a:pt x="589" y="83"/>
                  </a:lnTo>
                  <a:lnTo>
                    <a:pt x="584" y="79"/>
                  </a:lnTo>
                  <a:lnTo>
                    <a:pt x="581" y="74"/>
                  </a:lnTo>
                  <a:lnTo>
                    <a:pt x="577" y="69"/>
                  </a:lnTo>
                  <a:lnTo>
                    <a:pt x="576" y="63"/>
                  </a:lnTo>
                  <a:lnTo>
                    <a:pt x="575" y="57"/>
                  </a:lnTo>
                  <a:lnTo>
                    <a:pt x="575" y="32"/>
                  </a:lnTo>
                  <a:lnTo>
                    <a:pt x="576" y="27"/>
                  </a:lnTo>
                  <a:lnTo>
                    <a:pt x="577" y="20"/>
                  </a:lnTo>
                  <a:lnTo>
                    <a:pt x="581" y="15"/>
                  </a:lnTo>
                  <a:lnTo>
                    <a:pt x="584" y="9"/>
                  </a:lnTo>
                  <a:lnTo>
                    <a:pt x="589" y="6"/>
                  </a:lnTo>
                  <a:lnTo>
                    <a:pt x="594" y="3"/>
                  </a:lnTo>
                  <a:lnTo>
                    <a:pt x="601" y="2"/>
                  </a:lnTo>
                  <a:lnTo>
                    <a:pt x="608" y="0"/>
                  </a:lnTo>
                  <a:lnTo>
                    <a:pt x="676" y="0"/>
                  </a:lnTo>
                  <a:lnTo>
                    <a:pt x="683" y="2"/>
                  </a:lnTo>
                  <a:lnTo>
                    <a:pt x="689" y="3"/>
                  </a:lnTo>
                  <a:lnTo>
                    <a:pt x="694" y="6"/>
                  </a:lnTo>
                  <a:lnTo>
                    <a:pt x="698" y="9"/>
                  </a:lnTo>
                  <a:lnTo>
                    <a:pt x="702" y="15"/>
                  </a:lnTo>
                  <a:lnTo>
                    <a:pt x="705" y="20"/>
                  </a:lnTo>
                  <a:lnTo>
                    <a:pt x="708" y="27"/>
                  </a:lnTo>
                  <a:lnTo>
                    <a:pt x="708" y="32"/>
                  </a:lnTo>
                  <a:lnTo>
                    <a:pt x="708" y="57"/>
                  </a:lnTo>
                  <a:lnTo>
                    <a:pt x="708" y="63"/>
                  </a:lnTo>
                  <a:lnTo>
                    <a:pt x="705" y="69"/>
                  </a:lnTo>
                  <a:lnTo>
                    <a:pt x="702" y="74"/>
                  </a:lnTo>
                  <a:lnTo>
                    <a:pt x="698" y="79"/>
                  </a:lnTo>
                  <a:lnTo>
                    <a:pt x="694" y="83"/>
                  </a:lnTo>
                  <a:lnTo>
                    <a:pt x="689" y="86"/>
                  </a:lnTo>
                  <a:lnTo>
                    <a:pt x="683" y="88"/>
                  </a:lnTo>
                  <a:lnTo>
                    <a:pt x="676" y="88"/>
                  </a:lnTo>
                  <a:close/>
                </a:path>
              </a:pathLst>
            </a:custGeom>
            <a:grpFill/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71" name="benzovoz"/>
          <p:cNvGrpSpPr>
            <a:grpSpLocks noChangeAspect="1"/>
          </p:cNvGrpSpPr>
          <p:nvPr/>
        </p:nvGrpSpPr>
        <p:grpSpPr>
          <a:xfrm>
            <a:off x="4076975" y="2725884"/>
            <a:ext cx="172817" cy="195263"/>
            <a:chOff x="5407025" y="3109913"/>
            <a:chExt cx="442913" cy="450850"/>
          </a:xfrm>
          <a:solidFill>
            <a:srgbClr val="009900"/>
          </a:solidFill>
        </p:grpSpPr>
        <p:sp>
          <p:nvSpPr>
            <p:cNvPr id="972" name="Freeform 404"/>
            <p:cNvSpPr>
              <a:spLocks noEditPoints="1"/>
            </p:cNvSpPr>
            <p:nvPr/>
          </p:nvSpPr>
          <p:spPr bwMode="auto">
            <a:xfrm>
              <a:off x="5407025" y="3109913"/>
              <a:ext cx="442913" cy="450850"/>
            </a:xfrm>
            <a:custGeom>
              <a:avLst/>
              <a:gdLst>
                <a:gd name="T0" fmla="*/ 538 w 1119"/>
                <a:gd name="T1" fmla="*/ 49 h 1137"/>
                <a:gd name="T2" fmla="*/ 971 w 1119"/>
                <a:gd name="T3" fmla="*/ 537 h 1137"/>
                <a:gd name="T4" fmla="*/ 950 w 1119"/>
                <a:gd name="T5" fmla="*/ 447 h 1137"/>
                <a:gd name="T6" fmla="*/ 950 w 1119"/>
                <a:gd name="T7" fmla="*/ 332 h 1137"/>
                <a:gd name="T8" fmla="*/ 832 w 1119"/>
                <a:gd name="T9" fmla="*/ 172 h 1137"/>
                <a:gd name="T10" fmla="*/ 653 w 1119"/>
                <a:gd name="T11" fmla="*/ 83 h 1137"/>
                <a:gd name="T12" fmla="*/ 447 w 1119"/>
                <a:gd name="T13" fmla="*/ 87 h 1137"/>
                <a:gd name="T14" fmla="*/ 272 w 1119"/>
                <a:gd name="T15" fmla="*/ 184 h 1137"/>
                <a:gd name="T16" fmla="*/ 159 w 1119"/>
                <a:gd name="T17" fmla="*/ 349 h 1137"/>
                <a:gd name="T18" fmla="*/ 170 w 1119"/>
                <a:gd name="T19" fmla="*/ 453 h 1137"/>
                <a:gd name="T20" fmla="*/ 184 w 1119"/>
                <a:gd name="T21" fmla="*/ 566 h 1137"/>
                <a:gd name="T22" fmla="*/ 267 w 1119"/>
                <a:gd name="T23" fmla="*/ 297 h 1137"/>
                <a:gd name="T24" fmla="*/ 891 w 1119"/>
                <a:gd name="T25" fmla="*/ 345 h 1137"/>
                <a:gd name="T26" fmla="*/ 963 w 1119"/>
                <a:gd name="T27" fmla="*/ 632 h 1137"/>
                <a:gd name="T28" fmla="*/ 974 w 1119"/>
                <a:gd name="T29" fmla="*/ 508 h 1137"/>
                <a:gd name="T30" fmla="*/ 1095 w 1119"/>
                <a:gd name="T31" fmla="*/ 501 h 1137"/>
                <a:gd name="T32" fmla="*/ 991 w 1119"/>
                <a:gd name="T33" fmla="*/ 445 h 1137"/>
                <a:gd name="T34" fmla="*/ 934 w 1119"/>
                <a:gd name="T35" fmla="*/ 746 h 1137"/>
                <a:gd name="T36" fmla="*/ 954 w 1119"/>
                <a:gd name="T37" fmla="*/ 1021 h 1137"/>
                <a:gd name="T38" fmla="*/ 829 w 1119"/>
                <a:gd name="T39" fmla="*/ 1137 h 1137"/>
                <a:gd name="T40" fmla="*/ 422 w 1119"/>
                <a:gd name="T41" fmla="*/ 1021 h 1137"/>
                <a:gd name="T42" fmla="*/ 241 w 1119"/>
                <a:gd name="T43" fmla="*/ 1137 h 1137"/>
                <a:gd name="T44" fmla="*/ 158 w 1119"/>
                <a:gd name="T45" fmla="*/ 1020 h 1137"/>
                <a:gd name="T46" fmla="*/ 170 w 1119"/>
                <a:gd name="T47" fmla="*/ 724 h 1137"/>
                <a:gd name="T48" fmla="*/ 17 w 1119"/>
                <a:gd name="T49" fmla="*/ 534 h 1137"/>
                <a:gd name="T50" fmla="*/ 17 w 1119"/>
                <a:gd name="T51" fmla="*/ 428 h 1137"/>
                <a:gd name="T52" fmla="*/ 191 w 1119"/>
                <a:gd name="T53" fmla="*/ 241 h 1137"/>
                <a:gd name="T54" fmla="*/ 382 w 1119"/>
                <a:gd name="T55" fmla="*/ 6 h 1137"/>
                <a:gd name="T56" fmla="*/ 786 w 1119"/>
                <a:gd name="T57" fmla="*/ 110 h 1137"/>
                <a:gd name="T58" fmla="*/ 979 w 1119"/>
                <a:gd name="T59" fmla="*/ 338 h 1137"/>
                <a:gd name="T60" fmla="*/ 1117 w 1119"/>
                <a:gd name="T61" fmla="*/ 451 h 1137"/>
                <a:gd name="T62" fmla="*/ 184 w 1119"/>
                <a:gd name="T63" fmla="*/ 596 h 1137"/>
                <a:gd name="T64" fmla="*/ 184 w 1119"/>
                <a:gd name="T65" fmla="*/ 596 h 1137"/>
                <a:gd name="T66" fmla="*/ 121 w 1119"/>
                <a:gd name="T67" fmla="*/ 517 h 1137"/>
                <a:gd name="T68" fmla="*/ 137 w 1119"/>
                <a:gd name="T69" fmla="*/ 446 h 1137"/>
                <a:gd name="T70" fmla="*/ 415 w 1119"/>
                <a:gd name="T71" fmla="*/ 940 h 1137"/>
                <a:gd name="T72" fmla="*/ 799 w 1119"/>
                <a:gd name="T73" fmla="*/ 996 h 1137"/>
                <a:gd name="T74" fmla="*/ 766 w 1119"/>
                <a:gd name="T75" fmla="*/ 887 h 1137"/>
                <a:gd name="T76" fmla="*/ 318 w 1119"/>
                <a:gd name="T77" fmla="*/ 996 h 1137"/>
                <a:gd name="T78" fmla="*/ 441 w 1119"/>
                <a:gd name="T79" fmla="*/ 796 h 1137"/>
                <a:gd name="T80" fmla="*/ 674 w 1119"/>
                <a:gd name="T81" fmla="*/ 734 h 1137"/>
                <a:gd name="T82" fmla="*/ 415 w 1119"/>
                <a:gd name="T83" fmla="*/ 795 h 1137"/>
                <a:gd name="T84" fmla="*/ 670 w 1119"/>
                <a:gd name="T85" fmla="*/ 711 h 1137"/>
                <a:gd name="T86" fmla="*/ 701 w 1119"/>
                <a:gd name="T87" fmla="*/ 801 h 1137"/>
                <a:gd name="T88" fmla="*/ 812 w 1119"/>
                <a:gd name="T89" fmla="*/ 1101 h 1137"/>
                <a:gd name="T90" fmla="*/ 890 w 1119"/>
                <a:gd name="T91" fmla="*/ 1107 h 1137"/>
                <a:gd name="T92" fmla="*/ 225 w 1119"/>
                <a:gd name="T93" fmla="*/ 1104 h 1137"/>
                <a:gd name="T94" fmla="*/ 304 w 1119"/>
                <a:gd name="T95" fmla="*/ 1104 h 1137"/>
                <a:gd name="T96" fmla="*/ 796 w 1119"/>
                <a:gd name="T97" fmla="*/ 822 h 1137"/>
                <a:gd name="T98" fmla="*/ 830 w 1119"/>
                <a:gd name="T99" fmla="*/ 318 h 1137"/>
                <a:gd name="T100" fmla="*/ 245 w 1119"/>
                <a:gd name="T101" fmla="*/ 371 h 1137"/>
                <a:gd name="T102" fmla="*/ 286 w 1119"/>
                <a:gd name="T103" fmla="*/ 546 h 1137"/>
                <a:gd name="T104" fmla="*/ 816 w 1119"/>
                <a:gd name="T105" fmla="*/ 579 h 1137"/>
                <a:gd name="T106" fmla="*/ 800 w 1119"/>
                <a:gd name="T107" fmla="*/ 378 h 1137"/>
                <a:gd name="T108" fmla="*/ 274 w 1119"/>
                <a:gd name="T109" fmla="*/ 588 h 1137"/>
                <a:gd name="T110" fmla="*/ 301 w 1119"/>
                <a:gd name="T111" fmla="*/ 361 h 1137"/>
                <a:gd name="T112" fmla="*/ 824 w 1119"/>
                <a:gd name="T113" fmla="*/ 372 h 1137"/>
                <a:gd name="T114" fmla="*/ 837 w 1119"/>
                <a:gd name="T115" fmla="*/ 596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9" h="1137">
                  <a:moveTo>
                    <a:pt x="712" y="75"/>
                  </a:moveTo>
                  <a:lnTo>
                    <a:pt x="712" y="24"/>
                  </a:lnTo>
                  <a:lnTo>
                    <a:pt x="405" y="24"/>
                  </a:lnTo>
                  <a:lnTo>
                    <a:pt x="405" y="75"/>
                  </a:lnTo>
                  <a:lnTo>
                    <a:pt x="424" y="70"/>
                  </a:lnTo>
                  <a:lnTo>
                    <a:pt x="442" y="63"/>
                  </a:lnTo>
                  <a:lnTo>
                    <a:pt x="461" y="59"/>
                  </a:lnTo>
                  <a:lnTo>
                    <a:pt x="480" y="55"/>
                  </a:lnTo>
                  <a:lnTo>
                    <a:pt x="499" y="51"/>
                  </a:lnTo>
                  <a:lnTo>
                    <a:pt x="518" y="50"/>
                  </a:lnTo>
                  <a:lnTo>
                    <a:pt x="538" y="49"/>
                  </a:lnTo>
                  <a:lnTo>
                    <a:pt x="558" y="47"/>
                  </a:lnTo>
                  <a:lnTo>
                    <a:pt x="579" y="49"/>
                  </a:lnTo>
                  <a:lnTo>
                    <a:pt x="599" y="50"/>
                  </a:lnTo>
                  <a:lnTo>
                    <a:pt x="618" y="51"/>
                  </a:lnTo>
                  <a:lnTo>
                    <a:pt x="637" y="55"/>
                  </a:lnTo>
                  <a:lnTo>
                    <a:pt x="657" y="59"/>
                  </a:lnTo>
                  <a:lnTo>
                    <a:pt x="675" y="63"/>
                  </a:lnTo>
                  <a:lnTo>
                    <a:pt x="694" y="70"/>
                  </a:lnTo>
                  <a:lnTo>
                    <a:pt x="712" y="75"/>
                  </a:lnTo>
                  <a:close/>
                  <a:moveTo>
                    <a:pt x="934" y="566"/>
                  </a:moveTo>
                  <a:lnTo>
                    <a:pt x="971" y="537"/>
                  </a:lnTo>
                  <a:lnTo>
                    <a:pt x="967" y="534"/>
                  </a:lnTo>
                  <a:lnTo>
                    <a:pt x="962" y="532"/>
                  </a:lnTo>
                  <a:lnTo>
                    <a:pt x="958" y="528"/>
                  </a:lnTo>
                  <a:lnTo>
                    <a:pt x="955" y="522"/>
                  </a:lnTo>
                  <a:lnTo>
                    <a:pt x="953" y="518"/>
                  </a:lnTo>
                  <a:lnTo>
                    <a:pt x="950" y="513"/>
                  </a:lnTo>
                  <a:lnTo>
                    <a:pt x="949" y="507"/>
                  </a:lnTo>
                  <a:lnTo>
                    <a:pt x="949" y="501"/>
                  </a:lnTo>
                  <a:lnTo>
                    <a:pt x="949" y="459"/>
                  </a:lnTo>
                  <a:lnTo>
                    <a:pt x="949" y="453"/>
                  </a:lnTo>
                  <a:lnTo>
                    <a:pt x="950" y="447"/>
                  </a:lnTo>
                  <a:lnTo>
                    <a:pt x="953" y="441"/>
                  </a:lnTo>
                  <a:lnTo>
                    <a:pt x="957" y="436"/>
                  </a:lnTo>
                  <a:lnTo>
                    <a:pt x="961" y="432"/>
                  </a:lnTo>
                  <a:lnTo>
                    <a:pt x="966" y="428"/>
                  </a:lnTo>
                  <a:lnTo>
                    <a:pt x="971" y="424"/>
                  </a:lnTo>
                  <a:lnTo>
                    <a:pt x="978" y="422"/>
                  </a:lnTo>
                  <a:lnTo>
                    <a:pt x="974" y="403"/>
                  </a:lnTo>
                  <a:lnTo>
                    <a:pt x="969" y="384"/>
                  </a:lnTo>
                  <a:lnTo>
                    <a:pt x="963" y="367"/>
                  </a:lnTo>
                  <a:lnTo>
                    <a:pt x="958" y="349"/>
                  </a:lnTo>
                  <a:lnTo>
                    <a:pt x="950" y="332"/>
                  </a:lnTo>
                  <a:lnTo>
                    <a:pt x="944" y="316"/>
                  </a:lnTo>
                  <a:lnTo>
                    <a:pt x="934" y="299"/>
                  </a:lnTo>
                  <a:lnTo>
                    <a:pt x="925" y="283"/>
                  </a:lnTo>
                  <a:lnTo>
                    <a:pt x="916" y="267"/>
                  </a:lnTo>
                  <a:lnTo>
                    <a:pt x="905" y="253"/>
                  </a:lnTo>
                  <a:lnTo>
                    <a:pt x="895" y="237"/>
                  </a:lnTo>
                  <a:lnTo>
                    <a:pt x="883" y="224"/>
                  </a:lnTo>
                  <a:lnTo>
                    <a:pt x="871" y="209"/>
                  </a:lnTo>
                  <a:lnTo>
                    <a:pt x="858" y="196"/>
                  </a:lnTo>
                  <a:lnTo>
                    <a:pt x="845" y="184"/>
                  </a:lnTo>
                  <a:lnTo>
                    <a:pt x="832" y="172"/>
                  </a:lnTo>
                  <a:lnTo>
                    <a:pt x="817" y="160"/>
                  </a:lnTo>
                  <a:lnTo>
                    <a:pt x="803" y="150"/>
                  </a:lnTo>
                  <a:lnTo>
                    <a:pt x="787" y="139"/>
                  </a:lnTo>
                  <a:lnTo>
                    <a:pt x="771" y="130"/>
                  </a:lnTo>
                  <a:lnTo>
                    <a:pt x="755" y="121"/>
                  </a:lnTo>
                  <a:lnTo>
                    <a:pt x="740" y="113"/>
                  </a:lnTo>
                  <a:lnTo>
                    <a:pt x="722" y="105"/>
                  </a:lnTo>
                  <a:lnTo>
                    <a:pt x="705" y="99"/>
                  </a:lnTo>
                  <a:lnTo>
                    <a:pt x="688" y="92"/>
                  </a:lnTo>
                  <a:lnTo>
                    <a:pt x="670" y="87"/>
                  </a:lnTo>
                  <a:lnTo>
                    <a:pt x="653" y="83"/>
                  </a:lnTo>
                  <a:lnTo>
                    <a:pt x="634" y="79"/>
                  </a:lnTo>
                  <a:lnTo>
                    <a:pt x="616" y="76"/>
                  </a:lnTo>
                  <a:lnTo>
                    <a:pt x="596" y="74"/>
                  </a:lnTo>
                  <a:lnTo>
                    <a:pt x="578" y="72"/>
                  </a:lnTo>
                  <a:lnTo>
                    <a:pt x="558" y="72"/>
                  </a:lnTo>
                  <a:lnTo>
                    <a:pt x="540" y="72"/>
                  </a:lnTo>
                  <a:lnTo>
                    <a:pt x="521" y="74"/>
                  </a:lnTo>
                  <a:lnTo>
                    <a:pt x="501" y="76"/>
                  </a:lnTo>
                  <a:lnTo>
                    <a:pt x="483" y="79"/>
                  </a:lnTo>
                  <a:lnTo>
                    <a:pt x="465" y="83"/>
                  </a:lnTo>
                  <a:lnTo>
                    <a:pt x="447" y="87"/>
                  </a:lnTo>
                  <a:lnTo>
                    <a:pt x="429" y="92"/>
                  </a:lnTo>
                  <a:lnTo>
                    <a:pt x="412" y="99"/>
                  </a:lnTo>
                  <a:lnTo>
                    <a:pt x="395" y="105"/>
                  </a:lnTo>
                  <a:lnTo>
                    <a:pt x="378" y="113"/>
                  </a:lnTo>
                  <a:lnTo>
                    <a:pt x="362" y="121"/>
                  </a:lnTo>
                  <a:lnTo>
                    <a:pt x="346" y="130"/>
                  </a:lnTo>
                  <a:lnTo>
                    <a:pt x="330" y="139"/>
                  </a:lnTo>
                  <a:lnTo>
                    <a:pt x="314" y="150"/>
                  </a:lnTo>
                  <a:lnTo>
                    <a:pt x="300" y="160"/>
                  </a:lnTo>
                  <a:lnTo>
                    <a:pt x="286" y="172"/>
                  </a:lnTo>
                  <a:lnTo>
                    <a:pt x="272" y="184"/>
                  </a:lnTo>
                  <a:lnTo>
                    <a:pt x="259" y="196"/>
                  </a:lnTo>
                  <a:lnTo>
                    <a:pt x="246" y="209"/>
                  </a:lnTo>
                  <a:lnTo>
                    <a:pt x="234" y="224"/>
                  </a:lnTo>
                  <a:lnTo>
                    <a:pt x="222" y="237"/>
                  </a:lnTo>
                  <a:lnTo>
                    <a:pt x="212" y="251"/>
                  </a:lnTo>
                  <a:lnTo>
                    <a:pt x="201" y="267"/>
                  </a:lnTo>
                  <a:lnTo>
                    <a:pt x="192" y="283"/>
                  </a:lnTo>
                  <a:lnTo>
                    <a:pt x="183" y="299"/>
                  </a:lnTo>
                  <a:lnTo>
                    <a:pt x="175" y="314"/>
                  </a:lnTo>
                  <a:lnTo>
                    <a:pt x="167" y="332"/>
                  </a:lnTo>
                  <a:lnTo>
                    <a:pt x="159" y="349"/>
                  </a:lnTo>
                  <a:lnTo>
                    <a:pt x="154" y="367"/>
                  </a:lnTo>
                  <a:lnTo>
                    <a:pt x="149" y="384"/>
                  </a:lnTo>
                  <a:lnTo>
                    <a:pt x="143" y="403"/>
                  </a:lnTo>
                  <a:lnTo>
                    <a:pt x="139" y="421"/>
                  </a:lnTo>
                  <a:lnTo>
                    <a:pt x="146" y="424"/>
                  </a:lnTo>
                  <a:lnTo>
                    <a:pt x="151" y="426"/>
                  </a:lnTo>
                  <a:lnTo>
                    <a:pt x="157" y="430"/>
                  </a:lnTo>
                  <a:lnTo>
                    <a:pt x="162" y="436"/>
                  </a:lnTo>
                  <a:lnTo>
                    <a:pt x="164" y="441"/>
                  </a:lnTo>
                  <a:lnTo>
                    <a:pt x="167" y="446"/>
                  </a:lnTo>
                  <a:lnTo>
                    <a:pt x="170" y="453"/>
                  </a:lnTo>
                  <a:lnTo>
                    <a:pt x="170" y="459"/>
                  </a:lnTo>
                  <a:lnTo>
                    <a:pt x="170" y="501"/>
                  </a:lnTo>
                  <a:lnTo>
                    <a:pt x="170" y="507"/>
                  </a:lnTo>
                  <a:lnTo>
                    <a:pt x="168" y="513"/>
                  </a:lnTo>
                  <a:lnTo>
                    <a:pt x="166" y="518"/>
                  </a:lnTo>
                  <a:lnTo>
                    <a:pt x="163" y="522"/>
                  </a:lnTo>
                  <a:lnTo>
                    <a:pt x="161" y="528"/>
                  </a:lnTo>
                  <a:lnTo>
                    <a:pt x="157" y="532"/>
                  </a:lnTo>
                  <a:lnTo>
                    <a:pt x="151" y="534"/>
                  </a:lnTo>
                  <a:lnTo>
                    <a:pt x="147" y="537"/>
                  </a:lnTo>
                  <a:lnTo>
                    <a:pt x="184" y="566"/>
                  </a:lnTo>
                  <a:lnTo>
                    <a:pt x="184" y="566"/>
                  </a:lnTo>
                  <a:lnTo>
                    <a:pt x="221" y="367"/>
                  </a:lnTo>
                  <a:lnTo>
                    <a:pt x="225" y="347"/>
                  </a:lnTo>
                  <a:lnTo>
                    <a:pt x="230" y="332"/>
                  </a:lnTo>
                  <a:lnTo>
                    <a:pt x="234" y="324"/>
                  </a:lnTo>
                  <a:lnTo>
                    <a:pt x="238" y="318"/>
                  </a:lnTo>
                  <a:lnTo>
                    <a:pt x="243" y="312"/>
                  </a:lnTo>
                  <a:lnTo>
                    <a:pt x="247" y="308"/>
                  </a:lnTo>
                  <a:lnTo>
                    <a:pt x="254" y="304"/>
                  </a:lnTo>
                  <a:lnTo>
                    <a:pt x="259" y="300"/>
                  </a:lnTo>
                  <a:lnTo>
                    <a:pt x="267" y="297"/>
                  </a:lnTo>
                  <a:lnTo>
                    <a:pt x="274" y="295"/>
                  </a:lnTo>
                  <a:lnTo>
                    <a:pt x="291" y="292"/>
                  </a:lnTo>
                  <a:lnTo>
                    <a:pt x="312" y="291"/>
                  </a:lnTo>
                  <a:lnTo>
                    <a:pt x="807" y="291"/>
                  </a:lnTo>
                  <a:lnTo>
                    <a:pt x="824" y="293"/>
                  </a:lnTo>
                  <a:lnTo>
                    <a:pt x="840" y="296"/>
                  </a:lnTo>
                  <a:lnTo>
                    <a:pt x="853" y="303"/>
                  </a:lnTo>
                  <a:lnTo>
                    <a:pt x="865" y="309"/>
                  </a:lnTo>
                  <a:lnTo>
                    <a:pt x="875" y="320"/>
                  </a:lnTo>
                  <a:lnTo>
                    <a:pt x="884" y="330"/>
                  </a:lnTo>
                  <a:lnTo>
                    <a:pt x="891" y="345"/>
                  </a:lnTo>
                  <a:lnTo>
                    <a:pt x="896" y="361"/>
                  </a:lnTo>
                  <a:lnTo>
                    <a:pt x="934" y="563"/>
                  </a:lnTo>
                  <a:lnTo>
                    <a:pt x="934" y="566"/>
                  </a:lnTo>
                  <a:close/>
                  <a:moveTo>
                    <a:pt x="980" y="561"/>
                  </a:moveTo>
                  <a:lnTo>
                    <a:pt x="934" y="595"/>
                  </a:lnTo>
                  <a:lnTo>
                    <a:pt x="934" y="596"/>
                  </a:lnTo>
                  <a:lnTo>
                    <a:pt x="934" y="699"/>
                  </a:lnTo>
                  <a:lnTo>
                    <a:pt x="942" y="683"/>
                  </a:lnTo>
                  <a:lnTo>
                    <a:pt x="950" y="666"/>
                  </a:lnTo>
                  <a:lnTo>
                    <a:pt x="957" y="649"/>
                  </a:lnTo>
                  <a:lnTo>
                    <a:pt x="963" y="632"/>
                  </a:lnTo>
                  <a:lnTo>
                    <a:pt x="969" y="614"/>
                  </a:lnTo>
                  <a:lnTo>
                    <a:pt x="972" y="597"/>
                  </a:lnTo>
                  <a:lnTo>
                    <a:pt x="976" y="579"/>
                  </a:lnTo>
                  <a:lnTo>
                    <a:pt x="980" y="561"/>
                  </a:lnTo>
                  <a:close/>
                  <a:moveTo>
                    <a:pt x="988" y="445"/>
                  </a:moveTo>
                  <a:lnTo>
                    <a:pt x="982" y="446"/>
                  </a:lnTo>
                  <a:lnTo>
                    <a:pt x="976" y="449"/>
                  </a:lnTo>
                  <a:lnTo>
                    <a:pt x="974" y="454"/>
                  </a:lnTo>
                  <a:lnTo>
                    <a:pt x="972" y="459"/>
                  </a:lnTo>
                  <a:lnTo>
                    <a:pt x="972" y="501"/>
                  </a:lnTo>
                  <a:lnTo>
                    <a:pt x="974" y="508"/>
                  </a:lnTo>
                  <a:lnTo>
                    <a:pt x="976" y="512"/>
                  </a:lnTo>
                  <a:lnTo>
                    <a:pt x="982" y="516"/>
                  </a:lnTo>
                  <a:lnTo>
                    <a:pt x="988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6" y="517"/>
                  </a:lnTo>
                  <a:lnTo>
                    <a:pt x="1079" y="517"/>
                  </a:lnTo>
                  <a:lnTo>
                    <a:pt x="1086" y="516"/>
                  </a:lnTo>
                  <a:lnTo>
                    <a:pt x="1090" y="512"/>
                  </a:lnTo>
                  <a:lnTo>
                    <a:pt x="1094" y="508"/>
                  </a:lnTo>
                  <a:lnTo>
                    <a:pt x="1095" y="501"/>
                  </a:lnTo>
                  <a:lnTo>
                    <a:pt x="1095" y="459"/>
                  </a:lnTo>
                  <a:lnTo>
                    <a:pt x="1094" y="454"/>
                  </a:lnTo>
                  <a:lnTo>
                    <a:pt x="1090" y="449"/>
                  </a:lnTo>
                  <a:lnTo>
                    <a:pt x="1086" y="446"/>
                  </a:lnTo>
                  <a:lnTo>
                    <a:pt x="1079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1" y="445"/>
                  </a:lnTo>
                  <a:lnTo>
                    <a:pt x="991" y="445"/>
                  </a:lnTo>
                  <a:lnTo>
                    <a:pt x="988" y="445"/>
                  </a:lnTo>
                  <a:close/>
                  <a:moveTo>
                    <a:pt x="1079" y="541"/>
                  </a:moveTo>
                  <a:lnTo>
                    <a:pt x="1007" y="541"/>
                  </a:lnTo>
                  <a:lnTo>
                    <a:pt x="1003" y="568"/>
                  </a:lnTo>
                  <a:lnTo>
                    <a:pt x="997" y="595"/>
                  </a:lnTo>
                  <a:lnTo>
                    <a:pt x="991" y="621"/>
                  </a:lnTo>
                  <a:lnTo>
                    <a:pt x="983" y="647"/>
                  </a:lnTo>
                  <a:lnTo>
                    <a:pt x="974" y="674"/>
                  </a:lnTo>
                  <a:lnTo>
                    <a:pt x="962" y="699"/>
                  </a:lnTo>
                  <a:lnTo>
                    <a:pt x="949" y="722"/>
                  </a:lnTo>
                  <a:lnTo>
                    <a:pt x="934" y="746"/>
                  </a:lnTo>
                  <a:lnTo>
                    <a:pt x="934" y="817"/>
                  </a:lnTo>
                  <a:lnTo>
                    <a:pt x="954" y="817"/>
                  </a:lnTo>
                  <a:lnTo>
                    <a:pt x="959" y="818"/>
                  </a:lnTo>
                  <a:lnTo>
                    <a:pt x="963" y="821"/>
                  </a:lnTo>
                  <a:lnTo>
                    <a:pt x="966" y="825"/>
                  </a:lnTo>
                  <a:lnTo>
                    <a:pt x="966" y="829"/>
                  </a:lnTo>
                  <a:lnTo>
                    <a:pt x="966" y="1008"/>
                  </a:lnTo>
                  <a:lnTo>
                    <a:pt x="966" y="1013"/>
                  </a:lnTo>
                  <a:lnTo>
                    <a:pt x="963" y="1017"/>
                  </a:lnTo>
                  <a:lnTo>
                    <a:pt x="959" y="1020"/>
                  </a:lnTo>
                  <a:lnTo>
                    <a:pt x="954" y="1021"/>
                  </a:lnTo>
                  <a:lnTo>
                    <a:pt x="919" y="1021"/>
                  </a:lnTo>
                  <a:lnTo>
                    <a:pt x="919" y="1095"/>
                  </a:lnTo>
                  <a:lnTo>
                    <a:pt x="919" y="1103"/>
                  </a:lnTo>
                  <a:lnTo>
                    <a:pt x="916" y="1111"/>
                  </a:lnTo>
                  <a:lnTo>
                    <a:pt x="912" y="1119"/>
                  </a:lnTo>
                  <a:lnTo>
                    <a:pt x="907" y="1124"/>
                  </a:lnTo>
                  <a:lnTo>
                    <a:pt x="900" y="1129"/>
                  </a:lnTo>
                  <a:lnTo>
                    <a:pt x="894" y="1133"/>
                  </a:lnTo>
                  <a:lnTo>
                    <a:pt x="886" y="1136"/>
                  </a:lnTo>
                  <a:lnTo>
                    <a:pt x="876" y="1137"/>
                  </a:lnTo>
                  <a:lnTo>
                    <a:pt x="829" y="1137"/>
                  </a:lnTo>
                  <a:lnTo>
                    <a:pt x="821" y="1136"/>
                  </a:lnTo>
                  <a:lnTo>
                    <a:pt x="812" y="1133"/>
                  </a:lnTo>
                  <a:lnTo>
                    <a:pt x="805" y="1129"/>
                  </a:lnTo>
                  <a:lnTo>
                    <a:pt x="799" y="1124"/>
                  </a:lnTo>
                  <a:lnTo>
                    <a:pt x="794" y="1119"/>
                  </a:lnTo>
                  <a:lnTo>
                    <a:pt x="790" y="1111"/>
                  </a:lnTo>
                  <a:lnTo>
                    <a:pt x="788" y="1103"/>
                  </a:lnTo>
                  <a:lnTo>
                    <a:pt x="787" y="1095"/>
                  </a:lnTo>
                  <a:lnTo>
                    <a:pt x="787" y="1021"/>
                  </a:lnTo>
                  <a:lnTo>
                    <a:pt x="695" y="1021"/>
                  </a:lnTo>
                  <a:lnTo>
                    <a:pt x="422" y="1021"/>
                  </a:lnTo>
                  <a:lnTo>
                    <a:pt x="330" y="1021"/>
                  </a:lnTo>
                  <a:lnTo>
                    <a:pt x="330" y="1095"/>
                  </a:lnTo>
                  <a:lnTo>
                    <a:pt x="330" y="1103"/>
                  </a:lnTo>
                  <a:lnTo>
                    <a:pt x="328" y="1111"/>
                  </a:lnTo>
                  <a:lnTo>
                    <a:pt x="324" y="1119"/>
                  </a:lnTo>
                  <a:lnTo>
                    <a:pt x="318" y="1124"/>
                  </a:lnTo>
                  <a:lnTo>
                    <a:pt x="312" y="1129"/>
                  </a:lnTo>
                  <a:lnTo>
                    <a:pt x="305" y="1133"/>
                  </a:lnTo>
                  <a:lnTo>
                    <a:pt x="297" y="1136"/>
                  </a:lnTo>
                  <a:lnTo>
                    <a:pt x="288" y="1137"/>
                  </a:lnTo>
                  <a:lnTo>
                    <a:pt x="241" y="1137"/>
                  </a:lnTo>
                  <a:lnTo>
                    <a:pt x="233" y="1136"/>
                  </a:lnTo>
                  <a:lnTo>
                    <a:pt x="224" y="1133"/>
                  </a:lnTo>
                  <a:lnTo>
                    <a:pt x="217" y="1129"/>
                  </a:lnTo>
                  <a:lnTo>
                    <a:pt x="211" y="1124"/>
                  </a:lnTo>
                  <a:lnTo>
                    <a:pt x="205" y="1119"/>
                  </a:lnTo>
                  <a:lnTo>
                    <a:pt x="201" y="1111"/>
                  </a:lnTo>
                  <a:lnTo>
                    <a:pt x="199" y="1103"/>
                  </a:lnTo>
                  <a:lnTo>
                    <a:pt x="199" y="1095"/>
                  </a:lnTo>
                  <a:lnTo>
                    <a:pt x="199" y="1021"/>
                  </a:lnTo>
                  <a:lnTo>
                    <a:pt x="163" y="1021"/>
                  </a:lnTo>
                  <a:lnTo>
                    <a:pt x="158" y="1020"/>
                  </a:lnTo>
                  <a:lnTo>
                    <a:pt x="154" y="1017"/>
                  </a:lnTo>
                  <a:lnTo>
                    <a:pt x="151" y="1013"/>
                  </a:lnTo>
                  <a:lnTo>
                    <a:pt x="151" y="1008"/>
                  </a:lnTo>
                  <a:lnTo>
                    <a:pt x="151" y="829"/>
                  </a:lnTo>
                  <a:lnTo>
                    <a:pt x="151" y="825"/>
                  </a:lnTo>
                  <a:lnTo>
                    <a:pt x="154" y="821"/>
                  </a:lnTo>
                  <a:lnTo>
                    <a:pt x="158" y="818"/>
                  </a:lnTo>
                  <a:lnTo>
                    <a:pt x="163" y="817"/>
                  </a:lnTo>
                  <a:lnTo>
                    <a:pt x="184" y="817"/>
                  </a:lnTo>
                  <a:lnTo>
                    <a:pt x="184" y="747"/>
                  </a:lnTo>
                  <a:lnTo>
                    <a:pt x="170" y="724"/>
                  </a:lnTo>
                  <a:lnTo>
                    <a:pt x="157" y="700"/>
                  </a:lnTo>
                  <a:lnTo>
                    <a:pt x="145" y="675"/>
                  </a:lnTo>
                  <a:lnTo>
                    <a:pt x="134" y="649"/>
                  </a:lnTo>
                  <a:lnTo>
                    <a:pt x="126" y="622"/>
                  </a:lnTo>
                  <a:lnTo>
                    <a:pt x="120" y="596"/>
                  </a:lnTo>
                  <a:lnTo>
                    <a:pt x="114" y="568"/>
                  </a:lnTo>
                  <a:lnTo>
                    <a:pt x="111" y="541"/>
                  </a:lnTo>
                  <a:lnTo>
                    <a:pt x="39" y="541"/>
                  </a:lnTo>
                  <a:lnTo>
                    <a:pt x="32" y="539"/>
                  </a:lnTo>
                  <a:lnTo>
                    <a:pt x="24" y="538"/>
                  </a:lnTo>
                  <a:lnTo>
                    <a:pt x="17" y="534"/>
                  </a:lnTo>
                  <a:lnTo>
                    <a:pt x="12" y="529"/>
                  </a:lnTo>
                  <a:lnTo>
                    <a:pt x="7" y="524"/>
                  </a:lnTo>
                  <a:lnTo>
                    <a:pt x="3" y="517"/>
                  </a:lnTo>
                  <a:lnTo>
                    <a:pt x="1" y="509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1" y="451"/>
                  </a:lnTo>
                  <a:lnTo>
                    <a:pt x="3" y="445"/>
                  </a:lnTo>
                  <a:lnTo>
                    <a:pt x="7" y="438"/>
                  </a:lnTo>
                  <a:lnTo>
                    <a:pt x="12" y="432"/>
                  </a:lnTo>
                  <a:lnTo>
                    <a:pt x="17" y="428"/>
                  </a:lnTo>
                  <a:lnTo>
                    <a:pt x="24" y="424"/>
                  </a:lnTo>
                  <a:lnTo>
                    <a:pt x="32" y="421"/>
                  </a:lnTo>
                  <a:lnTo>
                    <a:pt x="39" y="420"/>
                  </a:lnTo>
                  <a:lnTo>
                    <a:pt x="116" y="420"/>
                  </a:lnTo>
                  <a:lnTo>
                    <a:pt x="121" y="392"/>
                  </a:lnTo>
                  <a:lnTo>
                    <a:pt x="129" y="364"/>
                  </a:lnTo>
                  <a:lnTo>
                    <a:pt x="138" y="338"/>
                  </a:lnTo>
                  <a:lnTo>
                    <a:pt x="149" y="312"/>
                  </a:lnTo>
                  <a:lnTo>
                    <a:pt x="162" y="287"/>
                  </a:lnTo>
                  <a:lnTo>
                    <a:pt x="175" y="263"/>
                  </a:lnTo>
                  <a:lnTo>
                    <a:pt x="191" y="241"/>
                  </a:lnTo>
                  <a:lnTo>
                    <a:pt x="208" y="218"/>
                  </a:lnTo>
                  <a:lnTo>
                    <a:pt x="225" y="197"/>
                  </a:lnTo>
                  <a:lnTo>
                    <a:pt x="245" y="178"/>
                  </a:lnTo>
                  <a:lnTo>
                    <a:pt x="264" y="158"/>
                  </a:lnTo>
                  <a:lnTo>
                    <a:pt x="286" y="141"/>
                  </a:lnTo>
                  <a:lnTo>
                    <a:pt x="309" y="125"/>
                  </a:lnTo>
                  <a:lnTo>
                    <a:pt x="332" y="110"/>
                  </a:lnTo>
                  <a:lnTo>
                    <a:pt x="357" y="97"/>
                  </a:lnTo>
                  <a:lnTo>
                    <a:pt x="382" y="85"/>
                  </a:lnTo>
                  <a:lnTo>
                    <a:pt x="382" y="12"/>
                  </a:lnTo>
                  <a:lnTo>
                    <a:pt x="382" y="6"/>
                  </a:lnTo>
                  <a:lnTo>
                    <a:pt x="384" y="3"/>
                  </a:lnTo>
                  <a:lnTo>
                    <a:pt x="388" y="0"/>
                  </a:lnTo>
                  <a:lnTo>
                    <a:pt x="393" y="0"/>
                  </a:lnTo>
                  <a:lnTo>
                    <a:pt x="724" y="0"/>
                  </a:lnTo>
                  <a:lnTo>
                    <a:pt x="729" y="0"/>
                  </a:lnTo>
                  <a:lnTo>
                    <a:pt x="733" y="3"/>
                  </a:lnTo>
                  <a:lnTo>
                    <a:pt x="736" y="6"/>
                  </a:lnTo>
                  <a:lnTo>
                    <a:pt x="736" y="12"/>
                  </a:lnTo>
                  <a:lnTo>
                    <a:pt x="736" y="85"/>
                  </a:lnTo>
                  <a:lnTo>
                    <a:pt x="761" y="97"/>
                  </a:lnTo>
                  <a:lnTo>
                    <a:pt x="786" y="110"/>
                  </a:lnTo>
                  <a:lnTo>
                    <a:pt x="809" y="125"/>
                  </a:lnTo>
                  <a:lnTo>
                    <a:pt x="832" y="141"/>
                  </a:lnTo>
                  <a:lnTo>
                    <a:pt x="853" y="158"/>
                  </a:lnTo>
                  <a:lnTo>
                    <a:pt x="872" y="178"/>
                  </a:lnTo>
                  <a:lnTo>
                    <a:pt x="892" y="197"/>
                  </a:lnTo>
                  <a:lnTo>
                    <a:pt x="911" y="218"/>
                  </a:lnTo>
                  <a:lnTo>
                    <a:pt x="926" y="239"/>
                  </a:lnTo>
                  <a:lnTo>
                    <a:pt x="942" y="263"/>
                  </a:lnTo>
                  <a:lnTo>
                    <a:pt x="955" y="287"/>
                  </a:lnTo>
                  <a:lnTo>
                    <a:pt x="969" y="312"/>
                  </a:lnTo>
                  <a:lnTo>
                    <a:pt x="979" y="338"/>
                  </a:lnTo>
                  <a:lnTo>
                    <a:pt x="988" y="364"/>
                  </a:lnTo>
                  <a:lnTo>
                    <a:pt x="996" y="392"/>
                  </a:lnTo>
                  <a:lnTo>
                    <a:pt x="1001" y="420"/>
                  </a:lnTo>
                  <a:lnTo>
                    <a:pt x="1079" y="420"/>
                  </a:lnTo>
                  <a:lnTo>
                    <a:pt x="1087" y="421"/>
                  </a:lnTo>
                  <a:lnTo>
                    <a:pt x="1095" y="424"/>
                  </a:lnTo>
                  <a:lnTo>
                    <a:pt x="1101" y="428"/>
                  </a:lnTo>
                  <a:lnTo>
                    <a:pt x="1107" y="432"/>
                  </a:lnTo>
                  <a:lnTo>
                    <a:pt x="1112" y="438"/>
                  </a:lnTo>
                  <a:lnTo>
                    <a:pt x="1116" y="445"/>
                  </a:lnTo>
                  <a:lnTo>
                    <a:pt x="1117" y="451"/>
                  </a:lnTo>
                  <a:lnTo>
                    <a:pt x="1119" y="459"/>
                  </a:lnTo>
                  <a:lnTo>
                    <a:pt x="1119" y="501"/>
                  </a:lnTo>
                  <a:lnTo>
                    <a:pt x="1117" y="509"/>
                  </a:lnTo>
                  <a:lnTo>
                    <a:pt x="1116" y="517"/>
                  </a:lnTo>
                  <a:lnTo>
                    <a:pt x="1112" y="524"/>
                  </a:lnTo>
                  <a:lnTo>
                    <a:pt x="1107" y="529"/>
                  </a:lnTo>
                  <a:lnTo>
                    <a:pt x="1101" y="534"/>
                  </a:lnTo>
                  <a:lnTo>
                    <a:pt x="1095" y="538"/>
                  </a:lnTo>
                  <a:lnTo>
                    <a:pt x="1087" y="539"/>
                  </a:lnTo>
                  <a:lnTo>
                    <a:pt x="1079" y="541"/>
                  </a:lnTo>
                  <a:close/>
                  <a:moveTo>
                    <a:pt x="184" y="596"/>
                  </a:moveTo>
                  <a:lnTo>
                    <a:pt x="183" y="595"/>
                  </a:lnTo>
                  <a:lnTo>
                    <a:pt x="137" y="561"/>
                  </a:lnTo>
                  <a:lnTo>
                    <a:pt x="141" y="579"/>
                  </a:lnTo>
                  <a:lnTo>
                    <a:pt x="145" y="597"/>
                  </a:lnTo>
                  <a:lnTo>
                    <a:pt x="149" y="614"/>
                  </a:lnTo>
                  <a:lnTo>
                    <a:pt x="155" y="633"/>
                  </a:lnTo>
                  <a:lnTo>
                    <a:pt x="161" y="650"/>
                  </a:lnTo>
                  <a:lnTo>
                    <a:pt x="168" y="667"/>
                  </a:lnTo>
                  <a:lnTo>
                    <a:pt x="176" y="684"/>
                  </a:lnTo>
                  <a:lnTo>
                    <a:pt x="184" y="701"/>
                  </a:lnTo>
                  <a:lnTo>
                    <a:pt x="184" y="596"/>
                  </a:lnTo>
                  <a:close/>
                  <a:moveTo>
                    <a:pt x="39" y="445"/>
                  </a:moveTo>
                  <a:lnTo>
                    <a:pt x="33" y="446"/>
                  </a:lnTo>
                  <a:lnTo>
                    <a:pt x="29" y="449"/>
                  </a:lnTo>
                  <a:lnTo>
                    <a:pt x="25" y="454"/>
                  </a:lnTo>
                  <a:lnTo>
                    <a:pt x="24" y="459"/>
                  </a:lnTo>
                  <a:lnTo>
                    <a:pt x="24" y="501"/>
                  </a:lnTo>
                  <a:lnTo>
                    <a:pt x="25" y="508"/>
                  </a:lnTo>
                  <a:lnTo>
                    <a:pt x="29" y="512"/>
                  </a:lnTo>
                  <a:lnTo>
                    <a:pt x="33" y="516"/>
                  </a:lnTo>
                  <a:lnTo>
                    <a:pt x="39" y="517"/>
                  </a:lnTo>
                  <a:lnTo>
                    <a:pt x="121" y="517"/>
                  </a:lnTo>
                  <a:lnTo>
                    <a:pt x="122" y="517"/>
                  </a:lnTo>
                  <a:lnTo>
                    <a:pt x="122" y="517"/>
                  </a:lnTo>
                  <a:lnTo>
                    <a:pt x="130" y="517"/>
                  </a:lnTo>
                  <a:lnTo>
                    <a:pt x="137" y="516"/>
                  </a:lnTo>
                  <a:lnTo>
                    <a:pt x="141" y="512"/>
                  </a:lnTo>
                  <a:lnTo>
                    <a:pt x="145" y="508"/>
                  </a:lnTo>
                  <a:lnTo>
                    <a:pt x="146" y="501"/>
                  </a:lnTo>
                  <a:lnTo>
                    <a:pt x="146" y="459"/>
                  </a:lnTo>
                  <a:lnTo>
                    <a:pt x="145" y="454"/>
                  </a:lnTo>
                  <a:lnTo>
                    <a:pt x="141" y="449"/>
                  </a:lnTo>
                  <a:lnTo>
                    <a:pt x="137" y="446"/>
                  </a:lnTo>
                  <a:lnTo>
                    <a:pt x="130" y="445"/>
                  </a:lnTo>
                  <a:lnTo>
                    <a:pt x="39" y="445"/>
                  </a:lnTo>
                  <a:close/>
                  <a:moveTo>
                    <a:pt x="682" y="996"/>
                  </a:moveTo>
                  <a:lnTo>
                    <a:pt x="682" y="961"/>
                  </a:lnTo>
                  <a:lnTo>
                    <a:pt x="436" y="961"/>
                  </a:lnTo>
                  <a:lnTo>
                    <a:pt x="436" y="996"/>
                  </a:lnTo>
                  <a:lnTo>
                    <a:pt x="682" y="996"/>
                  </a:lnTo>
                  <a:close/>
                  <a:moveTo>
                    <a:pt x="412" y="996"/>
                  </a:moveTo>
                  <a:lnTo>
                    <a:pt x="412" y="947"/>
                  </a:lnTo>
                  <a:lnTo>
                    <a:pt x="412" y="943"/>
                  </a:lnTo>
                  <a:lnTo>
                    <a:pt x="415" y="940"/>
                  </a:lnTo>
                  <a:lnTo>
                    <a:pt x="418" y="937"/>
                  </a:lnTo>
                  <a:lnTo>
                    <a:pt x="424" y="936"/>
                  </a:lnTo>
                  <a:lnTo>
                    <a:pt x="694" y="936"/>
                  </a:lnTo>
                  <a:lnTo>
                    <a:pt x="699" y="937"/>
                  </a:lnTo>
                  <a:lnTo>
                    <a:pt x="703" y="940"/>
                  </a:lnTo>
                  <a:lnTo>
                    <a:pt x="705" y="943"/>
                  </a:lnTo>
                  <a:lnTo>
                    <a:pt x="707" y="947"/>
                  </a:lnTo>
                  <a:lnTo>
                    <a:pt x="707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907" y="996"/>
                  </a:lnTo>
                  <a:lnTo>
                    <a:pt x="907" y="996"/>
                  </a:lnTo>
                  <a:lnTo>
                    <a:pt x="908" y="996"/>
                  </a:lnTo>
                  <a:lnTo>
                    <a:pt x="942" y="996"/>
                  </a:lnTo>
                  <a:lnTo>
                    <a:pt x="94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809" y="842"/>
                  </a:lnTo>
                  <a:lnTo>
                    <a:pt x="770" y="884"/>
                  </a:lnTo>
                  <a:lnTo>
                    <a:pt x="766" y="887"/>
                  </a:lnTo>
                  <a:lnTo>
                    <a:pt x="762" y="888"/>
                  </a:lnTo>
                  <a:lnTo>
                    <a:pt x="357" y="888"/>
                  </a:lnTo>
                  <a:lnTo>
                    <a:pt x="351" y="887"/>
                  </a:lnTo>
                  <a:lnTo>
                    <a:pt x="347" y="884"/>
                  </a:lnTo>
                  <a:lnTo>
                    <a:pt x="308" y="842"/>
                  </a:lnTo>
                  <a:lnTo>
                    <a:pt x="175" y="842"/>
                  </a:lnTo>
                  <a:lnTo>
                    <a:pt x="175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318" y="996"/>
                  </a:lnTo>
                  <a:lnTo>
                    <a:pt x="318" y="996"/>
                  </a:lnTo>
                  <a:lnTo>
                    <a:pt x="320" y="996"/>
                  </a:lnTo>
                  <a:lnTo>
                    <a:pt x="412" y="996"/>
                  </a:lnTo>
                  <a:close/>
                  <a:moveTo>
                    <a:pt x="447" y="734"/>
                  </a:moveTo>
                  <a:lnTo>
                    <a:pt x="443" y="734"/>
                  </a:lnTo>
                  <a:lnTo>
                    <a:pt x="441" y="737"/>
                  </a:lnTo>
                  <a:lnTo>
                    <a:pt x="438" y="741"/>
                  </a:lnTo>
                  <a:lnTo>
                    <a:pt x="438" y="745"/>
                  </a:lnTo>
                  <a:lnTo>
                    <a:pt x="438" y="788"/>
                  </a:lnTo>
                  <a:lnTo>
                    <a:pt x="438" y="792"/>
                  </a:lnTo>
                  <a:lnTo>
                    <a:pt x="441" y="796"/>
                  </a:lnTo>
                  <a:lnTo>
                    <a:pt x="443" y="797"/>
                  </a:lnTo>
                  <a:lnTo>
                    <a:pt x="447" y="799"/>
                  </a:lnTo>
                  <a:lnTo>
                    <a:pt x="670" y="799"/>
                  </a:lnTo>
                  <a:lnTo>
                    <a:pt x="674" y="797"/>
                  </a:lnTo>
                  <a:lnTo>
                    <a:pt x="676" y="796"/>
                  </a:lnTo>
                  <a:lnTo>
                    <a:pt x="679" y="792"/>
                  </a:lnTo>
                  <a:lnTo>
                    <a:pt x="679" y="788"/>
                  </a:lnTo>
                  <a:lnTo>
                    <a:pt x="679" y="745"/>
                  </a:lnTo>
                  <a:lnTo>
                    <a:pt x="679" y="741"/>
                  </a:lnTo>
                  <a:lnTo>
                    <a:pt x="676" y="737"/>
                  </a:lnTo>
                  <a:lnTo>
                    <a:pt x="674" y="734"/>
                  </a:lnTo>
                  <a:lnTo>
                    <a:pt x="670" y="734"/>
                  </a:lnTo>
                  <a:lnTo>
                    <a:pt x="447" y="734"/>
                  </a:lnTo>
                  <a:close/>
                  <a:moveTo>
                    <a:pt x="670" y="822"/>
                  </a:moveTo>
                  <a:lnTo>
                    <a:pt x="447" y="822"/>
                  </a:lnTo>
                  <a:lnTo>
                    <a:pt x="441" y="822"/>
                  </a:lnTo>
                  <a:lnTo>
                    <a:pt x="434" y="820"/>
                  </a:lnTo>
                  <a:lnTo>
                    <a:pt x="429" y="817"/>
                  </a:lnTo>
                  <a:lnTo>
                    <a:pt x="424" y="813"/>
                  </a:lnTo>
                  <a:lnTo>
                    <a:pt x="420" y="808"/>
                  </a:lnTo>
                  <a:lnTo>
                    <a:pt x="416" y="801"/>
                  </a:lnTo>
                  <a:lnTo>
                    <a:pt x="415" y="795"/>
                  </a:lnTo>
                  <a:lnTo>
                    <a:pt x="413" y="788"/>
                  </a:lnTo>
                  <a:lnTo>
                    <a:pt x="413" y="745"/>
                  </a:lnTo>
                  <a:lnTo>
                    <a:pt x="415" y="737"/>
                  </a:lnTo>
                  <a:lnTo>
                    <a:pt x="416" y="730"/>
                  </a:lnTo>
                  <a:lnTo>
                    <a:pt x="420" y="725"/>
                  </a:lnTo>
                  <a:lnTo>
                    <a:pt x="424" y="720"/>
                  </a:lnTo>
                  <a:lnTo>
                    <a:pt x="429" y="716"/>
                  </a:lnTo>
                  <a:lnTo>
                    <a:pt x="434" y="713"/>
                  </a:lnTo>
                  <a:lnTo>
                    <a:pt x="441" y="711"/>
                  </a:lnTo>
                  <a:lnTo>
                    <a:pt x="447" y="711"/>
                  </a:lnTo>
                  <a:lnTo>
                    <a:pt x="670" y="711"/>
                  </a:lnTo>
                  <a:lnTo>
                    <a:pt x="676" y="711"/>
                  </a:lnTo>
                  <a:lnTo>
                    <a:pt x="683" y="713"/>
                  </a:lnTo>
                  <a:lnTo>
                    <a:pt x="688" y="716"/>
                  </a:lnTo>
                  <a:lnTo>
                    <a:pt x="694" y="720"/>
                  </a:lnTo>
                  <a:lnTo>
                    <a:pt x="697" y="725"/>
                  </a:lnTo>
                  <a:lnTo>
                    <a:pt x="701" y="730"/>
                  </a:lnTo>
                  <a:lnTo>
                    <a:pt x="703" y="737"/>
                  </a:lnTo>
                  <a:lnTo>
                    <a:pt x="704" y="745"/>
                  </a:lnTo>
                  <a:lnTo>
                    <a:pt x="704" y="788"/>
                  </a:lnTo>
                  <a:lnTo>
                    <a:pt x="703" y="795"/>
                  </a:lnTo>
                  <a:lnTo>
                    <a:pt x="701" y="801"/>
                  </a:lnTo>
                  <a:lnTo>
                    <a:pt x="697" y="808"/>
                  </a:lnTo>
                  <a:lnTo>
                    <a:pt x="694" y="813"/>
                  </a:lnTo>
                  <a:lnTo>
                    <a:pt x="688" y="817"/>
                  </a:lnTo>
                  <a:lnTo>
                    <a:pt x="683" y="820"/>
                  </a:lnTo>
                  <a:lnTo>
                    <a:pt x="676" y="822"/>
                  </a:lnTo>
                  <a:lnTo>
                    <a:pt x="670" y="822"/>
                  </a:lnTo>
                  <a:close/>
                  <a:moveTo>
                    <a:pt x="895" y="1021"/>
                  </a:moveTo>
                  <a:lnTo>
                    <a:pt x="811" y="1021"/>
                  </a:lnTo>
                  <a:lnTo>
                    <a:pt x="811" y="1095"/>
                  </a:lnTo>
                  <a:lnTo>
                    <a:pt x="811" y="1097"/>
                  </a:lnTo>
                  <a:lnTo>
                    <a:pt x="812" y="1101"/>
                  </a:lnTo>
                  <a:lnTo>
                    <a:pt x="813" y="1104"/>
                  </a:lnTo>
                  <a:lnTo>
                    <a:pt x="816" y="1107"/>
                  </a:lnTo>
                  <a:lnTo>
                    <a:pt x="819" y="1109"/>
                  </a:lnTo>
                  <a:lnTo>
                    <a:pt x="821" y="1111"/>
                  </a:lnTo>
                  <a:lnTo>
                    <a:pt x="825" y="1112"/>
                  </a:lnTo>
                  <a:lnTo>
                    <a:pt x="829" y="1112"/>
                  </a:lnTo>
                  <a:lnTo>
                    <a:pt x="876" y="1112"/>
                  </a:lnTo>
                  <a:lnTo>
                    <a:pt x="880" y="1112"/>
                  </a:lnTo>
                  <a:lnTo>
                    <a:pt x="884" y="1111"/>
                  </a:lnTo>
                  <a:lnTo>
                    <a:pt x="887" y="1109"/>
                  </a:lnTo>
                  <a:lnTo>
                    <a:pt x="890" y="1107"/>
                  </a:lnTo>
                  <a:lnTo>
                    <a:pt x="892" y="1104"/>
                  </a:lnTo>
                  <a:lnTo>
                    <a:pt x="894" y="1101"/>
                  </a:lnTo>
                  <a:lnTo>
                    <a:pt x="895" y="1097"/>
                  </a:lnTo>
                  <a:lnTo>
                    <a:pt x="895" y="1095"/>
                  </a:lnTo>
                  <a:lnTo>
                    <a:pt x="895" y="1021"/>
                  </a:lnTo>
                  <a:close/>
                  <a:moveTo>
                    <a:pt x="307" y="1021"/>
                  </a:moveTo>
                  <a:lnTo>
                    <a:pt x="222" y="1021"/>
                  </a:lnTo>
                  <a:lnTo>
                    <a:pt x="222" y="1095"/>
                  </a:lnTo>
                  <a:lnTo>
                    <a:pt x="222" y="1097"/>
                  </a:lnTo>
                  <a:lnTo>
                    <a:pt x="224" y="1101"/>
                  </a:lnTo>
                  <a:lnTo>
                    <a:pt x="225" y="1104"/>
                  </a:lnTo>
                  <a:lnTo>
                    <a:pt x="228" y="1107"/>
                  </a:lnTo>
                  <a:lnTo>
                    <a:pt x="230" y="1109"/>
                  </a:lnTo>
                  <a:lnTo>
                    <a:pt x="234" y="1111"/>
                  </a:lnTo>
                  <a:lnTo>
                    <a:pt x="237" y="1112"/>
                  </a:lnTo>
                  <a:lnTo>
                    <a:pt x="241" y="1112"/>
                  </a:lnTo>
                  <a:lnTo>
                    <a:pt x="288" y="1112"/>
                  </a:lnTo>
                  <a:lnTo>
                    <a:pt x="292" y="1112"/>
                  </a:lnTo>
                  <a:lnTo>
                    <a:pt x="296" y="1111"/>
                  </a:lnTo>
                  <a:lnTo>
                    <a:pt x="299" y="1109"/>
                  </a:lnTo>
                  <a:lnTo>
                    <a:pt x="301" y="1107"/>
                  </a:lnTo>
                  <a:lnTo>
                    <a:pt x="304" y="1104"/>
                  </a:lnTo>
                  <a:lnTo>
                    <a:pt x="305" y="1101"/>
                  </a:lnTo>
                  <a:lnTo>
                    <a:pt x="307" y="1097"/>
                  </a:lnTo>
                  <a:lnTo>
                    <a:pt x="307" y="1095"/>
                  </a:lnTo>
                  <a:lnTo>
                    <a:pt x="307" y="1021"/>
                  </a:lnTo>
                  <a:close/>
                  <a:moveTo>
                    <a:pt x="208" y="817"/>
                  </a:moveTo>
                  <a:lnTo>
                    <a:pt x="313" y="817"/>
                  </a:lnTo>
                  <a:lnTo>
                    <a:pt x="317" y="818"/>
                  </a:lnTo>
                  <a:lnTo>
                    <a:pt x="321" y="822"/>
                  </a:lnTo>
                  <a:lnTo>
                    <a:pt x="362" y="863"/>
                  </a:lnTo>
                  <a:lnTo>
                    <a:pt x="757" y="863"/>
                  </a:lnTo>
                  <a:lnTo>
                    <a:pt x="796" y="822"/>
                  </a:lnTo>
                  <a:lnTo>
                    <a:pt x="800" y="818"/>
                  </a:lnTo>
                  <a:lnTo>
                    <a:pt x="805" y="817"/>
                  </a:lnTo>
                  <a:lnTo>
                    <a:pt x="911" y="817"/>
                  </a:lnTo>
                  <a:lnTo>
                    <a:pt x="911" y="566"/>
                  </a:lnTo>
                  <a:lnTo>
                    <a:pt x="874" y="366"/>
                  </a:lnTo>
                  <a:lnTo>
                    <a:pt x="870" y="354"/>
                  </a:lnTo>
                  <a:lnTo>
                    <a:pt x="865" y="343"/>
                  </a:lnTo>
                  <a:lnTo>
                    <a:pt x="858" y="335"/>
                  </a:lnTo>
                  <a:lnTo>
                    <a:pt x="850" y="329"/>
                  </a:lnTo>
                  <a:lnTo>
                    <a:pt x="841" y="322"/>
                  </a:lnTo>
                  <a:lnTo>
                    <a:pt x="830" y="318"/>
                  </a:lnTo>
                  <a:lnTo>
                    <a:pt x="820" y="316"/>
                  </a:lnTo>
                  <a:lnTo>
                    <a:pt x="807" y="316"/>
                  </a:lnTo>
                  <a:lnTo>
                    <a:pt x="312" y="316"/>
                  </a:lnTo>
                  <a:lnTo>
                    <a:pt x="296" y="316"/>
                  </a:lnTo>
                  <a:lnTo>
                    <a:pt x="283" y="317"/>
                  </a:lnTo>
                  <a:lnTo>
                    <a:pt x="271" y="321"/>
                  </a:lnTo>
                  <a:lnTo>
                    <a:pt x="263" y="326"/>
                  </a:lnTo>
                  <a:lnTo>
                    <a:pt x="257" y="333"/>
                  </a:lnTo>
                  <a:lnTo>
                    <a:pt x="251" y="343"/>
                  </a:lnTo>
                  <a:lnTo>
                    <a:pt x="247" y="355"/>
                  </a:lnTo>
                  <a:lnTo>
                    <a:pt x="245" y="371"/>
                  </a:lnTo>
                  <a:lnTo>
                    <a:pt x="208" y="567"/>
                  </a:lnTo>
                  <a:lnTo>
                    <a:pt x="208" y="817"/>
                  </a:lnTo>
                  <a:close/>
                  <a:moveTo>
                    <a:pt x="828" y="387"/>
                  </a:moveTo>
                  <a:lnTo>
                    <a:pt x="828" y="387"/>
                  </a:lnTo>
                  <a:lnTo>
                    <a:pt x="828" y="387"/>
                  </a:lnTo>
                  <a:close/>
                  <a:moveTo>
                    <a:pt x="328" y="374"/>
                  </a:moveTo>
                  <a:lnTo>
                    <a:pt x="322" y="375"/>
                  </a:lnTo>
                  <a:lnTo>
                    <a:pt x="318" y="378"/>
                  </a:lnTo>
                  <a:lnTo>
                    <a:pt x="316" y="382"/>
                  </a:lnTo>
                  <a:lnTo>
                    <a:pt x="314" y="387"/>
                  </a:lnTo>
                  <a:lnTo>
                    <a:pt x="286" y="546"/>
                  </a:lnTo>
                  <a:lnTo>
                    <a:pt x="286" y="554"/>
                  </a:lnTo>
                  <a:lnTo>
                    <a:pt x="286" y="561"/>
                  </a:lnTo>
                  <a:lnTo>
                    <a:pt x="288" y="567"/>
                  </a:lnTo>
                  <a:lnTo>
                    <a:pt x="292" y="572"/>
                  </a:lnTo>
                  <a:lnTo>
                    <a:pt x="296" y="576"/>
                  </a:lnTo>
                  <a:lnTo>
                    <a:pt x="303" y="579"/>
                  </a:lnTo>
                  <a:lnTo>
                    <a:pt x="309" y="582"/>
                  </a:lnTo>
                  <a:lnTo>
                    <a:pt x="316" y="582"/>
                  </a:lnTo>
                  <a:lnTo>
                    <a:pt x="801" y="582"/>
                  </a:lnTo>
                  <a:lnTo>
                    <a:pt x="809" y="582"/>
                  </a:lnTo>
                  <a:lnTo>
                    <a:pt x="816" y="579"/>
                  </a:lnTo>
                  <a:lnTo>
                    <a:pt x="822" y="576"/>
                  </a:lnTo>
                  <a:lnTo>
                    <a:pt x="826" y="572"/>
                  </a:lnTo>
                  <a:lnTo>
                    <a:pt x="830" y="567"/>
                  </a:lnTo>
                  <a:lnTo>
                    <a:pt x="833" y="561"/>
                  </a:lnTo>
                  <a:lnTo>
                    <a:pt x="833" y="554"/>
                  </a:lnTo>
                  <a:lnTo>
                    <a:pt x="833" y="546"/>
                  </a:lnTo>
                  <a:lnTo>
                    <a:pt x="804" y="389"/>
                  </a:lnTo>
                  <a:lnTo>
                    <a:pt x="804" y="388"/>
                  </a:lnTo>
                  <a:lnTo>
                    <a:pt x="804" y="387"/>
                  </a:lnTo>
                  <a:lnTo>
                    <a:pt x="803" y="382"/>
                  </a:lnTo>
                  <a:lnTo>
                    <a:pt x="800" y="378"/>
                  </a:lnTo>
                  <a:lnTo>
                    <a:pt x="795" y="375"/>
                  </a:lnTo>
                  <a:lnTo>
                    <a:pt x="790" y="374"/>
                  </a:lnTo>
                  <a:lnTo>
                    <a:pt x="328" y="374"/>
                  </a:lnTo>
                  <a:close/>
                  <a:moveTo>
                    <a:pt x="801" y="607"/>
                  </a:moveTo>
                  <a:lnTo>
                    <a:pt x="316" y="607"/>
                  </a:lnTo>
                  <a:lnTo>
                    <a:pt x="304" y="605"/>
                  </a:lnTo>
                  <a:lnTo>
                    <a:pt x="292" y="601"/>
                  </a:lnTo>
                  <a:lnTo>
                    <a:pt x="287" y="599"/>
                  </a:lnTo>
                  <a:lnTo>
                    <a:pt x="282" y="596"/>
                  </a:lnTo>
                  <a:lnTo>
                    <a:pt x="278" y="592"/>
                  </a:lnTo>
                  <a:lnTo>
                    <a:pt x="274" y="588"/>
                  </a:lnTo>
                  <a:lnTo>
                    <a:pt x="270" y="583"/>
                  </a:lnTo>
                  <a:lnTo>
                    <a:pt x="267" y="579"/>
                  </a:lnTo>
                  <a:lnTo>
                    <a:pt x="264" y="574"/>
                  </a:lnTo>
                  <a:lnTo>
                    <a:pt x="263" y="567"/>
                  </a:lnTo>
                  <a:lnTo>
                    <a:pt x="261" y="555"/>
                  </a:lnTo>
                  <a:lnTo>
                    <a:pt x="262" y="542"/>
                  </a:lnTo>
                  <a:lnTo>
                    <a:pt x="291" y="386"/>
                  </a:lnTo>
                  <a:lnTo>
                    <a:pt x="292" y="379"/>
                  </a:lnTo>
                  <a:lnTo>
                    <a:pt x="293" y="372"/>
                  </a:lnTo>
                  <a:lnTo>
                    <a:pt x="297" y="366"/>
                  </a:lnTo>
                  <a:lnTo>
                    <a:pt x="301" y="361"/>
                  </a:lnTo>
                  <a:lnTo>
                    <a:pt x="308" y="357"/>
                  </a:lnTo>
                  <a:lnTo>
                    <a:pt x="313" y="353"/>
                  </a:lnTo>
                  <a:lnTo>
                    <a:pt x="321" y="350"/>
                  </a:lnTo>
                  <a:lnTo>
                    <a:pt x="328" y="350"/>
                  </a:lnTo>
                  <a:lnTo>
                    <a:pt x="790" y="350"/>
                  </a:lnTo>
                  <a:lnTo>
                    <a:pt x="797" y="350"/>
                  </a:lnTo>
                  <a:lnTo>
                    <a:pt x="804" y="353"/>
                  </a:lnTo>
                  <a:lnTo>
                    <a:pt x="811" y="357"/>
                  </a:lnTo>
                  <a:lnTo>
                    <a:pt x="816" y="361"/>
                  </a:lnTo>
                  <a:lnTo>
                    <a:pt x="821" y="366"/>
                  </a:lnTo>
                  <a:lnTo>
                    <a:pt x="824" y="372"/>
                  </a:lnTo>
                  <a:lnTo>
                    <a:pt x="826" y="379"/>
                  </a:lnTo>
                  <a:lnTo>
                    <a:pt x="828" y="386"/>
                  </a:lnTo>
                  <a:lnTo>
                    <a:pt x="857" y="542"/>
                  </a:lnTo>
                  <a:lnTo>
                    <a:pt x="857" y="555"/>
                  </a:lnTo>
                  <a:lnTo>
                    <a:pt x="855" y="567"/>
                  </a:lnTo>
                  <a:lnTo>
                    <a:pt x="854" y="574"/>
                  </a:lnTo>
                  <a:lnTo>
                    <a:pt x="851" y="579"/>
                  </a:lnTo>
                  <a:lnTo>
                    <a:pt x="849" y="583"/>
                  </a:lnTo>
                  <a:lnTo>
                    <a:pt x="845" y="588"/>
                  </a:lnTo>
                  <a:lnTo>
                    <a:pt x="841" y="592"/>
                  </a:lnTo>
                  <a:lnTo>
                    <a:pt x="837" y="596"/>
                  </a:lnTo>
                  <a:lnTo>
                    <a:pt x="832" y="599"/>
                  </a:lnTo>
                  <a:lnTo>
                    <a:pt x="826" y="601"/>
                  </a:lnTo>
                  <a:lnTo>
                    <a:pt x="815" y="605"/>
                  </a:lnTo>
                  <a:lnTo>
                    <a:pt x="801" y="607"/>
                  </a:lnTo>
                  <a:close/>
                </a:path>
              </a:pathLst>
            </a:custGeom>
            <a:grpFill/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3" name="Freeform 405"/>
            <p:cNvSpPr>
              <a:spLocks noEditPoints="1"/>
            </p:cNvSpPr>
            <p:nvPr/>
          </p:nvSpPr>
          <p:spPr bwMode="auto">
            <a:xfrm>
              <a:off x="5486400" y="3460750"/>
              <a:ext cx="280988" cy="34925"/>
            </a:xfrm>
            <a:custGeom>
              <a:avLst/>
              <a:gdLst>
                <a:gd name="T0" fmla="*/ 604 w 708"/>
                <a:gd name="T1" fmla="*/ 25 h 88"/>
                <a:gd name="T2" fmla="*/ 600 w 708"/>
                <a:gd name="T3" fmla="*/ 29 h 88"/>
                <a:gd name="T4" fmla="*/ 598 w 708"/>
                <a:gd name="T5" fmla="*/ 57 h 88"/>
                <a:gd name="T6" fmla="*/ 601 w 708"/>
                <a:gd name="T7" fmla="*/ 62 h 88"/>
                <a:gd name="T8" fmla="*/ 608 w 708"/>
                <a:gd name="T9" fmla="*/ 65 h 88"/>
                <a:gd name="T10" fmla="*/ 680 w 708"/>
                <a:gd name="T11" fmla="*/ 63 h 88"/>
                <a:gd name="T12" fmla="*/ 684 w 708"/>
                <a:gd name="T13" fmla="*/ 59 h 88"/>
                <a:gd name="T14" fmla="*/ 684 w 708"/>
                <a:gd name="T15" fmla="*/ 32 h 88"/>
                <a:gd name="T16" fmla="*/ 681 w 708"/>
                <a:gd name="T17" fmla="*/ 27 h 88"/>
                <a:gd name="T18" fmla="*/ 676 w 708"/>
                <a:gd name="T19" fmla="*/ 25 h 88"/>
                <a:gd name="T20" fmla="*/ 31 w 708"/>
                <a:gd name="T21" fmla="*/ 25 h 88"/>
                <a:gd name="T22" fmla="*/ 26 w 708"/>
                <a:gd name="T23" fmla="*/ 27 h 88"/>
                <a:gd name="T24" fmla="*/ 23 w 708"/>
                <a:gd name="T25" fmla="*/ 32 h 88"/>
                <a:gd name="T26" fmla="*/ 23 w 708"/>
                <a:gd name="T27" fmla="*/ 59 h 88"/>
                <a:gd name="T28" fmla="*/ 29 w 708"/>
                <a:gd name="T29" fmla="*/ 63 h 88"/>
                <a:gd name="T30" fmla="*/ 100 w 708"/>
                <a:gd name="T31" fmla="*/ 65 h 88"/>
                <a:gd name="T32" fmla="*/ 106 w 708"/>
                <a:gd name="T33" fmla="*/ 62 h 88"/>
                <a:gd name="T34" fmla="*/ 109 w 708"/>
                <a:gd name="T35" fmla="*/ 57 h 88"/>
                <a:gd name="T36" fmla="*/ 108 w 708"/>
                <a:gd name="T37" fmla="*/ 29 h 88"/>
                <a:gd name="T38" fmla="*/ 104 w 708"/>
                <a:gd name="T39" fmla="*/ 25 h 88"/>
                <a:gd name="T40" fmla="*/ 31 w 708"/>
                <a:gd name="T41" fmla="*/ 25 h 88"/>
                <a:gd name="T42" fmla="*/ 31 w 708"/>
                <a:gd name="T43" fmla="*/ 88 h 88"/>
                <a:gd name="T44" fmla="*/ 18 w 708"/>
                <a:gd name="T45" fmla="*/ 86 h 88"/>
                <a:gd name="T46" fmla="*/ 9 w 708"/>
                <a:gd name="T47" fmla="*/ 79 h 88"/>
                <a:gd name="T48" fmla="*/ 2 w 708"/>
                <a:gd name="T49" fmla="*/ 69 h 88"/>
                <a:gd name="T50" fmla="*/ 0 w 708"/>
                <a:gd name="T51" fmla="*/ 57 h 88"/>
                <a:gd name="T52" fmla="*/ 0 w 708"/>
                <a:gd name="T53" fmla="*/ 27 h 88"/>
                <a:gd name="T54" fmla="*/ 5 w 708"/>
                <a:gd name="T55" fmla="*/ 15 h 88"/>
                <a:gd name="T56" fmla="*/ 13 w 708"/>
                <a:gd name="T57" fmla="*/ 6 h 88"/>
                <a:gd name="T58" fmla="*/ 25 w 708"/>
                <a:gd name="T59" fmla="*/ 2 h 88"/>
                <a:gd name="T60" fmla="*/ 100 w 708"/>
                <a:gd name="T61" fmla="*/ 0 h 88"/>
                <a:gd name="T62" fmla="*/ 113 w 708"/>
                <a:gd name="T63" fmla="*/ 3 h 88"/>
                <a:gd name="T64" fmla="*/ 123 w 708"/>
                <a:gd name="T65" fmla="*/ 9 h 88"/>
                <a:gd name="T66" fmla="*/ 130 w 708"/>
                <a:gd name="T67" fmla="*/ 20 h 88"/>
                <a:gd name="T68" fmla="*/ 133 w 708"/>
                <a:gd name="T69" fmla="*/ 32 h 88"/>
                <a:gd name="T70" fmla="*/ 131 w 708"/>
                <a:gd name="T71" fmla="*/ 63 h 88"/>
                <a:gd name="T72" fmla="*/ 127 w 708"/>
                <a:gd name="T73" fmla="*/ 74 h 88"/>
                <a:gd name="T74" fmla="*/ 118 w 708"/>
                <a:gd name="T75" fmla="*/ 83 h 88"/>
                <a:gd name="T76" fmla="*/ 106 w 708"/>
                <a:gd name="T77" fmla="*/ 88 h 88"/>
                <a:gd name="T78" fmla="*/ 676 w 708"/>
                <a:gd name="T79" fmla="*/ 88 h 88"/>
                <a:gd name="T80" fmla="*/ 601 w 708"/>
                <a:gd name="T81" fmla="*/ 88 h 88"/>
                <a:gd name="T82" fmla="*/ 589 w 708"/>
                <a:gd name="T83" fmla="*/ 83 h 88"/>
                <a:gd name="T84" fmla="*/ 581 w 708"/>
                <a:gd name="T85" fmla="*/ 74 h 88"/>
                <a:gd name="T86" fmla="*/ 576 w 708"/>
                <a:gd name="T87" fmla="*/ 63 h 88"/>
                <a:gd name="T88" fmla="*/ 575 w 708"/>
                <a:gd name="T89" fmla="*/ 32 h 88"/>
                <a:gd name="T90" fmla="*/ 577 w 708"/>
                <a:gd name="T91" fmla="*/ 20 h 88"/>
                <a:gd name="T92" fmla="*/ 584 w 708"/>
                <a:gd name="T93" fmla="*/ 9 h 88"/>
                <a:gd name="T94" fmla="*/ 594 w 708"/>
                <a:gd name="T95" fmla="*/ 3 h 88"/>
                <a:gd name="T96" fmla="*/ 608 w 708"/>
                <a:gd name="T97" fmla="*/ 0 h 88"/>
                <a:gd name="T98" fmla="*/ 683 w 708"/>
                <a:gd name="T99" fmla="*/ 2 h 88"/>
                <a:gd name="T100" fmla="*/ 694 w 708"/>
                <a:gd name="T101" fmla="*/ 6 h 88"/>
                <a:gd name="T102" fmla="*/ 702 w 708"/>
                <a:gd name="T103" fmla="*/ 15 h 88"/>
                <a:gd name="T104" fmla="*/ 708 w 708"/>
                <a:gd name="T105" fmla="*/ 27 h 88"/>
                <a:gd name="T106" fmla="*/ 708 w 708"/>
                <a:gd name="T107" fmla="*/ 57 h 88"/>
                <a:gd name="T108" fmla="*/ 705 w 708"/>
                <a:gd name="T109" fmla="*/ 69 h 88"/>
                <a:gd name="T110" fmla="*/ 698 w 708"/>
                <a:gd name="T111" fmla="*/ 79 h 88"/>
                <a:gd name="T112" fmla="*/ 689 w 708"/>
                <a:gd name="T113" fmla="*/ 86 h 88"/>
                <a:gd name="T114" fmla="*/ 676 w 708"/>
                <a:gd name="T1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8" h="88">
                  <a:moveTo>
                    <a:pt x="608" y="25"/>
                  </a:moveTo>
                  <a:lnTo>
                    <a:pt x="604" y="25"/>
                  </a:lnTo>
                  <a:lnTo>
                    <a:pt x="601" y="27"/>
                  </a:lnTo>
                  <a:lnTo>
                    <a:pt x="600" y="29"/>
                  </a:lnTo>
                  <a:lnTo>
                    <a:pt x="598" y="32"/>
                  </a:lnTo>
                  <a:lnTo>
                    <a:pt x="598" y="57"/>
                  </a:lnTo>
                  <a:lnTo>
                    <a:pt x="600" y="59"/>
                  </a:lnTo>
                  <a:lnTo>
                    <a:pt x="601" y="62"/>
                  </a:lnTo>
                  <a:lnTo>
                    <a:pt x="604" y="63"/>
                  </a:lnTo>
                  <a:lnTo>
                    <a:pt x="608" y="65"/>
                  </a:lnTo>
                  <a:lnTo>
                    <a:pt x="676" y="65"/>
                  </a:lnTo>
                  <a:lnTo>
                    <a:pt x="680" y="63"/>
                  </a:lnTo>
                  <a:lnTo>
                    <a:pt x="681" y="62"/>
                  </a:lnTo>
                  <a:lnTo>
                    <a:pt x="684" y="59"/>
                  </a:lnTo>
                  <a:lnTo>
                    <a:pt x="684" y="57"/>
                  </a:lnTo>
                  <a:lnTo>
                    <a:pt x="684" y="32"/>
                  </a:lnTo>
                  <a:lnTo>
                    <a:pt x="684" y="29"/>
                  </a:lnTo>
                  <a:lnTo>
                    <a:pt x="681" y="27"/>
                  </a:lnTo>
                  <a:lnTo>
                    <a:pt x="680" y="25"/>
                  </a:lnTo>
                  <a:lnTo>
                    <a:pt x="676" y="25"/>
                  </a:lnTo>
                  <a:lnTo>
                    <a:pt x="608" y="25"/>
                  </a:lnTo>
                  <a:close/>
                  <a:moveTo>
                    <a:pt x="31" y="25"/>
                  </a:moveTo>
                  <a:lnTo>
                    <a:pt x="29" y="25"/>
                  </a:lnTo>
                  <a:lnTo>
                    <a:pt x="26" y="27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9" y="63"/>
                  </a:lnTo>
                  <a:lnTo>
                    <a:pt x="31" y="65"/>
                  </a:lnTo>
                  <a:lnTo>
                    <a:pt x="100" y="65"/>
                  </a:lnTo>
                  <a:lnTo>
                    <a:pt x="104" y="63"/>
                  </a:lnTo>
                  <a:lnTo>
                    <a:pt x="106" y="62"/>
                  </a:lnTo>
                  <a:lnTo>
                    <a:pt x="108" y="59"/>
                  </a:lnTo>
                  <a:lnTo>
                    <a:pt x="109" y="57"/>
                  </a:lnTo>
                  <a:lnTo>
                    <a:pt x="109" y="32"/>
                  </a:lnTo>
                  <a:lnTo>
                    <a:pt x="108" y="29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31" y="25"/>
                  </a:lnTo>
                  <a:close/>
                  <a:moveTo>
                    <a:pt x="100" y="88"/>
                  </a:moveTo>
                  <a:lnTo>
                    <a:pt x="31" y="88"/>
                  </a:lnTo>
                  <a:lnTo>
                    <a:pt x="25" y="88"/>
                  </a:lnTo>
                  <a:lnTo>
                    <a:pt x="18" y="86"/>
                  </a:lnTo>
                  <a:lnTo>
                    <a:pt x="13" y="83"/>
                  </a:lnTo>
                  <a:lnTo>
                    <a:pt x="9" y="79"/>
                  </a:lnTo>
                  <a:lnTo>
                    <a:pt x="5" y="74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8" y="3"/>
                  </a:lnTo>
                  <a:lnTo>
                    <a:pt x="25" y="2"/>
                  </a:lnTo>
                  <a:lnTo>
                    <a:pt x="31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13" y="3"/>
                  </a:lnTo>
                  <a:lnTo>
                    <a:pt x="118" y="6"/>
                  </a:lnTo>
                  <a:lnTo>
                    <a:pt x="123" y="9"/>
                  </a:lnTo>
                  <a:lnTo>
                    <a:pt x="127" y="15"/>
                  </a:lnTo>
                  <a:lnTo>
                    <a:pt x="130" y="20"/>
                  </a:lnTo>
                  <a:lnTo>
                    <a:pt x="131" y="27"/>
                  </a:lnTo>
                  <a:lnTo>
                    <a:pt x="133" y="32"/>
                  </a:lnTo>
                  <a:lnTo>
                    <a:pt x="133" y="57"/>
                  </a:lnTo>
                  <a:lnTo>
                    <a:pt x="131" y="63"/>
                  </a:lnTo>
                  <a:lnTo>
                    <a:pt x="130" y="69"/>
                  </a:lnTo>
                  <a:lnTo>
                    <a:pt x="127" y="74"/>
                  </a:lnTo>
                  <a:lnTo>
                    <a:pt x="123" y="79"/>
                  </a:lnTo>
                  <a:lnTo>
                    <a:pt x="118" y="83"/>
                  </a:lnTo>
                  <a:lnTo>
                    <a:pt x="113" y="86"/>
                  </a:lnTo>
                  <a:lnTo>
                    <a:pt x="106" y="88"/>
                  </a:lnTo>
                  <a:lnTo>
                    <a:pt x="100" y="88"/>
                  </a:lnTo>
                  <a:close/>
                  <a:moveTo>
                    <a:pt x="676" y="88"/>
                  </a:moveTo>
                  <a:lnTo>
                    <a:pt x="608" y="88"/>
                  </a:lnTo>
                  <a:lnTo>
                    <a:pt x="601" y="88"/>
                  </a:lnTo>
                  <a:lnTo>
                    <a:pt x="594" y="86"/>
                  </a:lnTo>
                  <a:lnTo>
                    <a:pt x="589" y="83"/>
                  </a:lnTo>
                  <a:lnTo>
                    <a:pt x="584" y="79"/>
                  </a:lnTo>
                  <a:lnTo>
                    <a:pt x="581" y="74"/>
                  </a:lnTo>
                  <a:lnTo>
                    <a:pt x="577" y="69"/>
                  </a:lnTo>
                  <a:lnTo>
                    <a:pt x="576" y="63"/>
                  </a:lnTo>
                  <a:lnTo>
                    <a:pt x="575" y="57"/>
                  </a:lnTo>
                  <a:lnTo>
                    <a:pt x="575" y="32"/>
                  </a:lnTo>
                  <a:lnTo>
                    <a:pt x="576" y="27"/>
                  </a:lnTo>
                  <a:lnTo>
                    <a:pt x="577" y="20"/>
                  </a:lnTo>
                  <a:lnTo>
                    <a:pt x="581" y="15"/>
                  </a:lnTo>
                  <a:lnTo>
                    <a:pt x="584" y="9"/>
                  </a:lnTo>
                  <a:lnTo>
                    <a:pt x="589" y="6"/>
                  </a:lnTo>
                  <a:lnTo>
                    <a:pt x="594" y="3"/>
                  </a:lnTo>
                  <a:lnTo>
                    <a:pt x="601" y="2"/>
                  </a:lnTo>
                  <a:lnTo>
                    <a:pt x="608" y="0"/>
                  </a:lnTo>
                  <a:lnTo>
                    <a:pt x="676" y="0"/>
                  </a:lnTo>
                  <a:lnTo>
                    <a:pt x="683" y="2"/>
                  </a:lnTo>
                  <a:lnTo>
                    <a:pt x="689" y="3"/>
                  </a:lnTo>
                  <a:lnTo>
                    <a:pt x="694" y="6"/>
                  </a:lnTo>
                  <a:lnTo>
                    <a:pt x="698" y="9"/>
                  </a:lnTo>
                  <a:lnTo>
                    <a:pt x="702" y="15"/>
                  </a:lnTo>
                  <a:lnTo>
                    <a:pt x="705" y="20"/>
                  </a:lnTo>
                  <a:lnTo>
                    <a:pt x="708" y="27"/>
                  </a:lnTo>
                  <a:lnTo>
                    <a:pt x="708" y="32"/>
                  </a:lnTo>
                  <a:lnTo>
                    <a:pt x="708" y="57"/>
                  </a:lnTo>
                  <a:lnTo>
                    <a:pt x="708" y="63"/>
                  </a:lnTo>
                  <a:lnTo>
                    <a:pt x="705" y="69"/>
                  </a:lnTo>
                  <a:lnTo>
                    <a:pt x="702" y="74"/>
                  </a:lnTo>
                  <a:lnTo>
                    <a:pt x="698" y="79"/>
                  </a:lnTo>
                  <a:lnTo>
                    <a:pt x="694" y="83"/>
                  </a:lnTo>
                  <a:lnTo>
                    <a:pt x="689" y="86"/>
                  </a:lnTo>
                  <a:lnTo>
                    <a:pt x="683" y="88"/>
                  </a:lnTo>
                  <a:lnTo>
                    <a:pt x="676" y="88"/>
                  </a:lnTo>
                  <a:close/>
                </a:path>
              </a:pathLst>
            </a:custGeom>
            <a:grpFill/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74" name="opt_marketing"/>
          <p:cNvGrpSpPr>
            <a:grpSpLocks noChangeAspect="1"/>
          </p:cNvGrpSpPr>
          <p:nvPr/>
        </p:nvGrpSpPr>
        <p:grpSpPr>
          <a:xfrm>
            <a:off x="6012160" y="2759222"/>
            <a:ext cx="240352" cy="161925"/>
            <a:chOff x="55563" y="3265488"/>
            <a:chExt cx="723900" cy="431800"/>
          </a:xfrm>
          <a:solidFill>
            <a:srgbClr val="7030A0"/>
          </a:solidFill>
        </p:grpSpPr>
        <p:sp>
          <p:nvSpPr>
            <p:cNvPr id="975" name="Freeform 12"/>
            <p:cNvSpPr>
              <a:spLocks noEditPoints="1"/>
            </p:cNvSpPr>
            <p:nvPr/>
          </p:nvSpPr>
          <p:spPr bwMode="auto">
            <a:xfrm>
              <a:off x="55563" y="3265488"/>
              <a:ext cx="723900" cy="431800"/>
            </a:xfrm>
            <a:custGeom>
              <a:avLst/>
              <a:gdLst>
                <a:gd name="T0" fmla="*/ 23 w 1366"/>
                <a:gd name="T1" fmla="*/ 263 h 816"/>
                <a:gd name="T2" fmla="*/ 71 w 1366"/>
                <a:gd name="T3" fmla="*/ 115 h 816"/>
                <a:gd name="T4" fmla="*/ 1286 w 1366"/>
                <a:gd name="T5" fmla="*/ 103 h 816"/>
                <a:gd name="T6" fmla="*/ 1339 w 1366"/>
                <a:gd name="T7" fmla="*/ 239 h 816"/>
                <a:gd name="T8" fmla="*/ 1335 w 1366"/>
                <a:gd name="T9" fmla="*/ 488 h 816"/>
                <a:gd name="T10" fmla="*/ 1280 w 1366"/>
                <a:gd name="T11" fmla="*/ 608 h 816"/>
                <a:gd name="T12" fmla="*/ 36 w 1366"/>
                <a:gd name="T13" fmla="*/ 507 h 816"/>
                <a:gd name="T14" fmla="*/ 760 w 1366"/>
                <a:gd name="T15" fmla="*/ 78 h 816"/>
                <a:gd name="T16" fmla="*/ 580 w 1366"/>
                <a:gd name="T17" fmla="*/ 25 h 816"/>
                <a:gd name="T18" fmla="*/ 786 w 1366"/>
                <a:gd name="T19" fmla="*/ 34 h 816"/>
                <a:gd name="T20" fmla="*/ 1339 w 1366"/>
                <a:gd name="T21" fmla="*/ 608 h 816"/>
                <a:gd name="T22" fmla="*/ 1352 w 1366"/>
                <a:gd name="T23" fmla="*/ 493 h 816"/>
                <a:gd name="T24" fmla="*/ 1360 w 1366"/>
                <a:gd name="T25" fmla="*/ 251 h 816"/>
                <a:gd name="T26" fmla="*/ 1303 w 1366"/>
                <a:gd name="T27" fmla="*/ 94 h 816"/>
                <a:gd name="T28" fmla="*/ 793 w 1366"/>
                <a:gd name="T29" fmla="*/ 52 h 816"/>
                <a:gd name="T30" fmla="*/ 796 w 1366"/>
                <a:gd name="T31" fmla="*/ 9 h 816"/>
                <a:gd name="T32" fmla="*/ 571 w 1366"/>
                <a:gd name="T33" fmla="*/ 9 h 816"/>
                <a:gd name="T34" fmla="*/ 575 w 1366"/>
                <a:gd name="T35" fmla="*/ 53 h 816"/>
                <a:gd name="T36" fmla="*/ 69 w 1366"/>
                <a:gd name="T37" fmla="*/ 88 h 816"/>
                <a:gd name="T38" fmla="*/ 10 w 1366"/>
                <a:gd name="T39" fmla="*/ 229 h 816"/>
                <a:gd name="T40" fmla="*/ 9 w 1366"/>
                <a:gd name="T41" fmla="*/ 472 h 816"/>
                <a:gd name="T42" fmla="*/ 62 w 1366"/>
                <a:gd name="T43" fmla="*/ 608 h 816"/>
                <a:gd name="T44" fmla="*/ 23 w 1366"/>
                <a:gd name="T45" fmla="*/ 688 h 816"/>
                <a:gd name="T46" fmla="*/ 51 w 1366"/>
                <a:gd name="T47" fmla="*/ 732 h 816"/>
                <a:gd name="T48" fmla="*/ 71 w 1366"/>
                <a:gd name="T49" fmla="*/ 788 h 816"/>
                <a:gd name="T50" fmla="*/ 129 w 1366"/>
                <a:gd name="T51" fmla="*/ 808 h 816"/>
                <a:gd name="T52" fmla="*/ 182 w 1366"/>
                <a:gd name="T53" fmla="*/ 762 h 816"/>
                <a:gd name="T54" fmla="*/ 152 w 1366"/>
                <a:gd name="T55" fmla="*/ 779 h 816"/>
                <a:gd name="T56" fmla="*/ 84 w 1366"/>
                <a:gd name="T57" fmla="*/ 775 h 816"/>
                <a:gd name="T58" fmla="*/ 91 w 1366"/>
                <a:gd name="T59" fmla="*/ 698 h 816"/>
                <a:gd name="T60" fmla="*/ 153 w 1366"/>
                <a:gd name="T61" fmla="*/ 702 h 816"/>
                <a:gd name="T62" fmla="*/ 178 w 1366"/>
                <a:gd name="T63" fmla="*/ 704 h 816"/>
                <a:gd name="T64" fmla="*/ 230 w 1366"/>
                <a:gd name="T65" fmla="*/ 712 h 816"/>
                <a:gd name="T66" fmla="*/ 263 w 1366"/>
                <a:gd name="T67" fmla="*/ 694 h 816"/>
                <a:gd name="T68" fmla="*/ 329 w 1366"/>
                <a:gd name="T69" fmla="*/ 712 h 816"/>
                <a:gd name="T70" fmla="*/ 306 w 1366"/>
                <a:gd name="T71" fmla="*/ 787 h 816"/>
                <a:gd name="T72" fmla="*/ 246 w 1366"/>
                <a:gd name="T73" fmla="*/ 768 h 816"/>
                <a:gd name="T74" fmla="*/ 226 w 1366"/>
                <a:gd name="T75" fmla="*/ 769 h 816"/>
                <a:gd name="T76" fmla="*/ 294 w 1366"/>
                <a:gd name="T77" fmla="*/ 809 h 816"/>
                <a:gd name="T78" fmla="*/ 344 w 1366"/>
                <a:gd name="T79" fmla="*/ 779 h 816"/>
                <a:gd name="T80" fmla="*/ 352 w 1366"/>
                <a:gd name="T81" fmla="*/ 718 h 816"/>
                <a:gd name="T82" fmla="*/ 1014 w 1366"/>
                <a:gd name="T83" fmla="*/ 706 h 816"/>
                <a:gd name="T84" fmla="*/ 1010 w 1366"/>
                <a:gd name="T85" fmla="*/ 772 h 816"/>
                <a:gd name="T86" fmla="*/ 1053 w 1366"/>
                <a:gd name="T87" fmla="*/ 813 h 816"/>
                <a:gd name="T88" fmla="*/ 1126 w 1366"/>
                <a:gd name="T89" fmla="*/ 794 h 816"/>
                <a:gd name="T90" fmla="*/ 1123 w 1366"/>
                <a:gd name="T91" fmla="*/ 766 h 816"/>
                <a:gd name="T92" fmla="*/ 1074 w 1366"/>
                <a:gd name="T93" fmla="*/ 798 h 816"/>
                <a:gd name="T94" fmla="*/ 1023 w 1366"/>
                <a:gd name="T95" fmla="*/ 755 h 816"/>
                <a:gd name="T96" fmla="*/ 1064 w 1366"/>
                <a:gd name="T97" fmla="*/ 690 h 816"/>
                <a:gd name="T98" fmla="*/ 1115 w 1366"/>
                <a:gd name="T99" fmla="*/ 712 h 816"/>
                <a:gd name="T100" fmla="*/ 1134 w 1366"/>
                <a:gd name="T101" fmla="*/ 711 h 816"/>
                <a:gd name="T102" fmla="*/ 1185 w 1366"/>
                <a:gd name="T103" fmla="*/ 711 h 816"/>
                <a:gd name="T104" fmla="*/ 1204 w 1366"/>
                <a:gd name="T105" fmla="*/ 710 h 816"/>
                <a:gd name="T106" fmla="*/ 1256 w 1366"/>
                <a:gd name="T107" fmla="*/ 690 h 816"/>
                <a:gd name="T108" fmla="*/ 1297 w 1366"/>
                <a:gd name="T109" fmla="*/ 755 h 816"/>
                <a:gd name="T110" fmla="*/ 1245 w 1366"/>
                <a:gd name="T111" fmla="*/ 798 h 816"/>
                <a:gd name="T112" fmla="*/ 1198 w 1366"/>
                <a:gd name="T113" fmla="*/ 767 h 816"/>
                <a:gd name="T114" fmla="*/ 1194 w 1366"/>
                <a:gd name="T115" fmla="*/ 793 h 816"/>
                <a:gd name="T116" fmla="*/ 1267 w 1366"/>
                <a:gd name="T117" fmla="*/ 813 h 816"/>
                <a:gd name="T118" fmla="*/ 1310 w 1366"/>
                <a:gd name="T119" fmla="*/ 772 h 816"/>
                <a:gd name="T120" fmla="*/ 1306 w 1366"/>
                <a:gd name="T121" fmla="*/ 706 h 816"/>
                <a:gd name="T122" fmla="*/ 1348 w 1366"/>
                <a:gd name="T123" fmla="*/ 617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66" h="816">
                  <a:moveTo>
                    <a:pt x="1331" y="671"/>
                  </a:moveTo>
                  <a:lnTo>
                    <a:pt x="36" y="671"/>
                  </a:lnTo>
                  <a:lnTo>
                    <a:pt x="36" y="625"/>
                  </a:lnTo>
                  <a:lnTo>
                    <a:pt x="1331" y="625"/>
                  </a:lnTo>
                  <a:lnTo>
                    <a:pt x="1331" y="671"/>
                  </a:lnTo>
                  <a:close/>
                  <a:moveTo>
                    <a:pt x="18" y="351"/>
                  </a:moveTo>
                  <a:lnTo>
                    <a:pt x="18" y="320"/>
                  </a:lnTo>
                  <a:lnTo>
                    <a:pt x="20" y="290"/>
                  </a:lnTo>
                  <a:lnTo>
                    <a:pt x="23" y="263"/>
                  </a:lnTo>
                  <a:lnTo>
                    <a:pt x="27" y="238"/>
                  </a:lnTo>
                  <a:lnTo>
                    <a:pt x="31" y="215"/>
                  </a:lnTo>
                  <a:lnTo>
                    <a:pt x="36" y="196"/>
                  </a:lnTo>
                  <a:lnTo>
                    <a:pt x="42" y="177"/>
                  </a:lnTo>
                  <a:lnTo>
                    <a:pt x="48" y="161"/>
                  </a:lnTo>
                  <a:lnTo>
                    <a:pt x="54" y="147"/>
                  </a:lnTo>
                  <a:lnTo>
                    <a:pt x="60" y="134"/>
                  </a:lnTo>
                  <a:lnTo>
                    <a:pt x="65" y="124"/>
                  </a:lnTo>
                  <a:lnTo>
                    <a:pt x="71" y="115"/>
                  </a:lnTo>
                  <a:lnTo>
                    <a:pt x="81" y="103"/>
                  </a:lnTo>
                  <a:lnTo>
                    <a:pt x="87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1280" y="95"/>
                  </a:lnTo>
                  <a:lnTo>
                    <a:pt x="1286" y="103"/>
                  </a:lnTo>
                  <a:lnTo>
                    <a:pt x="1296" y="116"/>
                  </a:lnTo>
                  <a:lnTo>
                    <a:pt x="1302" y="124"/>
                  </a:lnTo>
                  <a:lnTo>
                    <a:pt x="1307" y="135"/>
                  </a:lnTo>
                  <a:lnTo>
                    <a:pt x="1313" y="148"/>
                  </a:lnTo>
                  <a:lnTo>
                    <a:pt x="1319" y="162"/>
                  </a:lnTo>
                  <a:lnTo>
                    <a:pt x="1324" y="178"/>
                  </a:lnTo>
                  <a:lnTo>
                    <a:pt x="1330" y="197"/>
                  </a:lnTo>
                  <a:lnTo>
                    <a:pt x="1335" y="216"/>
                  </a:lnTo>
                  <a:lnTo>
                    <a:pt x="1339" y="239"/>
                  </a:lnTo>
                  <a:lnTo>
                    <a:pt x="1344" y="264"/>
                  </a:lnTo>
                  <a:lnTo>
                    <a:pt x="1346" y="291"/>
                  </a:lnTo>
                  <a:lnTo>
                    <a:pt x="1348" y="320"/>
                  </a:lnTo>
                  <a:lnTo>
                    <a:pt x="1349" y="351"/>
                  </a:lnTo>
                  <a:lnTo>
                    <a:pt x="1348" y="383"/>
                  </a:lnTo>
                  <a:lnTo>
                    <a:pt x="1346" y="414"/>
                  </a:lnTo>
                  <a:lnTo>
                    <a:pt x="1343" y="441"/>
                  </a:lnTo>
                  <a:lnTo>
                    <a:pt x="1339" y="466"/>
                  </a:lnTo>
                  <a:lnTo>
                    <a:pt x="1335" y="488"/>
                  </a:lnTo>
                  <a:lnTo>
                    <a:pt x="1330" y="509"/>
                  </a:lnTo>
                  <a:lnTo>
                    <a:pt x="1324" y="526"/>
                  </a:lnTo>
                  <a:lnTo>
                    <a:pt x="1318" y="542"/>
                  </a:lnTo>
                  <a:lnTo>
                    <a:pt x="1312" y="557"/>
                  </a:lnTo>
                  <a:lnTo>
                    <a:pt x="1306" y="569"/>
                  </a:lnTo>
                  <a:lnTo>
                    <a:pt x="1301" y="580"/>
                  </a:lnTo>
                  <a:lnTo>
                    <a:pt x="1295" y="589"/>
                  </a:lnTo>
                  <a:lnTo>
                    <a:pt x="1285" y="600"/>
                  </a:lnTo>
                  <a:lnTo>
                    <a:pt x="1280" y="608"/>
                  </a:lnTo>
                  <a:lnTo>
                    <a:pt x="86" y="608"/>
                  </a:lnTo>
                  <a:lnTo>
                    <a:pt x="79" y="600"/>
                  </a:lnTo>
                  <a:lnTo>
                    <a:pt x="71" y="588"/>
                  </a:lnTo>
                  <a:lnTo>
                    <a:pt x="65" y="579"/>
                  </a:lnTo>
                  <a:lnTo>
                    <a:pt x="59" y="568"/>
                  </a:lnTo>
                  <a:lnTo>
                    <a:pt x="54" y="555"/>
                  </a:lnTo>
                  <a:lnTo>
                    <a:pt x="47" y="541"/>
                  </a:lnTo>
                  <a:lnTo>
                    <a:pt x="42" y="525"/>
                  </a:lnTo>
                  <a:lnTo>
                    <a:pt x="36" y="507"/>
                  </a:lnTo>
                  <a:lnTo>
                    <a:pt x="31" y="487"/>
                  </a:lnTo>
                  <a:lnTo>
                    <a:pt x="27" y="464"/>
                  </a:lnTo>
                  <a:lnTo>
                    <a:pt x="23" y="440"/>
                  </a:lnTo>
                  <a:lnTo>
                    <a:pt x="20" y="413"/>
                  </a:lnTo>
                  <a:lnTo>
                    <a:pt x="18" y="383"/>
                  </a:lnTo>
                  <a:lnTo>
                    <a:pt x="18" y="351"/>
                  </a:lnTo>
                  <a:close/>
                  <a:moveTo>
                    <a:pt x="608" y="59"/>
                  </a:moveTo>
                  <a:lnTo>
                    <a:pt x="760" y="59"/>
                  </a:lnTo>
                  <a:lnTo>
                    <a:pt x="760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08" y="78"/>
                  </a:lnTo>
                  <a:lnTo>
                    <a:pt x="608" y="59"/>
                  </a:lnTo>
                  <a:close/>
                  <a:moveTo>
                    <a:pt x="580" y="29"/>
                  </a:moveTo>
                  <a:lnTo>
                    <a:pt x="580" y="25"/>
                  </a:lnTo>
                  <a:lnTo>
                    <a:pt x="583" y="22"/>
                  </a:lnTo>
                  <a:lnTo>
                    <a:pt x="587" y="20"/>
                  </a:lnTo>
                  <a:lnTo>
                    <a:pt x="590" y="19"/>
                  </a:lnTo>
                  <a:lnTo>
                    <a:pt x="776" y="19"/>
                  </a:lnTo>
                  <a:lnTo>
                    <a:pt x="780" y="20"/>
                  </a:lnTo>
                  <a:lnTo>
                    <a:pt x="783" y="22"/>
                  </a:lnTo>
                  <a:lnTo>
                    <a:pt x="786" y="25"/>
                  </a:lnTo>
                  <a:lnTo>
                    <a:pt x="787" y="29"/>
                  </a:lnTo>
                  <a:lnTo>
                    <a:pt x="786" y="34"/>
                  </a:lnTo>
                  <a:lnTo>
                    <a:pt x="783" y="37"/>
                  </a:lnTo>
                  <a:lnTo>
                    <a:pt x="780" y="39"/>
                  </a:lnTo>
                  <a:lnTo>
                    <a:pt x="776" y="40"/>
                  </a:lnTo>
                  <a:lnTo>
                    <a:pt x="590" y="40"/>
                  </a:lnTo>
                  <a:lnTo>
                    <a:pt x="587" y="39"/>
                  </a:lnTo>
                  <a:lnTo>
                    <a:pt x="583" y="37"/>
                  </a:lnTo>
                  <a:lnTo>
                    <a:pt x="580" y="34"/>
                  </a:lnTo>
                  <a:lnTo>
                    <a:pt x="580" y="29"/>
                  </a:lnTo>
                  <a:close/>
                  <a:moveTo>
                    <a:pt x="1339" y="608"/>
                  </a:moveTo>
                  <a:lnTo>
                    <a:pt x="1304" y="608"/>
                  </a:lnTo>
                  <a:lnTo>
                    <a:pt x="1312" y="594"/>
                  </a:lnTo>
                  <a:lnTo>
                    <a:pt x="1323" y="577"/>
                  </a:lnTo>
                  <a:lnTo>
                    <a:pt x="1328" y="566"/>
                  </a:lnTo>
                  <a:lnTo>
                    <a:pt x="1333" y="554"/>
                  </a:lnTo>
                  <a:lnTo>
                    <a:pt x="1338" y="541"/>
                  </a:lnTo>
                  <a:lnTo>
                    <a:pt x="1344" y="526"/>
                  </a:lnTo>
                  <a:lnTo>
                    <a:pt x="1348" y="510"/>
                  </a:lnTo>
                  <a:lnTo>
                    <a:pt x="1352" y="493"/>
                  </a:lnTo>
                  <a:lnTo>
                    <a:pt x="1357" y="473"/>
                  </a:lnTo>
                  <a:lnTo>
                    <a:pt x="1360" y="452"/>
                  </a:lnTo>
                  <a:lnTo>
                    <a:pt x="1363" y="430"/>
                  </a:lnTo>
                  <a:lnTo>
                    <a:pt x="1365" y="405"/>
                  </a:lnTo>
                  <a:lnTo>
                    <a:pt x="1366" y="379"/>
                  </a:lnTo>
                  <a:lnTo>
                    <a:pt x="1366" y="351"/>
                  </a:lnTo>
                  <a:lnTo>
                    <a:pt x="1365" y="314"/>
                  </a:lnTo>
                  <a:lnTo>
                    <a:pt x="1363" y="281"/>
                  </a:lnTo>
                  <a:lnTo>
                    <a:pt x="1360" y="251"/>
                  </a:lnTo>
                  <a:lnTo>
                    <a:pt x="1354" y="223"/>
                  </a:lnTo>
                  <a:lnTo>
                    <a:pt x="1349" y="199"/>
                  </a:lnTo>
                  <a:lnTo>
                    <a:pt x="1343" y="176"/>
                  </a:lnTo>
                  <a:lnTo>
                    <a:pt x="1336" y="157"/>
                  </a:lnTo>
                  <a:lnTo>
                    <a:pt x="1330" y="140"/>
                  </a:lnTo>
                  <a:lnTo>
                    <a:pt x="1322" y="125"/>
                  </a:lnTo>
                  <a:lnTo>
                    <a:pt x="1316" y="113"/>
                  </a:lnTo>
                  <a:lnTo>
                    <a:pt x="1309" y="103"/>
                  </a:lnTo>
                  <a:lnTo>
                    <a:pt x="1303" y="94"/>
                  </a:lnTo>
                  <a:lnTo>
                    <a:pt x="1294" y="83"/>
                  </a:lnTo>
                  <a:lnTo>
                    <a:pt x="1290" y="80"/>
                  </a:lnTo>
                  <a:lnTo>
                    <a:pt x="1288" y="78"/>
                  </a:lnTo>
                  <a:lnTo>
                    <a:pt x="1284" y="78"/>
                  </a:lnTo>
                  <a:lnTo>
                    <a:pt x="777" y="78"/>
                  </a:lnTo>
                  <a:lnTo>
                    <a:pt x="777" y="57"/>
                  </a:lnTo>
                  <a:lnTo>
                    <a:pt x="783" y="57"/>
                  </a:lnTo>
                  <a:lnTo>
                    <a:pt x="788" y="55"/>
                  </a:lnTo>
                  <a:lnTo>
                    <a:pt x="793" y="52"/>
                  </a:lnTo>
                  <a:lnTo>
                    <a:pt x="796" y="49"/>
                  </a:lnTo>
                  <a:lnTo>
                    <a:pt x="800" y="44"/>
                  </a:lnTo>
                  <a:lnTo>
                    <a:pt x="803" y="40"/>
                  </a:lnTo>
                  <a:lnTo>
                    <a:pt x="804" y="35"/>
                  </a:lnTo>
                  <a:lnTo>
                    <a:pt x="805" y="29"/>
                  </a:lnTo>
                  <a:lnTo>
                    <a:pt x="804" y="24"/>
                  </a:lnTo>
                  <a:lnTo>
                    <a:pt x="802" y="19"/>
                  </a:lnTo>
                  <a:lnTo>
                    <a:pt x="800" y="13"/>
                  </a:lnTo>
                  <a:lnTo>
                    <a:pt x="796" y="9"/>
                  </a:lnTo>
                  <a:lnTo>
                    <a:pt x="792" y="6"/>
                  </a:lnTo>
                  <a:lnTo>
                    <a:pt x="787" y="2"/>
                  </a:lnTo>
                  <a:lnTo>
                    <a:pt x="781" y="1"/>
                  </a:lnTo>
                  <a:lnTo>
                    <a:pt x="776" y="0"/>
                  </a:lnTo>
                  <a:lnTo>
                    <a:pt x="590" y="0"/>
                  </a:lnTo>
                  <a:lnTo>
                    <a:pt x="585" y="1"/>
                  </a:lnTo>
                  <a:lnTo>
                    <a:pt x="579" y="2"/>
                  </a:lnTo>
                  <a:lnTo>
                    <a:pt x="575" y="6"/>
                  </a:lnTo>
                  <a:lnTo>
                    <a:pt x="571" y="9"/>
                  </a:lnTo>
                  <a:lnTo>
                    <a:pt x="566" y="13"/>
                  </a:lnTo>
                  <a:lnTo>
                    <a:pt x="564" y="19"/>
                  </a:lnTo>
                  <a:lnTo>
                    <a:pt x="562" y="24"/>
                  </a:lnTo>
                  <a:lnTo>
                    <a:pt x="562" y="29"/>
                  </a:lnTo>
                  <a:lnTo>
                    <a:pt x="562" y="35"/>
                  </a:lnTo>
                  <a:lnTo>
                    <a:pt x="564" y="40"/>
                  </a:lnTo>
                  <a:lnTo>
                    <a:pt x="566" y="46"/>
                  </a:lnTo>
                  <a:lnTo>
                    <a:pt x="571" y="50"/>
                  </a:lnTo>
                  <a:lnTo>
                    <a:pt x="575" y="53"/>
                  </a:lnTo>
                  <a:lnTo>
                    <a:pt x="579" y="56"/>
                  </a:lnTo>
                  <a:lnTo>
                    <a:pt x="585" y="57"/>
                  </a:lnTo>
                  <a:lnTo>
                    <a:pt x="590" y="59"/>
                  </a:lnTo>
                  <a:lnTo>
                    <a:pt x="591" y="59"/>
                  </a:lnTo>
                  <a:lnTo>
                    <a:pt x="591" y="78"/>
                  </a:lnTo>
                  <a:lnTo>
                    <a:pt x="83" y="78"/>
                  </a:lnTo>
                  <a:lnTo>
                    <a:pt x="78" y="79"/>
                  </a:lnTo>
                  <a:lnTo>
                    <a:pt x="75" y="81"/>
                  </a:lnTo>
                  <a:lnTo>
                    <a:pt x="69" y="88"/>
                  </a:lnTo>
                  <a:lnTo>
                    <a:pt x="59" y="101"/>
                  </a:lnTo>
                  <a:lnTo>
                    <a:pt x="54" y="109"/>
                  </a:lnTo>
                  <a:lnTo>
                    <a:pt x="47" y="120"/>
                  </a:lnTo>
                  <a:lnTo>
                    <a:pt x="41" y="133"/>
                  </a:lnTo>
                  <a:lnTo>
                    <a:pt x="34" y="148"/>
                  </a:lnTo>
                  <a:lnTo>
                    <a:pt x="27" y="164"/>
                  </a:lnTo>
                  <a:lnTo>
                    <a:pt x="21" y="184"/>
                  </a:lnTo>
                  <a:lnTo>
                    <a:pt x="15" y="205"/>
                  </a:lnTo>
                  <a:lnTo>
                    <a:pt x="10" y="229"/>
                  </a:lnTo>
                  <a:lnTo>
                    <a:pt x="6" y="256"/>
                  </a:lnTo>
                  <a:lnTo>
                    <a:pt x="3" y="285"/>
                  </a:lnTo>
                  <a:lnTo>
                    <a:pt x="1" y="317"/>
                  </a:lnTo>
                  <a:lnTo>
                    <a:pt x="0" y="351"/>
                  </a:lnTo>
                  <a:lnTo>
                    <a:pt x="0" y="379"/>
                  </a:lnTo>
                  <a:lnTo>
                    <a:pt x="2" y="405"/>
                  </a:lnTo>
                  <a:lnTo>
                    <a:pt x="4" y="429"/>
                  </a:lnTo>
                  <a:lnTo>
                    <a:pt x="6" y="452"/>
                  </a:lnTo>
                  <a:lnTo>
                    <a:pt x="9" y="472"/>
                  </a:lnTo>
                  <a:lnTo>
                    <a:pt x="14" y="491"/>
                  </a:lnTo>
                  <a:lnTo>
                    <a:pt x="18" y="509"/>
                  </a:lnTo>
                  <a:lnTo>
                    <a:pt x="22" y="526"/>
                  </a:lnTo>
                  <a:lnTo>
                    <a:pt x="28" y="540"/>
                  </a:lnTo>
                  <a:lnTo>
                    <a:pt x="33" y="554"/>
                  </a:lnTo>
                  <a:lnTo>
                    <a:pt x="38" y="566"/>
                  </a:lnTo>
                  <a:lnTo>
                    <a:pt x="43" y="577"/>
                  </a:lnTo>
                  <a:lnTo>
                    <a:pt x="54" y="594"/>
                  </a:lnTo>
                  <a:lnTo>
                    <a:pt x="62" y="608"/>
                  </a:lnTo>
                  <a:lnTo>
                    <a:pt x="27" y="608"/>
                  </a:lnTo>
                  <a:lnTo>
                    <a:pt x="23" y="608"/>
                  </a:lnTo>
                  <a:lnTo>
                    <a:pt x="20" y="610"/>
                  </a:lnTo>
                  <a:lnTo>
                    <a:pt x="19" y="613"/>
                  </a:lnTo>
                  <a:lnTo>
                    <a:pt x="18" y="617"/>
                  </a:lnTo>
                  <a:lnTo>
                    <a:pt x="18" y="680"/>
                  </a:lnTo>
                  <a:lnTo>
                    <a:pt x="19" y="684"/>
                  </a:lnTo>
                  <a:lnTo>
                    <a:pt x="20" y="686"/>
                  </a:lnTo>
                  <a:lnTo>
                    <a:pt x="23" y="688"/>
                  </a:lnTo>
                  <a:lnTo>
                    <a:pt x="27" y="689"/>
                  </a:lnTo>
                  <a:lnTo>
                    <a:pt x="74" y="689"/>
                  </a:lnTo>
                  <a:lnTo>
                    <a:pt x="69" y="694"/>
                  </a:lnTo>
                  <a:lnTo>
                    <a:pt x="64" y="700"/>
                  </a:lnTo>
                  <a:lnTo>
                    <a:pt x="60" y="705"/>
                  </a:lnTo>
                  <a:lnTo>
                    <a:pt x="57" y="712"/>
                  </a:lnTo>
                  <a:lnTo>
                    <a:pt x="55" y="718"/>
                  </a:lnTo>
                  <a:lnTo>
                    <a:pt x="52" y="725"/>
                  </a:lnTo>
                  <a:lnTo>
                    <a:pt x="51" y="732"/>
                  </a:lnTo>
                  <a:lnTo>
                    <a:pt x="51" y="740"/>
                  </a:lnTo>
                  <a:lnTo>
                    <a:pt x="51" y="747"/>
                  </a:lnTo>
                  <a:lnTo>
                    <a:pt x="52" y="754"/>
                  </a:lnTo>
                  <a:lnTo>
                    <a:pt x="54" y="760"/>
                  </a:lnTo>
                  <a:lnTo>
                    <a:pt x="57" y="767"/>
                  </a:lnTo>
                  <a:lnTo>
                    <a:pt x="59" y="772"/>
                  </a:lnTo>
                  <a:lnTo>
                    <a:pt x="62" y="779"/>
                  </a:lnTo>
                  <a:lnTo>
                    <a:pt x="67" y="784"/>
                  </a:lnTo>
                  <a:lnTo>
                    <a:pt x="71" y="788"/>
                  </a:lnTo>
                  <a:lnTo>
                    <a:pt x="76" y="793"/>
                  </a:lnTo>
                  <a:lnTo>
                    <a:pt x="82" y="797"/>
                  </a:lnTo>
                  <a:lnTo>
                    <a:pt x="87" y="800"/>
                  </a:lnTo>
                  <a:lnTo>
                    <a:pt x="92" y="803"/>
                  </a:lnTo>
                  <a:lnTo>
                    <a:pt x="99" y="806"/>
                  </a:lnTo>
                  <a:lnTo>
                    <a:pt x="105" y="808"/>
                  </a:lnTo>
                  <a:lnTo>
                    <a:pt x="113" y="809"/>
                  </a:lnTo>
                  <a:lnTo>
                    <a:pt x="119" y="809"/>
                  </a:lnTo>
                  <a:lnTo>
                    <a:pt x="129" y="808"/>
                  </a:lnTo>
                  <a:lnTo>
                    <a:pt x="138" y="806"/>
                  </a:lnTo>
                  <a:lnTo>
                    <a:pt x="147" y="802"/>
                  </a:lnTo>
                  <a:lnTo>
                    <a:pt x="155" y="798"/>
                  </a:lnTo>
                  <a:lnTo>
                    <a:pt x="164" y="793"/>
                  </a:lnTo>
                  <a:lnTo>
                    <a:pt x="170" y="786"/>
                  </a:lnTo>
                  <a:lnTo>
                    <a:pt x="177" y="778"/>
                  </a:lnTo>
                  <a:lnTo>
                    <a:pt x="181" y="769"/>
                  </a:lnTo>
                  <a:lnTo>
                    <a:pt x="182" y="766"/>
                  </a:lnTo>
                  <a:lnTo>
                    <a:pt x="182" y="762"/>
                  </a:lnTo>
                  <a:lnTo>
                    <a:pt x="180" y="759"/>
                  </a:lnTo>
                  <a:lnTo>
                    <a:pt x="178" y="757"/>
                  </a:lnTo>
                  <a:lnTo>
                    <a:pt x="174" y="756"/>
                  </a:lnTo>
                  <a:lnTo>
                    <a:pt x="170" y="757"/>
                  </a:lnTo>
                  <a:lnTo>
                    <a:pt x="168" y="758"/>
                  </a:lnTo>
                  <a:lnTo>
                    <a:pt x="166" y="761"/>
                  </a:lnTo>
                  <a:lnTo>
                    <a:pt x="162" y="768"/>
                  </a:lnTo>
                  <a:lnTo>
                    <a:pt x="157" y="773"/>
                  </a:lnTo>
                  <a:lnTo>
                    <a:pt x="152" y="779"/>
                  </a:lnTo>
                  <a:lnTo>
                    <a:pt x="146" y="783"/>
                  </a:lnTo>
                  <a:lnTo>
                    <a:pt x="140" y="786"/>
                  </a:lnTo>
                  <a:lnTo>
                    <a:pt x="133" y="788"/>
                  </a:lnTo>
                  <a:lnTo>
                    <a:pt x="127" y="790"/>
                  </a:lnTo>
                  <a:lnTo>
                    <a:pt x="119" y="790"/>
                  </a:lnTo>
                  <a:lnTo>
                    <a:pt x="110" y="789"/>
                  </a:lnTo>
                  <a:lnTo>
                    <a:pt x="100" y="787"/>
                  </a:lnTo>
                  <a:lnTo>
                    <a:pt x="91" y="782"/>
                  </a:lnTo>
                  <a:lnTo>
                    <a:pt x="84" y="775"/>
                  </a:lnTo>
                  <a:lnTo>
                    <a:pt x="77" y="768"/>
                  </a:lnTo>
                  <a:lnTo>
                    <a:pt x="73" y="759"/>
                  </a:lnTo>
                  <a:lnTo>
                    <a:pt x="70" y="751"/>
                  </a:lnTo>
                  <a:lnTo>
                    <a:pt x="69" y="740"/>
                  </a:lnTo>
                  <a:lnTo>
                    <a:pt x="70" y="730"/>
                  </a:lnTo>
                  <a:lnTo>
                    <a:pt x="73" y="720"/>
                  </a:lnTo>
                  <a:lnTo>
                    <a:pt x="77" y="712"/>
                  </a:lnTo>
                  <a:lnTo>
                    <a:pt x="84" y="704"/>
                  </a:lnTo>
                  <a:lnTo>
                    <a:pt x="91" y="698"/>
                  </a:lnTo>
                  <a:lnTo>
                    <a:pt x="100" y="693"/>
                  </a:lnTo>
                  <a:lnTo>
                    <a:pt x="110" y="690"/>
                  </a:lnTo>
                  <a:lnTo>
                    <a:pt x="119" y="689"/>
                  </a:lnTo>
                  <a:lnTo>
                    <a:pt x="126" y="689"/>
                  </a:lnTo>
                  <a:lnTo>
                    <a:pt x="132" y="690"/>
                  </a:lnTo>
                  <a:lnTo>
                    <a:pt x="138" y="692"/>
                  </a:lnTo>
                  <a:lnTo>
                    <a:pt x="143" y="694"/>
                  </a:lnTo>
                  <a:lnTo>
                    <a:pt x="149" y="698"/>
                  </a:lnTo>
                  <a:lnTo>
                    <a:pt x="153" y="702"/>
                  </a:lnTo>
                  <a:lnTo>
                    <a:pt x="157" y="706"/>
                  </a:lnTo>
                  <a:lnTo>
                    <a:pt x="162" y="712"/>
                  </a:lnTo>
                  <a:lnTo>
                    <a:pt x="164" y="714"/>
                  </a:lnTo>
                  <a:lnTo>
                    <a:pt x="167" y="715"/>
                  </a:lnTo>
                  <a:lnTo>
                    <a:pt x="171" y="715"/>
                  </a:lnTo>
                  <a:lnTo>
                    <a:pt x="174" y="714"/>
                  </a:lnTo>
                  <a:lnTo>
                    <a:pt x="177" y="712"/>
                  </a:lnTo>
                  <a:lnTo>
                    <a:pt x="178" y="708"/>
                  </a:lnTo>
                  <a:lnTo>
                    <a:pt x="178" y="704"/>
                  </a:lnTo>
                  <a:lnTo>
                    <a:pt x="177" y="701"/>
                  </a:lnTo>
                  <a:lnTo>
                    <a:pt x="171" y="694"/>
                  </a:lnTo>
                  <a:lnTo>
                    <a:pt x="166" y="689"/>
                  </a:lnTo>
                  <a:lnTo>
                    <a:pt x="240" y="689"/>
                  </a:lnTo>
                  <a:lnTo>
                    <a:pt x="235" y="694"/>
                  </a:lnTo>
                  <a:lnTo>
                    <a:pt x="230" y="701"/>
                  </a:lnTo>
                  <a:lnTo>
                    <a:pt x="228" y="704"/>
                  </a:lnTo>
                  <a:lnTo>
                    <a:pt x="228" y="708"/>
                  </a:lnTo>
                  <a:lnTo>
                    <a:pt x="230" y="712"/>
                  </a:lnTo>
                  <a:lnTo>
                    <a:pt x="233" y="714"/>
                  </a:lnTo>
                  <a:lnTo>
                    <a:pt x="236" y="715"/>
                  </a:lnTo>
                  <a:lnTo>
                    <a:pt x="239" y="715"/>
                  </a:lnTo>
                  <a:lnTo>
                    <a:pt x="242" y="714"/>
                  </a:lnTo>
                  <a:lnTo>
                    <a:pt x="245" y="712"/>
                  </a:lnTo>
                  <a:lnTo>
                    <a:pt x="249" y="706"/>
                  </a:lnTo>
                  <a:lnTo>
                    <a:pt x="253" y="702"/>
                  </a:lnTo>
                  <a:lnTo>
                    <a:pt x="258" y="698"/>
                  </a:lnTo>
                  <a:lnTo>
                    <a:pt x="263" y="694"/>
                  </a:lnTo>
                  <a:lnTo>
                    <a:pt x="268" y="692"/>
                  </a:lnTo>
                  <a:lnTo>
                    <a:pt x="275" y="690"/>
                  </a:lnTo>
                  <a:lnTo>
                    <a:pt x="280" y="689"/>
                  </a:lnTo>
                  <a:lnTo>
                    <a:pt x="287" y="689"/>
                  </a:lnTo>
                  <a:lnTo>
                    <a:pt x="298" y="690"/>
                  </a:lnTo>
                  <a:lnTo>
                    <a:pt x="306" y="693"/>
                  </a:lnTo>
                  <a:lnTo>
                    <a:pt x="315" y="698"/>
                  </a:lnTo>
                  <a:lnTo>
                    <a:pt x="322" y="704"/>
                  </a:lnTo>
                  <a:lnTo>
                    <a:pt x="329" y="712"/>
                  </a:lnTo>
                  <a:lnTo>
                    <a:pt x="333" y="720"/>
                  </a:lnTo>
                  <a:lnTo>
                    <a:pt x="336" y="730"/>
                  </a:lnTo>
                  <a:lnTo>
                    <a:pt x="337" y="740"/>
                  </a:lnTo>
                  <a:lnTo>
                    <a:pt x="336" y="751"/>
                  </a:lnTo>
                  <a:lnTo>
                    <a:pt x="333" y="759"/>
                  </a:lnTo>
                  <a:lnTo>
                    <a:pt x="329" y="768"/>
                  </a:lnTo>
                  <a:lnTo>
                    <a:pt x="322" y="775"/>
                  </a:lnTo>
                  <a:lnTo>
                    <a:pt x="315" y="782"/>
                  </a:lnTo>
                  <a:lnTo>
                    <a:pt x="306" y="787"/>
                  </a:lnTo>
                  <a:lnTo>
                    <a:pt x="298" y="789"/>
                  </a:lnTo>
                  <a:lnTo>
                    <a:pt x="287" y="790"/>
                  </a:lnTo>
                  <a:lnTo>
                    <a:pt x="279" y="790"/>
                  </a:lnTo>
                  <a:lnTo>
                    <a:pt x="273" y="788"/>
                  </a:lnTo>
                  <a:lnTo>
                    <a:pt x="266" y="786"/>
                  </a:lnTo>
                  <a:lnTo>
                    <a:pt x="260" y="783"/>
                  </a:lnTo>
                  <a:lnTo>
                    <a:pt x="254" y="779"/>
                  </a:lnTo>
                  <a:lnTo>
                    <a:pt x="250" y="773"/>
                  </a:lnTo>
                  <a:lnTo>
                    <a:pt x="246" y="768"/>
                  </a:lnTo>
                  <a:lnTo>
                    <a:pt x="242" y="761"/>
                  </a:lnTo>
                  <a:lnTo>
                    <a:pt x="240" y="759"/>
                  </a:lnTo>
                  <a:lnTo>
                    <a:pt x="238" y="757"/>
                  </a:lnTo>
                  <a:lnTo>
                    <a:pt x="234" y="756"/>
                  </a:lnTo>
                  <a:lnTo>
                    <a:pt x="231" y="757"/>
                  </a:lnTo>
                  <a:lnTo>
                    <a:pt x="227" y="759"/>
                  </a:lnTo>
                  <a:lnTo>
                    <a:pt x="226" y="761"/>
                  </a:lnTo>
                  <a:lnTo>
                    <a:pt x="225" y="766"/>
                  </a:lnTo>
                  <a:lnTo>
                    <a:pt x="226" y="769"/>
                  </a:lnTo>
                  <a:lnTo>
                    <a:pt x="231" y="778"/>
                  </a:lnTo>
                  <a:lnTo>
                    <a:pt x="236" y="785"/>
                  </a:lnTo>
                  <a:lnTo>
                    <a:pt x="242" y="792"/>
                  </a:lnTo>
                  <a:lnTo>
                    <a:pt x="250" y="798"/>
                  </a:lnTo>
                  <a:lnTo>
                    <a:pt x="259" y="802"/>
                  </a:lnTo>
                  <a:lnTo>
                    <a:pt x="267" y="806"/>
                  </a:lnTo>
                  <a:lnTo>
                    <a:pt x="277" y="808"/>
                  </a:lnTo>
                  <a:lnTo>
                    <a:pt x="287" y="809"/>
                  </a:lnTo>
                  <a:lnTo>
                    <a:pt x="294" y="809"/>
                  </a:lnTo>
                  <a:lnTo>
                    <a:pt x="301" y="808"/>
                  </a:lnTo>
                  <a:lnTo>
                    <a:pt x="307" y="806"/>
                  </a:lnTo>
                  <a:lnTo>
                    <a:pt x="314" y="803"/>
                  </a:lnTo>
                  <a:lnTo>
                    <a:pt x="319" y="800"/>
                  </a:lnTo>
                  <a:lnTo>
                    <a:pt x="326" y="797"/>
                  </a:lnTo>
                  <a:lnTo>
                    <a:pt x="331" y="793"/>
                  </a:lnTo>
                  <a:lnTo>
                    <a:pt x="335" y="788"/>
                  </a:lnTo>
                  <a:lnTo>
                    <a:pt x="340" y="784"/>
                  </a:lnTo>
                  <a:lnTo>
                    <a:pt x="344" y="779"/>
                  </a:lnTo>
                  <a:lnTo>
                    <a:pt x="347" y="772"/>
                  </a:lnTo>
                  <a:lnTo>
                    <a:pt x="350" y="767"/>
                  </a:lnTo>
                  <a:lnTo>
                    <a:pt x="353" y="760"/>
                  </a:lnTo>
                  <a:lnTo>
                    <a:pt x="354" y="754"/>
                  </a:lnTo>
                  <a:lnTo>
                    <a:pt x="355" y="747"/>
                  </a:lnTo>
                  <a:lnTo>
                    <a:pt x="356" y="740"/>
                  </a:lnTo>
                  <a:lnTo>
                    <a:pt x="355" y="732"/>
                  </a:lnTo>
                  <a:lnTo>
                    <a:pt x="354" y="725"/>
                  </a:lnTo>
                  <a:lnTo>
                    <a:pt x="352" y="718"/>
                  </a:lnTo>
                  <a:lnTo>
                    <a:pt x="349" y="712"/>
                  </a:lnTo>
                  <a:lnTo>
                    <a:pt x="346" y="705"/>
                  </a:lnTo>
                  <a:lnTo>
                    <a:pt x="342" y="700"/>
                  </a:lnTo>
                  <a:lnTo>
                    <a:pt x="337" y="694"/>
                  </a:lnTo>
                  <a:lnTo>
                    <a:pt x="333" y="689"/>
                  </a:lnTo>
                  <a:lnTo>
                    <a:pt x="1028" y="689"/>
                  </a:lnTo>
                  <a:lnTo>
                    <a:pt x="1023" y="694"/>
                  </a:lnTo>
                  <a:lnTo>
                    <a:pt x="1019" y="700"/>
                  </a:lnTo>
                  <a:lnTo>
                    <a:pt x="1014" y="706"/>
                  </a:lnTo>
                  <a:lnTo>
                    <a:pt x="1011" y="713"/>
                  </a:lnTo>
                  <a:lnTo>
                    <a:pt x="1008" y="720"/>
                  </a:lnTo>
                  <a:lnTo>
                    <a:pt x="1006" y="728"/>
                  </a:lnTo>
                  <a:lnTo>
                    <a:pt x="1005" y="735"/>
                  </a:lnTo>
                  <a:lnTo>
                    <a:pt x="1004" y="744"/>
                  </a:lnTo>
                  <a:lnTo>
                    <a:pt x="1005" y="752"/>
                  </a:lnTo>
                  <a:lnTo>
                    <a:pt x="1006" y="758"/>
                  </a:lnTo>
                  <a:lnTo>
                    <a:pt x="1007" y="766"/>
                  </a:lnTo>
                  <a:lnTo>
                    <a:pt x="1010" y="772"/>
                  </a:lnTo>
                  <a:lnTo>
                    <a:pt x="1012" y="779"/>
                  </a:lnTo>
                  <a:lnTo>
                    <a:pt x="1017" y="784"/>
                  </a:lnTo>
                  <a:lnTo>
                    <a:pt x="1020" y="789"/>
                  </a:lnTo>
                  <a:lnTo>
                    <a:pt x="1025" y="795"/>
                  </a:lnTo>
                  <a:lnTo>
                    <a:pt x="1030" y="800"/>
                  </a:lnTo>
                  <a:lnTo>
                    <a:pt x="1035" y="803"/>
                  </a:lnTo>
                  <a:lnTo>
                    <a:pt x="1040" y="808"/>
                  </a:lnTo>
                  <a:lnTo>
                    <a:pt x="1047" y="811"/>
                  </a:lnTo>
                  <a:lnTo>
                    <a:pt x="1053" y="813"/>
                  </a:lnTo>
                  <a:lnTo>
                    <a:pt x="1060" y="815"/>
                  </a:lnTo>
                  <a:lnTo>
                    <a:pt x="1067" y="816"/>
                  </a:lnTo>
                  <a:lnTo>
                    <a:pt x="1074" y="816"/>
                  </a:lnTo>
                  <a:lnTo>
                    <a:pt x="1085" y="815"/>
                  </a:lnTo>
                  <a:lnTo>
                    <a:pt x="1093" y="814"/>
                  </a:lnTo>
                  <a:lnTo>
                    <a:pt x="1103" y="810"/>
                  </a:lnTo>
                  <a:lnTo>
                    <a:pt x="1112" y="806"/>
                  </a:lnTo>
                  <a:lnTo>
                    <a:pt x="1119" y="800"/>
                  </a:lnTo>
                  <a:lnTo>
                    <a:pt x="1126" y="794"/>
                  </a:lnTo>
                  <a:lnTo>
                    <a:pt x="1132" y="786"/>
                  </a:lnTo>
                  <a:lnTo>
                    <a:pt x="1137" y="776"/>
                  </a:lnTo>
                  <a:lnTo>
                    <a:pt x="1139" y="773"/>
                  </a:lnTo>
                  <a:lnTo>
                    <a:pt x="1137" y="770"/>
                  </a:lnTo>
                  <a:lnTo>
                    <a:pt x="1136" y="767"/>
                  </a:lnTo>
                  <a:lnTo>
                    <a:pt x="1133" y="765"/>
                  </a:lnTo>
                  <a:lnTo>
                    <a:pt x="1130" y="764"/>
                  </a:lnTo>
                  <a:lnTo>
                    <a:pt x="1127" y="765"/>
                  </a:lnTo>
                  <a:lnTo>
                    <a:pt x="1123" y="766"/>
                  </a:lnTo>
                  <a:lnTo>
                    <a:pt x="1121" y="769"/>
                  </a:lnTo>
                  <a:lnTo>
                    <a:pt x="1117" y="775"/>
                  </a:lnTo>
                  <a:lnTo>
                    <a:pt x="1113" y="782"/>
                  </a:lnTo>
                  <a:lnTo>
                    <a:pt x="1107" y="786"/>
                  </a:lnTo>
                  <a:lnTo>
                    <a:pt x="1102" y="790"/>
                  </a:lnTo>
                  <a:lnTo>
                    <a:pt x="1095" y="794"/>
                  </a:lnTo>
                  <a:lnTo>
                    <a:pt x="1089" y="796"/>
                  </a:lnTo>
                  <a:lnTo>
                    <a:pt x="1081" y="798"/>
                  </a:lnTo>
                  <a:lnTo>
                    <a:pt x="1074" y="798"/>
                  </a:lnTo>
                  <a:lnTo>
                    <a:pt x="1068" y="798"/>
                  </a:lnTo>
                  <a:lnTo>
                    <a:pt x="1064" y="797"/>
                  </a:lnTo>
                  <a:lnTo>
                    <a:pt x="1059" y="796"/>
                  </a:lnTo>
                  <a:lnTo>
                    <a:pt x="1054" y="794"/>
                  </a:lnTo>
                  <a:lnTo>
                    <a:pt x="1045" y="789"/>
                  </a:lnTo>
                  <a:lnTo>
                    <a:pt x="1037" y="782"/>
                  </a:lnTo>
                  <a:lnTo>
                    <a:pt x="1031" y="774"/>
                  </a:lnTo>
                  <a:lnTo>
                    <a:pt x="1026" y="765"/>
                  </a:lnTo>
                  <a:lnTo>
                    <a:pt x="1023" y="755"/>
                  </a:lnTo>
                  <a:lnTo>
                    <a:pt x="1022" y="744"/>
                  </a:lnTo>
                  <a:lnTo>
                    <a:pt x="1023" y="732"/>
                  </a:lnTo>
                  <a:lnTo>
                    <a:pt x="1026" y="722"/>
                  </a:lnTo>
                  <a:lnTo>
                    <a:pt x="1031" y="713"/>
                  </a:lnTo>
                  <a:lnTo>
                    <a:pt x="1037" y="705"/>
                  </a:lnTo>
                  <a:lnTo>
                    <a:pt x="1045" y="699"/>
                  </a:lnTo>
                  <a:lnTo>
                    <a:pt x="1054" y="693"/>
                  </a:lnTo>
                  <a:lnTo>
                    <a:pt x="1059" y="691"/>
                  </a:lnTo>
                  <a:lnTo>
                    <a:pt x="1064" y="690"/>
                  </a:lnTo>
                  <a:lnTo>
                    <a:pt x="1068" y="689"/>
                  </a:lnTo>
                  <a:lnTo>
                    <a:pt x="1074" y="689"/>
                  </a:lnTo>
                  <a:lnTo>
                    <a:pt x="1081" y="689"/>
                  </a:lnTo>
                  <a:lnTo>
                    <a:pt x="1088" y="691"/>
                  </a:lnTo>
                  <a:lnTo>
                    <a:pt x="1094" y="693"/>
                  </a:lnTo>
                  <a:lnTo>
                    <a:pt x="1101" y="697"/>
                  </a:lnTo>
                  <a:lnTo>
                    <a:pt x="1106" y="701"/>
                  </a:lnTo>
                  <a:lnTo>
                    <a:pt x="1110" y="706"/>
                  </a:lnTo>
                  <a:lnTo>
                    <a:pt x="1115" y="712"/>
                  </a:lnTo>
                  <a:lnTo>
                    <a:pt x="1118" y="718"/>
                  </a:lnTo>
                  <a:lnTo>
                    <a:pt x="1120" y="721"/>
                  </a:lnTo>
                  <a:lnTo>
                    <a:pt x="1123" y="722"/>
                  </a:lnTo>
                  <a:lnTo>
                    <a:pt x="1127" y="724"/>
                  </a:lnTo>
                  <a:lnTo>
                    <a:pt x="1130" y="722"/>
                  </a:lnTo>
                  <a:lnTo>
                    <a:pt x="1133" y="720"/>
                  </a:lnTo>
                  <a:lnTo>
                    <a:pt x="1135" y="717"/>
                  </a:lnTo>
                  <a:lnTo>
                    <a:pt x="1135" y="714"/>
                  </a:lnTo>
                  <a:lnTo>
                    <a:pt x="1134" y="711"/>
                  </a:lnTo>
                  <a:lnTo>
                    <a:pt x="1132" y="704"/>
                  </a:lnTo>
                  <a:lnTo>
                    <a:pt x="1128" y="699"/>
                  </a:lnTo>
                  <a:lnTo>
                    <a:pt x="1123" y="693"/>
                  </a:lnTo>
                  <a:lnTo>
                    <a:pt x="1119" y="689"/>
                  </a:lnTo>
                  <a:lnTo>
                    <a:pt x="1199" y="689"/>
                  </a:lnTo>
                  <a:lnTo>
                    <a:pt x="1195" y="693"/>
                  </a:lnTo>
                  <a:lnTo>
                    <a:pt x="1190" y="699"/>
                  </a:lnTo>
                  <a:lnTo>
                    <a:pt x="1187" y="704"/>
                  </a:lnTo>
                  <a:lnTo>
                    <a:pt x="1185" y="711"/>
                  </a:lnTo>
                  <a:lnTo>
                    <a:pt x="1184" y="714"/>
                  </a:lnTo>
                  <a:lnTo>
                    <a:pt x="1185" y="717"/>
                  </a:lnTo>
                  <a:lnTo>
                    <a:pt x="1187" y="720"/>
                  </a:lnTo>
                  <a:lnTo>
                    <a:pt x="1189" y="722"/>
                  </a:lnTo>
                  <a:lnTo>
                    <a:pt x="1194" y="722"/>
                  </a:lnTo>
                  <a:lnTo>
                    <a:pt x="1197" y="722"/>
                  </a:lnTo>
                  <a:lnTo>
                    <a:pt x="1199" y="720"/>
                  </a:lnTo>
                  <a:lnTo>
                    <a:pt x="1201" y="717"/>
                  </a:lnTo>
                  <a:lnTo>
                    <a:pt x="1204" y="710"/>
                  </a:lnTo>
                  <a:lnTo>
                    <a:pt x="1210" y="704"/>
                  </a:lnTo>
                  <a:lnTo>
                    <a:pt x="1215" y="699"/>
                  </a:lnTo>
                  <a:lnTo>
                    <a:pt x="1221" y="695"/>
                  </a:lnTo>
                  <a:lnTo>
                    <a:pt x="1227" y="692"/>
                  </a:lnTo>
                  <a:lnTo>
                    <a:pt x="1234" y="690"/>
                  </a:lnTo>
                  <a:lnTo>
                    <a:pt x="1240" y="689"/>
                  </a:lnTo>
                  <a:lnTo>
                    <a:pt x="1245" y="689"/>
                  </a:lnTo>
                  <a:lnTo>
                    <a:pt x="1251" y="689"/>
                  </a:lnTo>
                  <a:lnTo>
                    <a:pt x="1256" y="690"/>
                  </a:lnTo>
                  <a:lnTo>
                    <a:pt x="1262" y="691"/>
                  </a:lnTo>
                  <a:lnTo>
                    <a:pt x="1266" y="693"/>
                  </a:lnTo>
                  <a:lnTo>
                    <a:pt x="1275" y="699"/>
                  </a:lnTo>
                  <a:lnTo>
                    <a:pt x="1282" y="705"/>
                  </a:lnTo>
                  <a:lnTo>
                    <a:pt x="1289" y="713"/>
                  </a:lnTo>
                  <a:lnTo>
                    <a:pt x="1294" y="722"/>
                  </a:lnTo>
                  <a:lnTo>
                    <a:pt x="1297" y="732"/>
                  </a:lnTo>
                  <a:lnTo>
                    <a:pt x="1298" y="744"/>
                  </a:lnTo>
                  <a:lnTo>
                    <a:pt x="1297" y="755"/>
                  </a:lnTo>
                  <a:lnTo>
                    <a:pt x="1294" y="765"/>
                  </a:lnTo>
                  <a:lnTo>
                    <a:pt x="1289" y="774"/>
                  </a:lnTo>
                  <a:lnTo>
                    <a:pt x="1282" y="782"/>
                  </a:lnTo>
                  <a:lnTo>
                    <a:pt x="1275" y="789"/>
                  </a:lnTo>
                  <a:lnTo>
                    <a:pt x="1266" y="794"/>
                  </a:lnTo>
                  <a:lnTo>
                    <a:pt x="1262" y="796"/>
                  </a:lnTo>
                  <a:lnTo>
                    <a:pt x="1256" y="797"/>
                  </a:lnTo>
                  <a:lnTo>
                    <a:pt x="1251" y="798"/>
                  </a:lnTo>
                  <a:lnTo>
                    <a:pt x="1245" y="798"/>
                  </a:lnTo>
                  <a:lnTo>
                    <a:pt x="1239" y="798"/>
                  </a:lnTo>
                  <a:lnTo>
                    <a:pt x="1231" y="796"/>
                  </a:lnTo>
                  <a:lnTo>
                    <a:pt x="1225" y="794"/>
                  </a:lnTo>
                  <a:lnTo>
                    <a:pt x="1218" y="790"/>
                  </a:lnTo>
                  <a:lnTo>
                    <a:pt x="1213" y="786"/>
                  </a:lnTo>
                  <a:lnTo>
                    <a:pt x="1208" y="781"/>
                  </a:lnTo>
                  <a:lnTo>
                    <a:pt x="1203" y="775"/>
                  </a:lnTo>
                  <a:lnTo>
                    <a:pt x="1200" y="769"/>
                  </a:lnTo>
                  <a:lnTo>
                    <a:pt x="1198" y="767"/>
                  </a:lnTo>
                  <a:lnTo>
                    <a:pt x="1196" y="765"/>
                  </a:lnTo>
                  <a:lnTo>
                    <a:pt x="1191" y="764"/>
                  </a:lnTo>
                  <a:lnTo>
                    <a:pt x="1188" y="765"/>
                  </a:lnTo>
                  <a:lnTo>
                    <a:pt x="1185" y="767"/>
                  </a:lnTo>
                  <a:lnTo>
                    <a:pt x="1184" y="770"/>
                  </a:lnTo>
                  <a:lnTo>
                    <a:pt x="1183" y="773"/>
                  </a:lnTo>
                  <a:lnTo>
                    <a:pt x="1184" y="776"/>
                  </a:lnTo>
                  <a:lnTo>
                    <a:pt x="1188" y="785"/>
                  </a:lnTo>
                  <a:lnTo>
                    <a:pt x="1194" y="793"/>
                  </a:lnTo>
                  <a:lnTo>
                    <a:pt x="1201" y="799"/>
                  </a:lnTo>
                  <a:lnTo>
                    <a:pt x="1209" y="806"/>
                  </a:lnTo>
                  <a:lnTo>
                    <a:pt x="1217" y="810"/>
                  </a:lnTo>
                  <a:lnTo>
                    <a:pt x="1226" y="813"/>
                  </a:lnTo>
                  <a:lnTo>
                    <a:pt x="1236" y="815"/>
                  </a:lnTo>
                  <a:lnTo>
                    <a:pt x="1245" y="816"/>
                  </a:lnTo>
                  <a:lnTo>
                    <a:pt x="1253" y="816"/>
                  </a:lnTo>
                  <a:lnTo>
                    <a:pt x="1259" y="815"/>
                  </a:lnTo>
                  <a:lnTo>
                    <a:pt x="1267" y="813"/>
                  </a:lnTo>
                  <a:lnTo>
                    <a:pt x="1274" y="811"/>
                  </a:lnTo>
                  <a:lnTo>
                    <a:pt x="1279" y="808"/>
                  </a:lnTo>
                  <a:lnTo>
                    <a:pt x="1285" y="803"/>
                  </a:lnTo>
                  <a:lnTo>
                    <a:pt x="1291" y="800"/>
                  </a:lnTo>
                  <a:lnTo>
                    <a:pt x="1295" y="795"/>
                  </a:lnTo>
                  <a:lnTo>
                    <a:pt x="1299" y="789"/>
                  </a:lnTo>
                  <a:lnTo>
                    <a:pt x="1304" y="784"/>
                  </a:lnTo>
                  <a:lnTo>
                    <a:pt x="1307" y="779"/>
                  </a:lnTo>
                  <a:lnTo>
                    <a:pt x="1310" y="772"/>
                  </a:lnTo>
                  <a:lnTo>
                    <a:pt x="1312" y="766"/>
                  </a:lnTo>
                  <a:lnTo>
                    <a:pt x="1315" y="758"/>
                  </a:lnTo>
                  <a:lnTo>
                    <a:pt x="1316" y="752"/>
                  </a:lnTo>
                  <a:lnTo>
                    <a:pt x="1316" y="744"/>
                  </a:lnTo>
                  <a:lnTo>
                    <a:pt x="1316" y="735"/>
                  </a:lnTo>
                  <a:lnTo>
                    <a:pt x="1315" y="728"/>
                  </a:lnTo>
                  <a:lnTo>
                    <a:pt x="1312" y="720"/>
                  </a:lnTo>
                  <a:lnTo>
                    <a:pt x="1309" y="713"/>
                  </a:lnTo>
                  <a:lnTo>
                    <a:pt x="1306" y="706"/>
                  </a:lnTo>
                  <a:lnTo>
                    <a:pt x="1302" y="700"/>
                  </a:lnTo>
                  <a:lnTo>
                    <a:pt x="1296" y="694"/>
                  </a:lnTo>
                  <a:lnTo>
                    <a:pt x="1292" y="689"/>
                  </a:lnTo>
                  <a:lnTo>
                    <a:pt x="1339" y="689"/>
                  </a:lnTo>
                  <a:lnTo>
                    <a:pt x="1343" y="688"/>
                  </a:lnTo>
                  <a:lnTo>
                    <a:pt x="1346" y="686"/>
                  </a:lnTo>
                  <a:lnTo>
                    <a:pt x="1348" y="684"/>
                  </a:lnTo>
                  <a:lnTo>
                    <a:pt x="1348" y="680"/>
                  </a:lnTo>
                  <a:lnTo>
                    <a:pt x="1348" y="617"/>
                  </a:lnTo>
                  <a:lnTo>
                    <a:pt x="1348" y="613"/>
                  </a:lnTo>
                  <a:lnTo>
                    <a:pt x="1346" y="610"/>
                  </a:lnTo>
                  <a:lnTo>
                    <a:pt x="1343" y="608"/>
                  </a:lnTo>
                  <a:lnTo>
                    <a:pt x="1339" y="608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6" name="Freeform 13"/>
            <p:cNvSpPr>
              <a:spLocks noEditPoints="1"/>
            </p:cNvSpPr>
            <p:nvPr/>
          </p:nvSpPr>
          <p:spPr bwMode="auto">
            <a:xfrm>
              <a:off x="374651" y="3421063"/>
              <a:ext cx="87313" cy="112713"/>
            </a:xfrm>
            <a:custGeom>
              <a:avLst/>
              <a:gdLst>
                <a:gd name="T0" fmla="*/ 63 w 164"/>
                <a:gd name="T1" fmla="*/ 48 h 213"/>
                <a:gd name="T2" fmla="*/ 32 w 164"/>
                <a:gd name="T3" fmla="*/ 95 h 213"/>
                <a:gd name="T4" fmla="*/ 23 w 164"/>
                <a:gd name="T5" fmla="*/ 116 h 213"/>
                <a:gd name="T6" fmla="*/ 19 w 164"/>
                <a:gd name="T7" fmla="*/ 128 h 213"/>
                <a:gd name="T8" fmla="*/ 18 w 164"/>
                <a:gd name="T9" fmla="*/ 140 h 213"/>
                <a:gd name="T10" fmla="*/ 22 w 164"/>
                <a:gd name="T11" fmla="*/ 152 h 213"/>
                <a:gd name="T12" fmla="*/ 26 w 164"/>
                <a:gd name="T13" fmla="*/ 163 h 213"/>
                <a:gd name="T14" fmla="*/ 33 w 164"/>
                <a:gd name="T15" fmla="*/ 173 h 213"/>
                <a:gd name="T16" fmla="*/ 42 w 164"/>
                <a:gd name="T17" fmla="*/ 181 h 213"/>
                <a:gd name="T18" fmla="*/ 52 w 164"/>
                <a:gd name="T19" fmla="*/ 188 h 213"/>
                <a:gd name="T20" fmla="*/ 64 w 164"/>
                <a:gd name="T21" fmla="*/ 192 h 213"/>
                <a:gd name="T22" fmla="*/ 76 w 164"/>
                <a:gd name="T23" fmla="*/ 194 h 213"/>
                <a:gd name="T24" fmla="*/ 89 w 164"/>
                <a:gd name="T25" fmla="*/ 194 h 213"/>
                <a:gd name="T26" fmla="*/ 101 w 164"/>
                <a:gd name="T27" fmla="*/ 192 h 213"/>
                <a:gd name="T28" fmla="*/ 112 w 164"/>
                <a:gd name="T29" fmla="*/ 188 h 213"/>
                <a:gd name="T30" fmla="*/ 122 w 164"/>
                <a:gd name="T31" fmla="*/ 181 h 213"/>
                <a:gd name="T32" fmla="*/ 131 w 164"/>
                <a:gd name="T33" fmla="*/ 173 h 213"/>
                <a:gd name="T34" fmla="*/ 138 w 164"/>
                <a:gd name="T35" fmla="*/ 163 h 213"/>
                <a:gd name="T36" fmla="*/ 143 w 164"/>
                <a:gd name="T37" fmla="*/ 152 h 213"/>
                <a:gd name="T38" fmla="*/ 146 w 164"/>
                <a:gd name="T39" fmla="*/ 140 h 213"/>
                <a:gd name="T40" fmla="*/ 146 w 164"/>
                <a:gd name="T41" fmla="*/ 128 h 213"/>
                <a:gd name="T42" fmla="*/ 141 w 164"/>
                <a:gd name="T43" fmla="*/ 116 h 213"/>
                <a:gd name="T44" fmla="*/ 132 w 164"/>
                <a:gd name="T45" fmla="*/ 95 h 213"/>
                <a:gd name="T46" fmla="*/ 101 w 164"/>
                <a:gd name="T47" fmla="*/ 48 h 213"/>
                <a:gd name="T48" fmla="*/ 82 w 164"/>
                <a:gd name="T49" fmla="*/ 213 h 213"/>
                <a:gd name="T50" fmla="*/ 66 w 164"/>
                <a:gd name="T51" fmla="*/ 211 h 213"/>
                <a:gd name="T52" fmla="*/ 51 w 164"/>
                <a:gd name="T53" fmla="*/ 207 h 213"/>
                <a:gd name="T54" fmla="*/ 37 w 164"/>
                <a:gd name="T55" fmla="*/ 200 h 213"/>
                <a:gd name="T56" fmla="*/ 25 w 164"/>
                <a:gd name="T57" fmla="*/ 190 h 213"/>
                <a:gd name="T58" fmla="*/ 14 w 164"/>
                <a:gd name="T59" fmla="*/ 178 h 213"/>
                <a:gd name="T60" fmla="*/ 6 w 164"/>
                <a:gd name="T61" fmla="*/ 164 h 213"/>
                <a:gd name="T62" fmla="*/ 2 w 164"/>
                <a:gd name="T63" fmla="*/ 150 h 213"/>
                <a:gd name="T64" fmla="*/ 0 w 164"/>
                <a:gd name="T65" fmla="*/ 134 h 213"/>
                <a:gd name="T66" fmla="*/ 3 w 164"/>
                <a:gd name="T67" fmla="*/ 116 h 213"/>
                <a:gd name="T68" fmla="*/ 11 w 164"/>
                <a:gd name="T69" fmla="*/ 97 h 213"/>
                <a:gd name="T70" fmla="*/ 35 w 164"/>
                <a:gd name="T71" fmla="*/ 56 h 213"/>
                <a:gd name="T72" fmla="*/ 76 w 164"/>
                <a:gd name="T73" fmla="*/ 2 h 213"/>
                <a:gd name="T74" fmla="*/ 82 w 164"/>
                <a:gd name="T75" fmla="*/ 0 h 213"/>
                <a:gd name="T76" fmla="*/ 89 w 164"/>
                <a:gd name="T77" fmla="*/ 2 h 213"/>
                <a:gd name="T78" fmla="*/ 130 w 164"/>
                <a:gd name="T79" fmla="*/ 56 h 213"/>
                <a:gd name="T80" fmla="*/ 153 w 164"/>
                <a:gd name="T81" fmla="*/ 97 h 213"/>
                <a:gd name="T82" fmla="*/ 161 w 164"/>
                <a:gd name="T83" fmla="*/ 116 h 213"/>
                <a:gd name="T84" fmla="*/ 164 w 164"/>
                <a:gd name="T85" fmla="*/ 134 h 213"/>
                <a:gd name="T86" fmla="*/ 162 w 164"/>
                <a:gd name="T87" fmla="*/ 150 h 213"/>
                <a:gd name="T88" fmla="*/ 158 w 164"/>
                <a:gd name="T89" fmla="*/ 164 h 213"/>
                <a:gd name="T90" fmla="*/ 150 w 164"/>
                <a:gd name="T91" fmla="*/ 178 h 213"/>
                <a:gd name="T92" fmla="*/ 139 w 164"/>
                <a:gd name="T93" fmla="*/ 190 h 213"/>
                <a:gd name="T94" fmla="*/ 127 w 164"/>
                <a:gd name="T95" fmla="*/ 200 h 213"/>
                <a:gd name="T96" fmla="*/ 113 w 164"/>
                <a:gd name="T97" fmla="*/ 207 h 213"/>
                <a:gd name="T98" fmla="*/ 98 w 164"/>
                <a:gd name="T99" fmla="*/ 211 h 213"/>
                <a:gd name="T100" fmla="*/ 82 w 164"/>
                <a:gd name="T101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13">
                  <a:moveTo>
                    <a:pt x="82" y="23"/>
                  </a:moveTo>
                  <a:lnTo>
                    <a:pt x="63" y="48"/>
                  </a:lnTo>
                  <a:lnTo>
                    <a:pt x="42" y="79"/>
                  </a:lnTo>
                  <a:lnTo>
                    <a:pt x="32" y="95"/>
                  </a:lnTo>
                  <a:lnTo>
                    <a:pt x="25" y="109"/>
                  </a:lnTo>
                  <a:lnTo>
                    <a:pt x="23" y="116"/>
                  </a:lnTo>
                  <a:lnTo>
                    <a:pt x="21" y="123"/>
                  </a:lnTo>
                  <a:lnTo>
                    <a:pt x="19" y="128"/>
                  </a:lnTo>
                  <a:lnTo>
                    <a:pt x="18" y="134"/>
                  </a:lnTo>
                  <a:lnTo>
                    <a:pt x="18" y="140"/>
                  </a:lnTo>
                  <a:lnTo>
                    <a:pt x="19" y="146"/>
                  </a:lnTo>
                  <a:lnTo>
                    <a:pt x="22" y="152"/>
                  </a:lnTo>
                  <a:lnTo>
                    <a:pt x="24" y="158"/>
                  </a:lnTo>
                  <a:lnTo>
                    <a:pt x="26" y="163"/>
                  </a:lnTo>
                  <a:lnTo>
                    <a:pt x="29" y="168"/>
                  </a:lnTo>
                  <a:lnTo>
                    <a:pt x="33" y="173"/>
                  </a:lnTo>
                  <a:lnTo>
                    <a:pt x="37" y="177"/>
                  </a:lnTo>
                  <a:lnTo>
                    <a:pt x="42" y="181"/>
                  </a:lnTo>
                  <a:lnTo>
                    <a:pt x="46" y="184"/>
                  </a:lnTo>
                  <a:lnTo>
                    <a:pt x="52" y="188"/>
                  </a:lnTo>
                  <a:lnTo>
                    <a:pt x="57" y="190"/>
                  </a:lnTo>
                  <a:lnTo>
                    <a:pt x="64" y="192"/>
                  </a:lnTo>
                  <a:lnTo>
                    <a:pt x="69" y="194"/>
                  </a:lnTo>
                  <a:lnTo>
                    <a:pt x="76" y="194"/>
                  </a:lnTo>
                  <a:lnTo>
                    <a:pt x="82" y="195"/>
                  </a:lnTo>
                  <a:lnTo>
                    <a:pt x="89" y="194"/>
                  </a:lnTo>
                  <a:lnTo>
                    <a:pt x="95" y="194"/>
                  </a:lnTo>
                  <a:lnTo>
                    <a:pt x="101" y="192"/>
                  </a:lnTo>
                  <a:lnTo>
                    <a:pt x="107" y="190"/>
                  </a:lnTo>
                  <a:lnTo>
                    <a:pt x="112" y="188"/>
                  </a:lnTo>
                  <a:lnTo>
                    <a:pt x="118" y="184"/>
                  </a:lnTo>
                  <a:lnTo>
                    <a:pt x="122" y="181"/>
                  </a:lnTo>
                  <a:lnTo>
                    <a:pt x="127" y="177"/>
                  </a:lnTo>
                  <a:lnTo>
                    <a:pt x="131" y="173"/>
                  </a:lnTo>
                  <a:lnTo>
                    <a:pt x="135" y="168"/>
                  </a:lnTo>
                  <a:lnTo>
                    <a:pt x="138" y="163"/>
                  </a:lnTo>
                  <a:lnTo>
                    <a:pt x="140" y="158"/>
                  </a:lnTo>
                  <a:lnTo>
                    <a:pt x="143" y="152"/>
                  </a:lnTo>
                  <a:lnTo>
                    <a:pt x="145" y="146"/>
                  </a:lnTo>
                  <a:lnTo>
                    <a:pt x="146" y="140"/>
                  </a:lnTo>
                  <a:lnTo>
                    <a:pt x="146" y="134"/>
                  </a:lnTo>
                  <a:lnTo>
                    <a:pt x="146" y="128"/>
                  </a:lnTo>
                  <a:lnTo>
                    <a:pt x="144" y="123"/>
                  </a:lnTo>
                  <a:lnTo>
                    <a:pt x="141" y="116"/>
                  </a:lnTo>
                  <a:lnTo>
                    <a:pt x="139" y="109"/>
                  </a:lnTo>
                  <a:lnTo>
                    <a:pt x="132" y="95"/>
                  </a:lnTo>
                  <a:lnTo>
                    <a:pt x="122" y="79"/>
                  </a:lnTo>
                  <a:lnTo>
                    <a:pt x="101" y="48"/>
                  </a:lnTo>
                  <a:lnTo>
                    <a:pt x="82" y="23"/>
                  </a:lnTo>
                  <a:close/>
                  <a:moveTo>
                    <a:pt x="82" y="213"/>
                  </a:moveTo>
                  <a:lnTo>
                    <a:pt x="73" y="213"/>
                  </a:lnTo>
                  <a:lnTo>
                    <a:pt x="66" y="211"/>
                  </a:lnTo>
                  <a:lnTo>
                    <a:pt x="58" y="209"/>
                  </a:lnTo>
                  <a:lnTo>
                    <a:pt x="51" y="207"/>
                  </a:lnTo>
                  <a:lnTo>
                    <a:pt x="43" y="204"/>
                  </a:lnTo>
                  <a:lnTo>
                    <a:pt x="37" y="200"/>
                  </a:lnTo>
                  <a:lnTo>
                    <a:pt x="30" y="195"/>
                  </a:lnTo>
                  <a:lnTo>
                    <a:pt x="25" y="190"/>
                  </a:lnTo>
                  <a:lnTo>
                    <a:pt x="19" y="184"/>
                  </a:lnTo>
                  <a:lnTo>
                    <a:pt x="14" y="178"/>
                  </a:lnTo>
                  <a:lnTo>
                    <a:pt x="11" y="172"/>
                  </a:lnTo>
                  <a:lnTo>
                    <a:pt x="6" y="164"/>
                  </a:lnTo>
                  <a:lnTo>
                    <a:pt x="4" y="158"/>
                  </a:lnTo>
                  <a:lnTo>
                    <a:pt x="2" y="150"/>
                  </a:lnTo>
                  <a:lnTo>
                    <a:pt x="1" y="141"/>
                  </a:lnTo>
                  <a:lnTo>
                    <a:pt x="0" y="134"/>
                  </a:lnTo>
                  <a:lnTo>
                    <a:pt x="1" y="125"/>
                  </a:lnTo>
                  <a:lnTo>
                    <a:pt x="3" y="116"/>
                  </a:lnTo>
                  <a:lnTo>
                    <a:pt x="6" y="107"/>
                  </a:lnTo>
                  <a:lnTo>
                    <a:pt x="11" y="97"/>
                  </a:lnTo>
                  <a:lnTo>
                    <a:pt x="22" y="77"/>
                  </a:lnTo>
                  <a:lnTo>
                    <a:pt x="35" y="56"/>
                  </a:lnTo>
                  <a:lnTo>
                    <a:pt x="60" y="21"/>
                  </a:lnTo>
                  <a:lnTo>
                    <a:pt x="76" y="2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89" y="2"/>
                  </a:lnTo>
                  <a:lnTo>
                    <a:pt x="104" y="21"/>
                  </a:lnTo>
                  <a:lnTo>
                    <a:pt x="130" y="56"/>
                  </a:lnTo>
                  <a:lnTo>
                    <a:pt x="143" y="77"/>
                  </a:lnTo>
                  <a:lnTo>
                    <a:pt x="153" y="97"/>
                  </a:lnTo>
                  <a:lnTo>
                    <a:pt x="158" y="107"/>
                  </a:lnTo>
                  <a:lnTo>
                    <a:pt x="161" y="116"/>
                  </a:lnTo>
                  <a:lnTo>
                    <a:pt x="163" y="125"/>
                  </a:lnTo>
                  <a:lnTo>
                    <a:pt x="164" y="134"/>
                  </a:lnTo>
                  <a:lnTo>
                    <a:pt x="163" y="141"/>
                  </a:lnTo>
                  <a:lnTo>
                    <a:pt x="162" y="150"/>
                  </a:lnTo>
                  <a:lnTo>
                    <a:pt x="160" y="158"/>
                  </a:lnTo>
                  <a:lnTo>
                    <a:pt x="158" y="164"/>
                  </a:lnTo>
                  <a:lnTo>
                    <a:pt x="153" y="172"/>
                  </a:lnTo>
                  <a:lnTo>
                    <a:pt x="150" y="178"/>
                  </a:lnTo>
                  <a:lnTo>
                    <a:pt x="145" y="184"/>
                  </a:lnTo>
                  <a:lnTo>
                    <a:pt x="139" y="190"/>
                  </a:lnTo>
                  <a:lnTo>
                    <a:pt x="134" y="195"/>
                  </a:lnTo>
                  <a:lnTo>
                    <a:pt x="127" y="200"/>
                  </a:lnTo>
                  <a:lnTo>
                    <a:pt x="121" y="204"/>
                  </a:lnTo>
                  <a:lnTo>
                    <a:pt x="113" y="207"/>
                  </a:lnTo>
                  <a:lnTo>
                    <a:pt x="106" y="209"/>
                  </a:lnTo>
                  <a:lnTo>
                    <a:pt x="98" y="211"/>
                  </a:lnTo>
                  <a:lnTo>
                    <a:pt x="91" y="213"/>
                  </a:lnTo>
                  <a:lnTo>
                    <a:pt x="82" y="213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7" name="Freeform 14"/>
            <p:cNvSpPr>
              <a:spLocks noEditPoints="1"/>
            </p:cNvSpPr>
            <p:nvPr/>
          </p:nvSpPr>
          <p:spPr bwMode="auto">
            <a:xfrm>
              <a:off x="107951" y="3635376"/>
              <a:ext cx="111125" cy="39688"/>
            </a:xfrm>
            <a:custGeom>
              <a:avLst/>
              <a:gdLst>
                <a:gd name="T0" fmla="*/ 32 w 208"/>
                <a:gd name="T1" fmla="*/ 18 h 76"/>
                <a:gd name="T2" fmla="*/ 26 w 208"/>
                <a:gd name="T3" fmla="*/ 21 h 76"/>
                <a:gd name="T4" fmla="*/ 21 w 208"/>
                <a:gd name="T5" fmla="*/ 27 h 76"/>
                <a:gd name="T6" fmla="*/ 18 w 208"/>
                <a:gd name="T7" fmla="*/ 34 h 76"/>
                <a:gd name="T8" fmla="*/ 18 w 208"/>
                <a:gd name="T9" fmla="*/ 42 h 76"/>
                <a:gd name="T10" fmla="*/ 21 w 208"/>
                <a:gd name="T11" fmla="*/ 49 h 76"/>
                <a:gd name="T12" fmla="*/ 26 w 208"/>
                <a:gd name="T13" fmla="*/ 55 h 76"/>
                <a:gd name="T14" fmla="*/ 32 w 208"/>
                <a:gd name="T15" fmla="*/ 58 h 76"/>
                <a:gd name="T16" fmla="*/ 173 w 208"/>
                <a:gd name="T17" fmla="*/ 58 h 76"/>
                <a:gd name="T18" fmla="*/ 179 w 208"/>
                <a:gd name="T19" fmla="*/ 57 h 76"/>
                <a:gd name="T20" fmla="*/ 185 w 208"/>
                <a:gd name="T21" fmla="*/ 53 h 76"/>
                <a:gd name="T22" fmla="*/ 189 w 208"/>
                <a:gd name="T23" fmla="*/ 46 h 76"/>
                <a:gd name="T24" fmla="*/ 190 w 208"/>
                <a:gd name="T25" fmla="*/ 39 h 76"/>
                <a:gd name="T26" fmla="*/ 189 w 208"/>
                <a:gd name="T27" fmla="*/ 30 h 76"/>
                <a:gd name="T28" fmla="*/ 185 w 208"/>
                <a:gd name="T29" fmla="*/ 23 h 76"/>
                <a:gd name="T30" fmla="*/ 179 w 208"/>
                <a:gd name="T31" fmla="*/ 19 h 76"/>
                <a:gd name="T32" fmla="*/ 173 w 208"/>
                <a:gd name="T33" fmla="*/ 18 h 76"/>
                <a:gd name="T34" fmla="*/ 173 w 208"/>
                <a:gd name="T35" fmla="*/ 76 h 76"/>
                <a:gd name="T36" fmla="*/ 28 w 208"/>
                <a:gd name="T37" fmla="*/ 75 h 76"/>
                <a:gd name="T38" fmla="*/ 16 w 208"/>
                <a:gd name="T39" fmla="*/ 70 h 76"/>
                <a:gd name="T40" fmla="*/ 6 w 208"/>
                <a:gd name="T41" fmla="*/ 59 h 76"/>
                <a:gd name="T42" fmla="*/ 1 w 208"/>
                <a:gd name="T43" fmla="*/ 46 h 76"/>
                <a:gd name="T44" fmla="*/ 1 w 208"/>
                <a:gd name="T45" fmla="*/ 30 h 76"/>
                <a:gd name="T46" fmla="*/ 6 w 208"/>
                <a:gd name="T47" fmla="*/ 17 h 76"/>
                <a:gd name="T48" fmla="*/ 16 w 208"/>
                <a:gd name="T49" fmla="*/ 6 h 76"/>
                <a:gd name="T50" fmla="*/ 28 w 208"/>
                <a:gd name="T51" fmla="*/ 1 h 76"/>
                <a:gd name="T52" fmla="*/ 173 w 208"/>
                <a:gd name="T53" fmla="*/ 0 h 76"/>
                <a:gd name="T54" fmla="*/ 187 w 208"/>
                <a:gd name="T55" fmla="*/ 3 h 76"/>
                <a:gd name="T56" fmla="*/ 197 w 208"/>
                <a:gd name="T57" fmla="*/ 10 h 76"/>
                <a:gd name="T58" fmla="*/ 205 w 208"/>
                <a:gd name="T59" fmla="*/ 23 h 76"/>
                <a:gd name="T60" fmla="*/ 208 w 208"/>
                <a:gd name="T61" fmla="*/ 39 h 76"/>
                <a:gd name="T62" fmla="*/ 205 w 208"/>
                <a:gd name="T63" fmla="*/ 53 h 76"/>
                <a:gd name="T64" fmla="*/ 197 w 208"/>
                <a:gd name="T65" fmla="*/ 66 h 76"/>
                <a:gd name="T66" fmla="*/ 187 w 208"/>
                <a:gd name="T67" fmla="*/ 73 h 76"/>
                <a:gd name="T68" fmla="*/ 173 w 208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6">
                  <a:moveTo>
                    <a:pt x="36" y="18"/>
                  </a:moveTo>
                  <a:lnTo>
                    <a:pt x="32" y="18"/>
                  </a:lnTo>
                  <a:lnTo>
                    <a:pt x="29" y="19"/>
                  </a:lnTo>
                  <a:lnTo>
                    <a:pt x="26" y="21"/>
                  </a:lnTo>
                  <a:lnTo>
                    <a:pt x="24" y="23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8" y="34"/>
                  </a:lnTo>
                  <a:lnTo>
                    <a:pt x="18" y="39"/>
                  </a:lnTo>
                  <a:lnTo>
                    <a:pt x="18" y="42"/>
                  </a:lnTo>
                  <a:lnTo>
                    <a:pt x="19" y="46"/>
                  </a:lnTo>
                  <a:lnTo>
                    <a:pt x="21" y="49"/>
                  </a:lnTo>
                  <a:lnTo>
                    <a:pt x="24" y="53"/>
                  </a:lnTo>
                  <a:lnTo>
                    <a:pt x="26" y="55"/>
                  </a:lnTo>
                  <a:lnTo>
                    <a:pt x="29" y="57"/>
                  </a:lnTo>
                  <a:lnTo>
                    <a:pt x="32" y="58"/>
                  </a:lnTo>
                  <a:lnTo>
                    <a:pt x="36" y="58"/>
                  </a:lnTo>
                  <a:lnTo>
                    <a:pt x="173" y="58"/>
                  </a:lnTo>
                  <a:lnTo>
                    <a:pt x="177" y="58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49"/>
                  </a:lnTo>
                  <a:lnTo>
                    <a:pt x="189" y="46"/>
                  </a:lnTo>
                  <a:lnTo>
                    <a:pt x="190" y="42"/>
                  </a:lnTo>
                  <a:lnTo>
                    <a:pt x="190" y="39"/>
                  </a:lnTo>
                  <a:lnTo>
                    <a:pt x="190" y="34"/>
                  </a:lnTo>
                  <a:lnTo>
                    <a:pt x="189" y="30"/>
                  </a:lnTo>
                  <a:lnTo>
                    <a:pt x="187" y="27"/>
                  </a:lnTo>
                  <a:lnTo>
                    <a:pt x="185" y="23"/>
                  </a:lnTo>
                  <a:lnTo>
                    <a:pt x="182" y="21"/>
                  </a:lnTo>
                  <a:lnTo>
                    <a:pt x="179" y="19"/>
                  </a:lnTo>
                  <a:lnTo>
                    <a:pt x="177" y="18"/>
                  </a:lnTo>
                  <a:lnTo>
                    <a:pt x="173" y="18"/>
                  </a:lnTo>
                  <a:lnTo>
                    <a:pt x="36" y="18"/>
                  </a:lnTo>
                  <a:close/>
                  <a:moveTo>
                    <a:pt x="173" y="76"/>
                  </a:moveTo>
                  <a:lnTo>
                    <a:pt x="36" y="76"/>
                  </a:lnTo>
                  <a:lnTo>
                    <a:pt x="28" y="75"/>
                  </a:lnTo>
                  <a:lnTo>
                    <a:pt x="21" y="73"/>
                  </a:lnTo>
                  <a:lnTo>
                    <a:pt x="16" y="70"/>
                  </a:lnTo>
                  <a:lnTo>
                    <a:pt x="11" y="66"/>
                  </a:lnTo>
                  <a:lnTo>
                    <a:pt x="6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9"/>
                  </a:lnTo>
                  <a:lnTo>
                    <a:pt x="1" y="30"/>
                  </a:lnTo>
                  <a:lnTo>
                    <a:pt x="3" y="23"/>
                  </a:lnTo>
                  <a:lnTo>
                    <a:pt x="6" y="17"/>
                  </a:lnTo>
                  <a:lnTo>
                    <a:pt x="11" y="10"/>
                  </a:lnTo>
                  <a:lnTo>
                    <a:pt x="16" y="6"/>
                  </a:lnTo>
                  <a:lnTo>
                    <a:pt x="21" y="3"/>
                  </a:lnTo>
                  <a:lnTo>
                    <a:pt x="28" y="1"/>
                  </a:lnTo>
                  <a:lnTo>
                    <a:pt x="36" y="0"/>
                  </a:lnTo>
                  <a:lnTo>
                    <a:pt x="173" y="0"/>
                  </a:lnTo>
                  <a:lnTo>
                    <a:pt x="180" y="1"/>
                  </a:lnTo>
                  <a:lnTo>
                    <a:pt x="187" y="3"/>
                  </a:lnTo>
                  <a:lnTo>
                    <a:pt x="193" y="6"/>
                  </a:lnTo>
                  <a:lnTo>
                    <a:pt x="197" y="10"/>
                  </a:lnTo>
                  <a:lnTo>
                    <a:pt x="202" y="17"/>
                  </a:lnTo>
                  <a:lnTo>
                    <a:pt x="205" y="23"/>
                  </a:lnTo>
                  <a:lnTo>
                    <a:pt x="207" y="30"/>
                  </a:lnTo>
                  <a:lnTo>
                    <a:pt x="208" y="39"/>
                  </a:lnTo>
                  <a:lnTo>
                    <a:pt x="207" y="46"/>
                  </a:lnTo>
                  <a:lnTo>
                    <a:pt x="205" y="53"/>
                  </a:lnTo>
                  <a:lnTo>
                    <a:pt x="202" y="59"/>
                  </a:lnTo>
                  <a:lnTo>
                    <a:pt x="197" y="66"/>
                  </a:lnTo>
                  <a:lnTo>
                    <a:pt x="193" y="70"/>
                  </a:lnTo>
                  <a:lnTo>
                    <a:pt x="187" y="73"/>
                  </a:lnTo>
                  <a:lnTo>
                    <a:pt x="180" y="75"/>
                  </a:lnTo>
                  <a:lnTo>
                    <a:pt x="173" y="76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8" name="Freeform 15"/>
            <p:cNvSpPr>
              <a:spLocks noEditPoints="1"/>
            </p:cNvSpPr>
            <p:nvPr/>
          </p:nvSpPr>
          <p:spPr bwMode="auto">
            <a:xfrm>
              <a:off x="612776" y="3638551"/>
              <a:ext cx="111125" cy="41275"/>
            </a:xfrm>
            <a:custGeom>
              <a:avLst/>
              <a:gdLst>
                <a:gd name="T0" fmla="*/ 32 w 208"/>
                <a:gd name="T1" fmla="*/ 19 h 77"/>
                <a:gd name="T2" fmla="*/ 25 w 208"/>
                <a:gd name="T3" fmla="*/ 22 h 77"/>
                <a:gd name="T4" fmla="*/ 21 w 208"/>
                <a:gd name="T5" fmla="*/ 27 h 77"/>
                <a:gd name="T6" fmla="*/ 19 w 208"/>
                <a:gd name="T7" fmla="*/ 35 h 77"/>
                <a:gd name="T8" fmla="*/ 19 w 208"/>
                <a:gd name="T9" fmla="*/ 42 h 77"/>
                <a:gd name="T10" fmla="*/ 21 w 208"/>
                <a:gd name="T11" fmla="*/ 50 h 77"/>
                <a:gd name="T12" fmla="*/ 25 w 208"/>
                <a:gd name="T13" fmla="*/ 55 h 77"/>
                <a:gd name="T14" fmla="*/ 32 w 208"/>
                <a:gd name="T15" fmla="*/ 59 h 77"/>
                <a:gd name="T16" fmla="*/ 173 w 208"/>
                <a:gd name="T17" fmla="*/ 59 h 77"/>
                <a:gd name="T18" fmla="*/ 179 w 208"/>
                <a:gd name="T19" fmla="*/ 57 h 77"/>
                <a:gd name="T20" fmla="*/ 185 w 208"/>
                <a:gd name="T21" fmla="*/ 53 h 77"/>
                <a:gd name="T22" fmla="*/ 188 w 208"/>
                <a:gd name="T23" fmla="*/ 47 h 77"/>
                <a:gd name="T24" fmla="*/ 189 w 208"/>
                <a:gd name="T25" fmla="*/ 39 h 77"/>
                <a:gd name="T26" fmla="*/ 188 w 208"/>
                <a:gd name="T27" fmla="*/ 30 h 77"/>
                <a:gd name="T28" fmla="*/ 185 w 208"/>
                <a:gd name="T29" fmla="*/ 24 h 77"/>
                <a:gd name="T30" fmla="*/ 179 w 208"/>
                <a:gd name="T31" fmla="*/ 20 h 77"/>
                <a:gd name="T32" fmla="*/ 173 w 208"/>
                <a:gd name="T33" fmla="*/ 19 h 77"/>
                <a:gd name="T34" fmla="*/ 173 w 208"/>
                <a:gd name="T35" fmla="*/ 77 h 77"/>
                <a:gd name="T36" fmla="*/ 27 w 208"/>
                <a:gd name="T37" fmla="*/ 76 h 77"/>
                <a:gd name="T38" fmla="*/ 15 w 208"/>
                <a:gd name="T39" fmla="*/ 70 h 77"/>
                <a:gd name="T40" fmla="*/ 6 w 208"/>
                <a:gd name="T41" fmla="*/ 60 h 77"/>
                <a:gd name="T42" fmla="*/ 0 w 208"/>
                <a:gd name="T43" fmla="*/ 47 h 77"/>
                <a:gd name="T44" fmla="*/ 0 w 208"/>
                <a:gd name="T45" fmla="*/ 32 h 77"/>
                <a:gd name="T46" fmla="*/ 6 w 208"/>
                <a:gd name="T47" fmla="*/ 17 h 77"/>
                <a:gd name="T48" fmla="*/ 15 w 208"/>
                <a:gd name="T49" fmla="*/ 7 h 77"/>
                <a:gd name="T50" fmla="*/ 27 w 208"/>
                <a:gd name="T51" fmla="*/ 1 h 77"/>
                <a:gd name="T52" fmla="*/ 173 w 208"/>
                <a:gd name="T53" fmla="*/ 0 h 77"/>
                <a:gd name="T54" fmla="*/ 186 w 208"/>
                <a:gd name="T55" fmla="*/ 3 h 77"/>
                <a:gd name="T56" fmla="*/ 198 w 208"/>
                <a:gd name="T57" fmla="*/ 12 h 77"/>
                <a:gd name="T58" fmla="*/ 205 w 208"/>
                <a:gd name="T59" fmla="*/ 24 h 77"/>
                <a:gd name="T60" fmla="*/ 208 w 208"/>
                <a:gd name="T61" fmla="*/ 39 h 77"/>
                <a:gd name="T62" fmla="*/ 205 w 208"/>
                <a:gd name="T63" fmla="*/ 53 h 77"/>
                <a:gd name="T64" fmla="*/ 198 w 208"/>
                <a:gd name="T65" fmla="*/ 66 h 77"/>
                <a:gd name="T66" fmla="*/ 186 w 208"/>
                <a:gd name="T67" fmla="*/ 74 h 77"/>
                <a:gd name="T68" fmla="*/ 173 w 208"/>
                <a:gd name="T6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7">
                  <a:moveTo>
                    <a:pt x="35" y="19"/>
                  </a:moveTo>
                  <a:lnTo>
                    <a:pt x="32" y="19"/>
                  </a:lnTo>
                  <a:lnTo>
                    <a:pt x="28" y="20"/>
                  </a:lnTo>
                  <a:lnTo>
                    <a:pt x="25" y="22"/>
                  </a:lnTo>
                  <a:lnTo>
                    <a:pt x="23" y="24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9" y="42"/>
                  </a:lnTo>
                  <a:lnTo>
                    <a:pt x="19" y="47"/>
                  </a:lnTo>
                  <a:lnTo>
                    <a:pt x="21" y="50"/>
                  </a:lnTo>
                  <a:lnTo>
                    <a:pt x="23" y="53"/>
                  </a:lnTo>
                  <a:lnTo>
                    <a:pt x="25" y="55"/>
                  </a:lnTo>
                  <a:lnTo>
                    <a:pt x="28" y="57"/>
                  </a:lnTo>
                  <a:lnTo>
                    <a:pt x="32" y="59"/>
                  </a:lnTo>
                  <a:lnTo>
                    <a:pt x="35" y="59"/>
                  </a:lnTo>
                  <a:lnTo>
                    <a:pt x="173" y="59"/>
                  </a:lnTo>
                  <a:lnTo>
                    <a:pt x="176" y="59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50"/>
                  </a:lnTo>
                  <a:lnTo>
                    <a:pt x="188" y="47"/>
                  </a:lnTo>
                  <a:lnTo>
                    <a:pt x="189" y="42"/>
                  </a:lnTo>
                  <a:lnTo>
                    <a:pt x="189" y="39"/>
                  </a:lnTo>
                  <a:lnTo>
                    <a:pt x="189" y="35"/>
                  </a:lnTo>
                  <a:lnTo>
                    <a:pt x="188" y="30"/>
                  </a:lnTo>
                  <a:lnTo>
                    <a:pt x="187" y="27"/>
                  </a:lnTo>
                  <a:lnTo>
                    <a:pt x="185" y="24"/>
                  </a:lnTo>
                  <a:lnTo>
                    <a:pt x="182" y="22"/>
                  </a:lnTo>
                  <a:lnTo>
                    <a:pt x="179" y="20"/>
                  </a:lnTo>
                  <a:lnTo>
                    <a:pt x="176" y="19"/>
                  </a:lnTo>
                  <a:lnTo>
                    <a:pt x="173" y="19"/>
                  </a:lnTo>
                  <a:lnTo>
                    <a:pt x="35" y="19"/>
                  </a:lnTo>
                  <a:close/>
                  <a:moveTo>
                    <a:pt x="173" y="77"/>
                  </a:moveTo>
                  <a:lnTo>
                    <a:pt x="35" y="77"/>
                  </a:lnTo>
                  <a:lnTo>
                    <a:pt x="27" y="76"/>
                  </a:lnTo>
                  <a:lnTo>
                    <a:pt x="21" y="74"/>
                  </a:lnTo>
                  <a:lnTo>
                    <a:pt x="15" y="70"/>
                  </a:lnTo>
                  <a:lnTo>
                    <a:pt x="10" y="66"/>
                  </a:lnTo>
                  <a:lnTo>
                    <a:pt x="6" y="60"/>
                  </a:lnTo>
                  <a:lnTo>
                    <a:pt x="2" y="53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6" y="17"/>
                  </a:lnTo>
                  <a:lnTo>
                    <a:pt x="10" y="12"/>
                  </a:lnTo>
                  <a:lnTo>
                    <a:pt x="15" y="7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5" y="0"/>
                  </a:lnTo>
                  <a:lnTo>
                    <a:pt x="173" y="0"/>
                  </a:lnTo>
                  <a:lnTo>
                    <a:pt x="179" y="1"/>
                  </a:lnTo>
                  <a:lnTo>
                    <a:pt x="186" y="3"/>
                  </a:lnTo>
                  <a:lnTo>
                    <a:pt x="192" y="7"/>
                  </a:lnTo>
                  <a:lnTo>
                    <a:pt x="198" y="12"/>
                  </a:lnTo>
                  <a:lnTo>
                    <a:pt x="202" y="17"/>
                  </a:lnTo>
                  <a:lnTo>
                    <a:pt x="205" y="24"/>
                  </a:lnTo>
                  <a:lnTo>
                    <a:pt x="206" y="32"/>
                  </a:lnTo>
                  <a:lnTo>
                    <a:pt x="208" y="39"/>
                  </a:lnTo>
                  <a:lnTo>
                    <a:pt x="206" y="47"/>
                  </a:lnTo>
                  <a:lnTo>
                    <a:pt x="205" y="53"/>
                  </a:lnTo>
                  <a:lnTo>
                    <a:pt x="202" y="60"/>
                  </a:lnTo>
                  <a:lnTo>
                    <a:pt x="198" y="66"/>
                  </a:lnTo>
                  <a:lnTo>
                    <a:pt x="192" y="70"/>
                  </a:lnTo>
                  <a:lnTo>
                    <a:pt x="186" y="74"/>
                  </a:lnTo>
                  <a:lnTo>
                    <a:pt x="179" y="76"/>
                  </a:lnTo>
                  <a:lnTo>
                    <a:pt x="173" y="77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168" name="Прямоугольник 1167"/>
          <p:cNvSpPr/>
          <p:nvPr/>
        </p:nvSpPr>
        <p:spPr>
          <a:xfrm>
            <a:off x="5835043" y="3469099"/>
            <a:ext cx="45719" cy="282575"/>
          </a:xfrm>
          <a:prstGeom prst="rect">
            <a:avLst/>
          </a:prstGeom>
          <a:solidFill>
            <a:srgbClr val="EF621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7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69" name="Прямоугольник 1168"/>
          <p:cNvSpPr/>
          <p:nvPr/>
        </p:nvSpPr>
        <p:spPr>
          <a:xfrm>
            <a:off x="6043748" y="3495292"/>
            <a:ext cx="2436000" cy="23018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зменения хранимого на НБ продукта за день</a:t>
            </a:r>
          </a:p>
        </p:txBody>
      </p:sp>
      <p:grpSp>
        <p:nvGrpSpPr>
          <p:cNvPr id="1171" name="Группа 1170"/>
          <p:cNvGrpSpPr/>
          <p:nvPr/>
        </p:nvGrpSpPr>
        <p:grpSpPr>
          <a:xfrm>
            <a:off x="6927186" y="3911698"/>
            <a:ext cx="597142" cy="200025"/>
            <a:chOff x="3392944" y="3634837"/>
            <a:chExt cx="597142" cy="200055"/>
          </a:xfrm>
        </p:grpSpPr>
        <p:sp>
          <p:nvSpPr>
            <p:cNvPr id="1172" name="Овал 1171"/>
            <p:cNvSpPr/>
            <p:nvPr/>
          </p:nvSpPr>
          <p:spPr>
            <a:xfrm>
              <a:off x="3487158" y="3634837"/>
              <a:ext cx="468313" cy="182564"/>
            </a:xfrm>
            <a:prstGeom prst="ellipse">
              <a:avLst/>
            </a:prstGeom>
            <a:solidFill>
              <a:srgbClr val="0070BA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3" name="Прямоугольник 1172"/>
            <p:cNvSpPr/>
            <p:nvPr/>
          </p:nvSpPr>
          <p:spPr>
            <a:xfrm>
              <a:off x="3392944" y="3634837"/>
              <a:ext cx="597142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7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,2 </a:t>
              </a:r>
              <a:r>
                <a: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% </a:t>
              </a:r>
            </a:p>
          </p:txBody>
        </p:sp>
      </p:grpSp>
      <p:sp>
        <p:nvSpPr>
          <p:cNvPr id="1174" name="Прямоугольник 1173"/>
          <p:cNvSpPr/>
          <p:nvPr/>
        </p:nvSpPr>
        <p:spPr>
          <a:xfrm>
            <a:off x="6012085" y="4126011"/>
            <a:ext cx="23565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ем-отпуск: 1124,8-130,23=997,57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П: 1462,1-466,85=995,25 т</a:t>
            </a: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r>
              <a:rPr lang="en-US" sz="800" dirty="0" smtClean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997,57</a:t>
            </a:r>
            <a:r>
              <a:rPr lang="ru-RU" sz="800" dirty="0" smtClean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800" dirty="0" smtClean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95,25 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1)</a:t>
            </a:r>
            <a:r>
              <a:rPr lang="ru-RU" sz="800" dirty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1</a:t>
            </a:r>
            <a:r>
              <a:rPr lang="en-US" sz="800" dirty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0%</a:t>
            </a:r>
            <a:r>
              <a:rPr lang="ru-RU" sz="800" dirty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  <a:r>
              <a:rPr lang="ru-RU" sz="800" dirty="0" smtClean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,</a:t>
            </a:r>
            <a:r>
              <a:rPr lang="en-US" sz="800" dirty="0" smtClean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lang="ru-RU" sz="800" dirty="0" smtClean="0">
                <a:solidFill>
                  <a:srgbClr val="FFFFFF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</a:t>
            </a:r>
            <a:endParaRPr lang="ru-RU" sz="800" dirty="0">
              <a:solidFill>
                <a:srgbClr val="FFFFFF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221" name="Прямая соединительная линия 1220"/>
          <p:cNvCxnSpPr/>
          <p:nvPr/>
        </p:nvCxnSpPr>
        <p:spPr>
          <a:xfrm>
            <a:off x="6351588" y="1325082"/>
            <a:ext cx="201613" cy="0"/>
          </a:xfrm>
          <a:prstGeom prst="line">
            <a:avLst/>
          </a:prstGeom>
          <a:ln w="6350">
            <a:solidFill>
              <a:srgbClr val="EF6213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/>
        </p:nvCxnSpPr>
        <p:spPr>
          <a:xfrm flipV="1">
            <a:off x="4785970" y="1923652"/>
            <a:ext cx="0" cy="18004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4785970" y="1923678"/>
            <a:ext cx="7135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 flipV="1">
            <a:off x="5499559" y="1923652"/>
            <a:ext cx="0" cy="18004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Прямоугольник 124"/>
          <p:cNvSpPr/>
          <p:nvPr/>
        </p:nvSpPr>
        <p:spPr>
          <a:xfrm>
            <a:off x="4788024" y="1708234"/>
            <a:ext cx="68679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Δ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0,01 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26" name="Прямая соединительная линия 125"/>
          <p:cNvCxnSpPr/>
          <p:nvPr/>
        </p:nvCxnSpPr>
        <p:spPr>
          <a:xfrm flipV="1">
            <a:off x="6750716" y="1131590"/>
            <a:ext cx="0" cy="20482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/>
          <p:cNvCxnSpPr/>
          <p:nvPr/>
        </p:nvCxnSpPr>
        <p:spPr>
          <a:xfrm>
            <a:off x="6750716" y="1131590"/>
            <a:ext cx="7135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Прямоугольник 128"/>
          <p:cNvSpPr/>
          <p:nvPr/>
        </p:nvSpPr>
        <p:spPr>
          <a:xfrm>
            <a:off x="6776316" y="952150"/>
            <a:ext cx="68679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Δ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0,3 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38" name="Прямая соединительная линия 137"/>
          <p:cNvCxnSpPr/>
          <p:nvPr/>
        </p:nvCxnSpPr>
        <p:spPr>
          <a:xfrm flipV="1">
            <a:off x="7463113" y="1131590"/>
            <a:ext cx="0" cy="20482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V="1">
            <a:off x="1571625" y="1593244"/>
            <a:ext cx="0" cy="44193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1571625" y="1593244"/>
            <a:ext cx="400910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/>
          <p:cNvCxnSpPr/>
          <p:nvPr/>
        </p:nvCxnSpPr>
        <p:spPr>
          <a:xfrm flipV="1">
            <a:off x="5580733" y="1593244"/>
            <a:ext cx="0" cy="51971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Прямоугольник 147"/>
          <p:cNvSpPr/>
          <p:nvPr/>
        </p:nvSpPr>
        <p:spPr>
          <a:xfrm>
            <a:off x="3131840" y="1368808"/>
            <a:ext cx="78893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Δ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130,24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49" name="Прямая соединительная линия 148"/>
          <p:cNvCxnSpPr/>
          <p:nvPr/>
        </p:nvCxnSpPr>
        <p:spPr>
          <a:xfrm flipV="1">
            <a:off x="5652120" y="929506"/>
            <a:ext cx="0" cy="118345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Прямая соединительная линия 150"/>
          <p:cNvCxnSpPr/>
          <p:nvPr/>
        </p:nvCxnSpPr>
        <p:spPr>
          <a:xfrm flipV="1">
            <a:off x="7558647" y="929506"/>
            <a:ext cx="0" cy="39557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Прямая соединительная линия 152"/>
          <p:cNvCxnSpPr/>
          <p:nvPr/>
        </p:nvCxnSpPr>
        <p:spPr>
          <a:xfrm>
            <a:off x="5652120" y="929506"/>
            <a:ext cx="19065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Прямоугольник 157"/>
          <p:cNvSpPr/>
          <p:nvPr/>
        </p:nvSpPr>
        <p:spPr>
          <a:xfrm>
            <a:off x="6197168" y="727095"/>
            <a:ext cx="80529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Δ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1124,49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309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" name="Chart 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575999"/>
              </p:ext>
            </p:extLst>
          </p:nvPr>
        </p:nvGraphicFramePr>
        <p:xfrm>
          <a:off x="769582" y="1451762"/>
          <a:ext cx="7743825" cy="1189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3" name="think-cell Slide" r:id="rId47" imgW="395" imgH="394" progId="TCLayout.ActiveDocument.1">
                  <p:embed/>
                </p:oleObj>
              </mc:Choice>
              <mc:Fallback>
                <p:oleObj name="think-cell Slide" r:id="rId47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48" name="Прямоугольник 447"/>
          <p:cNvSpPr/>
          <p:nvPr/>
        </p:nvSpPr>
        <p:spPr>
          <a:xfrm>
            <a:off x="4397021" y="3147814"/>
            <a:ext cx="2235200" cy="510728"/>
          </a:xfrm>
          <a:prstGeom prst="rect">
            <a:avLst/>
          </a:prstGeom>
          <a:noFill/>
          <a:ln w="12700">
            <a:solidFill>
              <a:srgbClr val="00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9" name="Прямоугольник 448"/>
          <p:cNvSpPr/>
          <p:nvPr/>
        </p:nvSpPr>
        <p:spPr>
          <a:xfrm>
            <a:off x="4472771" y="3294451"/>
            <a:ext cx="2093855" cy="209116"/>
          </a:xfrm>
          <a:prstGeom prst="rect">
            <a:avLst/>
          </a:prstGeom>
          <a:solidFill>
            <a:srgbClr val="3C3C3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0" name="Овал 449"/>
          <p:cNvSpPr/>
          <p:nvPr/>
        </p:nvSpPr>
        <p:spPr>
          <a:xfrm>
            <a:off x="4668621" y="3518211"/>
            <a:ext cx="1692000" cy="287338"/>
          </a:xfrm>
          <a:prstGeom prst="ellipse">
            <a:avLst/>
          </a:prstGeom>
          <a:solidFill>
            <a:srgbClr val="009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сего отпущено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 520,32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08544" y="3147814"/>
            <a:ext cx="2291638" cy="504322"/>
          </a:xfrm>
          <a:prstGeom prst="rect">
            <a:avLst/>
          </a:prstGeom>
          <a:noFill/>
          <a:ln w="127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4" name="Прямоугольник 443"/>
          <p:cNvSpPr/>
          <p:nvPr/>
        </p:nvSpPr>
        <p:spPr>
          <a:xfrm>
            <a:off x="2122132" y="3236868"/>
            <a:ext cx="2105025" cy="287338"/>
          </a:xfrm>
          <a:prstGeom prst="rect">
            <a:avLst/>
          </a:prstGeom>
          <a:solidFill>
            <a:srgbClr val="3C3C3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>
            <p:custDataLst>
              <p:tags r:id="rId5"/>
            </p:custDataLst>
          </p:nvPr>
        </p:nvCxnSpPr>
        <p:spPr bwMode="gray">
          <a:xfrm>
            <a:off x="4255732" y="1784304"/>
            <a:ext cx="185738" cy="0"/>
          </a:xfrm>
          <a:prstGeom prst="line">
            <a:avLst/>
          </a:prstGeom>
          <a:ln w="3175" cap="flat" cmpd="sng" algn="ctr">
            <a:solidFill>
              <a:srgbClr val="EF6213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Прямая соединительная линия 388"/>
          <p:cNvCxnSpPr/>
          <p:nvPr>
            <p:custDataLst>
              <p:tags r:id="rId6"/>
            </p:custDataLst>
          </p:nvPr>
        </p:nvCxnSpPr>
        <p:spPr bwMode="gray">
          <a:xfrm>
            <a:off x="3673120" y="2089104"/>
            <a:ext cx="185738" cy="0"/>
          </a:xfrm>
          <a:prstGeom prst="line">
            <a:avLst/>
          </a:prstGeom>
          <a:ln w="3175" cap="flat" cmpd="sng" algn="ctr">
            <a:solidFill>
              <a:srgbClr val="EF6213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>
            <p:custDataLst>
              <p:tags r:id="rId7"/>
            </p:custDataLst>
          </p:nvPr>
        </p:nvCxnSpPr>
        <p:spPr bwMode="gray">
          <a:xfrm>
            <a:off x="5422545" y="2311354"/>
            <a:ext cx="185738" cy="0"/>
          </a:xfrm>
          <a:prstGeom prst="line">
            <a:avLst/>
          </a:prstGeom>
          <a:ln w="3175" cap="flat" cmpd="sng" algn="ctr">
            <a:solidFill>
              <a:srgbClr val="EF6213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>
            <p:custDataLst>
              <p:tags r:id="rId8"/>
            </p:custDataLst>
          </p:nvPr>
        </p:nvCxnSpPr>
        <p:spPr bwMode="gray">
          <a:xfrm>
            <a:off x="1923695" y="2563767"/>
            <a:ext cx="185738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>
            <p:custDataLst>
              <p:tags r:id="rId9"/>
            </p:custDataLst>
          </p:nvPr>
        </p:nvCxnSpPr>
        <p:spPr bwMode="gray">
          <a:xfrm>
            <a:off x="2507895" y="2374854"/>
            <a:ext cx="185738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>
            <p:custDataLst>
              <p:tags r:id="rId10"/>
            </p:custDataLst>
          </p:nvPr>
        </p:nvCxnSpPr>
        <p:spPr bwMode="gray">
          <a:xfrm>
            <a:off x="4839932" y="1982742"/>
            <a:ext cx="185738" cy="0"/>
          </a:xfrm>
          <a:prstGeom prst="line">
            <a:avLst/>
          </a:prstGeom>
          <a:ln w="3175" cap="flat" cmpd="sng" algn="ctr">
            <a:solidFill>
              <a:srgbClr val="EF6213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>
            <p:custDataLst>
              <p:tags r:id="rId11"/>
            </p:custDataLst>
          </p:nvPr>
        </p:nvCxnSpPr>
        <p:spPr bwMode="gray">
          <a:xfrm>
            <a:off x="3090507" y="2092279"/>
            <a:ext cx="185738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>
            <p:custDataLst>
              <p:tags r:id="rId12"/>
            </p:custDataLst>
          </p:nvPr>
        </p:nvCxnSpPr>
        <p:spPr bwMode="gray">
          <a:xfrm>
            <a:off x="3090507" y="2092279"/>
            <a:ext cx="185738" cy="0"/>
          </a:xfrm>
          <a:prstGeom prst="line">
            <a:avLst/>
          </a:prstGeom>
          <a:ln w="3175" cap="flat" cmpd="sng" algn="ctr">
            <a:solidFill>
              <a:srgbClr val="ED7D3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>
            <p:custDataLst>
              <p:tags r:id="rId13"/>
            </p:custDataLst>
          </p:nvPr>
        </p:nvCxnSpPr>
        <p:spPr bwMode="gray">
          <a:xfrm>
            <a:off x="6587770" y="2616154"/>
            <a:ext cx="185738" cy="0"/>
          </a:xfrm>
          <a:prstGeom prst="line">
            <a:avLst/>
          </a:prstGeom>
          <a:ln w="3175" cap="flat" cmpd="sng" algn="ctr">
            <a:solidFill>
              <a:srgbClr val="EF6213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>
            <p:custDataLst>
              <p:tags r:id="rId14"/>
            </p:custDataLst>
          </p:nvPr>
        </p:nvCxnSpPr>
        <p:spPr bwMode="gray">
          <a:xfrm>
            <a:off x="6005157" y="2312942"/>
            <a:ext cx="185738" cy="0"/>
          </a:xfrm>
          <a:prstGeom prst="line">
            <a:avLst/>
          </a:prstGeom>
          <a:ln w="3175" cap="flat" cmpd="sng" algn="ctr">
            <a:solidFill>
              <a:srgbClr val="EF6213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>
            <p:custDataLst>
              <p:tags r:id="rId15"/>
            </p:custDataLst>
          </p:nvPr>
        </p:nvCxnSpPr>
        <p:spPr bwMode="gray">
          <a:xfrm>
            <a:off x="4255732" y="1784304"/>
            <a:ext cx="185738" cy="0"/>
          </a:xfrm>
          <a:prstGeom prst="line">
            <a:avLst/>
          </a:prstGeom>
          <a:ln w="3175" cap="flat" cmpd="sng" algn="ctr">
            <a:solidFill>
              <a:srgbClr val="EF6213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>
            <p:custDataLst>
              <p:tags r:id="rId16"/>
            </p:custDataLst>
          </p:nvPr>
        </p:nvSpPr>
        <p:spPr bwMode="auto">
          <a:xfrm>
            <a:off x="3276246" y="2089104"/>
            <a:ext cx="396875" cy="3175"/>
          </a:xfrm>
          <a:prstGeom prst="rect">
            <a:avLst/>
          </a:prstGeom>
          <a:solidFill>
            <a:srgbClr val="7030A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Прямоугольник 77"/>
          <p:cNvSpPr/>
          <p:nvPr>
            <p:custDataLst>
              <p:tags r:id="rId17"/>
            </p:custDataLst>
          </p:nvPr>
        </p:nvSpPr>
        <p:spPr bwMode="auto">
          <a:xfrm>
            <a:off x="5608283" y="2311354"/>
            <a:ext cx="396875" cy="1588"/>
          </a:xfrm>
          <a:prstGeom prst="rect">
            <a:avLst/>
          </a:prstGeom>
          <a:solidFill>
            <a:srgbClr val="0099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6" name="Текст 2"/>
          <p:cNvSpPr>
            <a:spLocks noGrp="1"/>
          </p:cNvSpPr>
          <p:nvPr/>
        </p:nvSpPr>
        <p:spPr bwMode="auto">
          <a:xfrm>
            <a:off x="3984270" y="2924887"/>
            <a:ext cx="1476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ДТ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19" name="Текст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814407" y="1876379"/>
            <a:ext cx="485775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41C62CFC-B4A3-45BC-9DFC-6D2EF3C03CB7}" type="datetime'2''''''''''''2'' ''''''''2''''''''''''''''05'''''''',''''20'''">
              <a:rPr kumimoji="0" lang="ru-RU" altLang="en-US" sz="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22 205,20</a:t>
            </a:fld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7" name="Текст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487507" y="2924887"/>
            <a:ext cx="3063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АИ-92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98" name="Текст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071707" y="2939113"/>
            <a:ext cx="306388" cy="129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АИ-9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439" name="Текст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146445" y="2403429"/>
            <a:ext cx="485775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 045,41</a:t>
            </a:r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03" name="Текст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649182" y="2173242"/>
            <a:ext cx="485775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8E573671-78E5-4D4B-9045-2528D7B10C58}" type="datetime'''''''2''''''''0'''' ''''6''''''26'''''',11'''''''''''''">
              <a:rPr kumimoji="0" lang="ru-RU" altLang="en-US" sz="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20 626,11</a:t>
            </a:fld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9" name="Текст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625745" y="2924887"/>
            <a:ext cx="3635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АИ-100</a:t>
            </a:r>
          </a:p>
        </p:txBody>
      </p:sp>
      <p:sp>
        <p:nvSpPr>
          <p:cNvPr id="465" name="Текст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02070" y="2910662"/>
            <a:ext cx="5413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Расчетное значение</a:t>
            </a:r>
          </a:p>
        </p:txBody>
      </p:sp>
      <p:sp>
        <p:nvSpPr>
          <p:cNvPr id="537" name="Текст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875232" y="2591587"/>
            <a:ext cx="5270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.08.201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:00</a:t>
            </a:r>
          </a:p>
        </p:txBody>
      </p:sp>
      <p:sp>
        <p:nvSpPr>
          <p:cNvPr id="468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895870" y="2397912"/>
            <a:ext cx="485775" cy="122238"/>
          </a:xfrm>
          <a:prstGeom prst="rect">
            <a:avLst/>
          </a:prstGeom>
          <a:solidFill>
            <a:srgbClr val="EF6213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F2410A1D-9F67-46F6-AC93-93E280F08746}" type="datetime'''''''''1''''''''''4'''''''' ''''5''''2''''3'''',''''0''0'''">
              <a:rPr kumimoji="0" lang="ru-RU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14 523,00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9" name="Текст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99757" y="2620917"/>
            <a:ext cx="485775" cy="122238"/>
          </a:xfrm>
          <a:prstGeom prst="rect">
            <a:avLst/>
          </a:prstGeom>
          <a:solidFill>
            <a:srgbClr val="EF6213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B30A0A5B-D07F-4123-B8E5-1C9FAE5FF228}" type="datetime'''1''8'' ''''''''''3''''59,''''''00'''''''''''">
              <a:rPr kumimoji="0" lang="ru-RU" alt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18 359,00</a:t>
            </a:fld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2" name="Текст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122133" y="2924887"/>
            <a:ext cx="3730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АИ-92</a:t>
            </a:r>
          </a:p>
        </p:txBody>
      </p:sp>
      <p:sp>
        <p:nvSpPr>
          <p:cNvPr id="423" name="Текст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981220" y="2085929"/>
            <a:ext cx="485775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 832,08</a:t>
            </a:r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92" name="Текст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482370" y="2625679"/>
            <a:ext cx="485775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462,95</a:t>
            </a:r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3" name="Текст 2"/>
          <p:cNvSpPr>
            <a:spLocks noGrp="1"/>
          </p:cNvSpPr>
          <p:nvPr/>
        </p:nvSpPr>
        <p:spPr bwMode="auto">
          <a:xfrm>
            <a:off x="2739670" y="2939113"/>
            <a:ext cx="3063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АИ-95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90" name="Текст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36270" y="2946666"/>
            <a:ext cx="4127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31.07.1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:00</a:t>
            </a:r>
          </a:p>
        </p:txBody>
      </p:sp>
      <p:sp>
        <p:nvSpPr>
          <p:cNvPr id="314" name="Текст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6307" y="2924887"/>
            <a:ext cx="1476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DD22FEF3-2650-4776-9241-4C2884B20B8D}" type="datetime'''''Д''''''''''''''Т'''''''''''''''''''''''">
              <a:rPr kumimoji="0" lang="ru-RU" alt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ДТ</a:t>
            </a:fld>
            <a:endParaRPr kumimoji="0" lang="ru-RU" altLang="en-US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 useBgFill="1">
        <p:nvSpPr>
          <p:cNvPr id="196" name="Текст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303232" y="2030367"/>
            <a:ext cx="342900" cy="122238"/>
          </a:xfrm>
          <a:prstGeom prst="rect">
            <a:avLst/>
          </a:prstGeom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8330F780-AB80-423A-A390-4BBADA141118}" type="datetime'''''''''2''''''1''''''''9'''''''''''''''''',7''''''''''''1'">
              <a:rPr kumimoji="0" lang="ru-RU" altLang="en-US" sz="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219,71</a:t>
            </a:fld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148" name="Текст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635270" y="2251029"/>
            <a:ext cx="342900" cy="122238"/>
          </a:xfrm>
          <a:prstGeom prst="rect">
            <a:avLst/>
          </a:prstGeom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192D5916-DF6C-4E8E-8ABD-6B3415B64E20}" type="datetime'20''''''''''''''''6,''''''7''''''''''''''3'''''''">
              <a:rPr kumimoji="0" lang="ru-RU" altLang="en-US" sz="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206,73</a:t>
            </a:fld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62" name="Текст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064982" y="2408192"/>
            <a:ext cx="485775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A642F72F-F454-4BFB-A2D0-1F5FC009B9D1}" type="datetime'''''''''''1''''''''3 7''''5''''''''''''0'''''''''',30'''''''">
              <a:rPr kumimoji="0" lang="ru-RU" altLang="en-US" sz="8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13 750,30</a:t>
            </a:fld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63" name="Текст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397020" y="1822404"/>
            <a:ext cx="485775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4 436,1</a:t>
            </a:r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64" name="Текст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729057" y="2651079"/>
            <a:ext cx="485775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fld id="{13000177-645F-4933-921C-EDE0EF2E6666}" type="datetime'''''''1''''''3 988,''''''''''''22'''">
              <a:rPr kumimoji="0" lang="ru-RU" altLang="en-US" sz="80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90000"/>
                <a:buFont typeface="Wingdings" pitchFamily="2" charset="2"/>
                <a:buNone/>
                <a:tabLst/>
                <a:defRPr/>
              </a:pPr>
              <a:t>13 988,22</a:t>
            </a:fld>
            <a:endParaRPr kumimoji="0" lang="ru-RU" sz="8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67" name="Текст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313257" y="2651079"/>
            <a:ext cx="485775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sz="800" dirty="0" smtClean="0">
                <a:solidFill>
                  <a:srgbClr val="FFFFFF"/>
                </a:solidFill>
                <a:latin typeface="Arial"/>
                <a:sym typeface="+mn-lt"/>
              </a:rPr>
              <a:t>2 941,67</a:t>
            </a:r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294" name="Текст 2"/>
          <p:cNvSpPr>
            <a:spLocks noGrp="1"/>
          </p:cNvSpPr>
          <p:nvPr/>
        </p:nvSpPr>
        <p:spPr bwMode="auto">
          <a:xfrm>
            <a:off x="3293707" y="2924887"/>
            <a:ext cx="3635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АИ-100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7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Текст 85"/>
          <p:cNvSpPr txBox="1">
            <a:spLocks/>
          </p:cNvSpPr>
          <p:nvPr/>
        </p:nvSpPr>
        <p:spPr>
          <a:xfrm>
            <a:off x="216152" y="735546"/>
            <a:ext cx="7081987" cy="234618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вижение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фтепродукта на НБ «Гладкое» 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31.07.2019 19:59 до 31.08.2019 20:00, </a:t>
            </a:r>
            <a:r>
              <a:rPr kumimoji="0" lang="ru-RU" sz="9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нны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5" y="67260"/>
            <a:ext cx="811180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Метрологическо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сопровождение движения нефтепродуктов на приеме-отпуске 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DIN Pro" panose="020B0504020101010102" pitchFamily="34" charset="0"/>
              <a:ea typeface="+mn-ea"/>
              <a:cs typeface="DIN Pro" panose="020B0504020101010102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Терминала «Гладкое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»  </a:t>
            </a:r>
          </a:p>
        </p:txBody>
      </p:sp>
      <p:grpSp>
        <p:nvGrpSpPr>
          <p:cNvPr id="826" name="Группа 825"/>
          <p:cNvGrpSpPr/>
          <p:nvPr/>
        </p:nvGrpSpPr>
        <p:grpSpPr>
          <a:xfrm>
            <a:off x="7982598" y="736777"/>
            <a:ext cx="823618" cy="453721"/>
            <a:chOff x="8028384" y="735816"/>
            <a:chExt cx="823618" cy="453721"/>
          </a:xfrm>
        </p:grpSpPr>
        <p:grpSp>
          <p:nvGrpSpPr>
            <p:cNvPr id="785" name="Группа 784"/>
            <p:cNvGrpSpPr/>
            <p:nvPr/>
          </p:nvGrpSpPr>
          <p:grpSpPr>
            <a:xfrm>
              <a:off x="8028384" y="735816"/>
              <a:ext cx="644082" cy="200055"/>
              <a:chOff x="8028384" y="735816"/>
              <a:chExt cx="644082" cy="200055"/>
            </a:xfrm>
          </p:grpSpPr>
          <p:sp>
            <p:nvSpPr>
              <p:cNvPr id="712" name="Прямоугольник 711"/>
              <p:cNvSpPr/>
              <p:nvPr/>
            </p:nvSpPr>
            <p:spPr>
              <a:xfrm>
                <a:off x="8147963" y="735816"/>
                <a:ext cx="524503" cy="2000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7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ИС РВС</a:t>
                </a:r>
                <a:endPara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4" name="Прямоугольник 783"/>
              <p:cNvSpPr/>
              <p:nvPr/>
            </p:nvSpPr>
            <p:spPr>
              <a:xfrm>
                <a:off x="8028384" y="796882"/>
                <a:ext cx="119579" cy="78163"/>
              </a:xfrm>
              <a:prstGeom prst="rect">
                <a:avLst/>
              </a:prstGeom>
              <a:solidFill>
                <a:srgbClr val="0070BA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86" name="Группа 785"/>
            <p:cNvGrpSpPr/>
            <p:nvPr/>
          </p:nvGrpSpPr>
          <p:grpSpPr>
            <a:xfrm>
              <a:off x="8028384" y="862649"/>
              <a:ext cx="656906" cy="200055"/>
              <a:chOff x="8028384" y="735816"/>
              <a:chExt cx="656906" cy="200055"/>
            </a:xfrm>
          </p:grpSpPr>
          <p:sp>
            <p:nvSpPr>
              <p:cNvPr id="787" name="Прямоугольник 786"/>
              <p:cNvSpPr/>
              <p:nvPr/>
            </p:nvSpPr>
            <p:spPr>
              <a:xfrm>
                <a:off x="8147963" y="735816"/>
                <a:ext cx="537327" cy="2000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7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ИС </a:t>
                </a:r>
                <a:r>
                  <a:rPr kumimoji="0" lang="ru-RU" sz="7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7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АСН</a:t>
                </a:r>
                <a:endPara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8" name="Прямоугольник 787"/>
              <p:cNvSpPr/>
              <p:nvPr/>
            </p:nvSpPr>
            <p:spPr>
              <a:xfrm>
                <a:off x="8028384" y="796882"/>
                <a:ext cx="119579" cy="78163"/>
              </a:xfrm>
              <a:prstGeom prst="rect">
                <a:avLst/>
              </a:prstGeom>
              <a:solidFill>
                <a:srgbClr val="00990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89" name="Группа 788"/>
            <p:cNvGrpSpPr/>
            <p:nvPr/>
          </p:nvGrpSpPr>
          <p:grpSpPr>
            <a:xfrm>
              <a:off x="8028384" y="989482"/>
              <a:ext cx="823618" cy="200055"/>
              <a:chOff x="8028384" y="735816"/>
              <a:chExt cx="823618" cy="200055"/>
            </a:xfrm>
          </p:grpSpPr>
          <p:sp>
            <p:nvSpPr>
              <p:cNvPr id="790" name="Прямоугольник 789"/>
              <p:cNvSpPr/>
              <p:nvPr/>
            </p:nvSpPr>
            <p:spPr>
              <a:xfrm>
                <a:off x="8147963" y="735816"/>
                <a:ext cx="704039" cy="2000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75000"/>
                      </a:srgbClr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Узлы учета</a:t>
                </a:r>
                <a:endPara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1" name="Прямоугольник 790"/>
              <p:cNvSpPr/>
              <p:nvPr/>
            </p:nvSpPr>
            <p:spPr>
              <a:xfrm>
                <a:off x="8028384" y="796882"/>
                <a:ext cx="119579" cy="78163"/>
              </a:xfrm>
              <a:prstGeom prst="rect">
                <a:avLst/>
              </a:prstGeom>
              <a:solidFill>
                <a:srgbClr val="7030A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882" name="Прямая соединительная линия 881"/>
          <p:cNvCxnSpPr/>
          <p:nvPr/>
        </p:nvCxnSpPr>
        <p:spPr>
          <a:xfrm>
            <a:off x="1158247" y="2815711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2" name="Picture118"/>
          <p:cNvSpPr>
            <a:spLocks noChangeAspect="1" noEditPoints="1"/>
          </p:cNvSpPr>
          <p:nvPr/>
        </p:nvSpPr>
        <p:spPr bwMode="auto">
          <a:xfrm>
            <a:off x="1595087" y="3295574"/>
            <a:ext cx="233059" cy="16080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6308520" y="3261113"/>
            <a:ext cx="172817" cy="195263"/>
            <a:chOff x="6670076" y="3327834"/>
            <a:chExt cx="172817" cy="195263"/>
          </a:xfrm>
        </p:grpSpPr>
        <p:sp>
          <p:nvSpPr>
            <p:cNvPr id="972" name="Freeform 404"/>
            <p:cNvSpPr>
              <a:spLocks noEditPoints="1"/>
            </p:cNvSpPr>
            <p:nvPr/>
          </p:nvSpPr>
          <p:spPr bwMode="auto">
            <a:xfrm>
              <a:off x="6670076" y="3327834"/>
              <a:ext cx="172817" cy="195263"/>
            </a:xfrm>
            <a:custGeom>
              <a:avLst/>
              <a:gdLst>
                <a:gd name="T0" fmla="*/ 538 w 1119"/>
                <a:gd name="T1" fmla="*/ 49 h 1137"/>
                <a:gd name="T2" fmla="*/ 971 w 1119"/>
                <a:gd name="T3" fmla="*/ 537 h 1137"/>
                <a:gd name="T4" fmla="*/ 950 w 1119"/>
                <a:gd name="T5" fmla="*/ 447 h 1137"/>
                <a:gd name="T6" fmla="*/ 950 w 1119"/>
                <a:gd name="T7" fmla="*/ 332 h 1137"/>
                <a:gd name="T8" fmla="*/ 832 w 1119"/>
                <a:gd name="T9" fmla="*/ 172 h 1137"/>
                <a:gd name="T10" fmla="*/ 653 w 1119"/>
                <a:gd name="T11" fmla="*/ 83 h 1137"/>
                <a:gd name="T12" fmla="*/ 447 w 1119"/>
                <a:gd name="T13" fmla="*/ 87 h 1137"/>
                <a:gd name="T14" fmla="*/ 272 w 1119"/>
                <a:gd name="T15" fmla="*/ 184 h 1137"/>
                <a:gd name="T16" fmla="*/ 159 w 1119"/>
                <a:gd name="T17" fmla="*/ 349 h 1137"/>
                <a:gd name="T18" fmla="*/ 170 w 1119"/>
                <a:gd name="T19" fmla="*/ 453 h 1137"/>
                <a:gd name="T20" fmla="*/ 184 w 1119"/>
                <a:gd name="T21" fmla="*/ 566 h 1137"/>
                <a:gd name="T22" fmla="*/ 267 w 1119"/>
                <a:gd name="T23" fmla="*/ 297 h 1137"/>
                <a:gd name="T24" fmla="*/ 891 w 1119"/>
                <a:gd name="T25" fmla="*/ 345 h 1137"/>
                <a:gd name="T26" fmla="*/ 963 w 1119"/>
                <a:gd name="T27" fmla="*/ 632 h 1137"/>
                <a:gd name="T28" fmla="*/ 974 w 1119"/>
                <a:gd name="T29" fmla="*/ 508 h 1137"/>
                <a:gd name="T30" fmla="*/ 1095 w 1119"/>
                <a:gd name="T31" fmla="*/ 501 h 1137"/>
                <a:gd name="T32" fmla="*/ 991 w 1119"/>
                <a:gd name="T33" fmla="*/ 445 h 1137"/>
                <a:gd name="T34" fmla="*/ 934 w 1119"/>
                <a:gd name="T35" fmla="*/ 746 h 1137"/>
                <a:gd name="T36" fmla="*/ 954 w 1119"/>
                <a:gd name="T37" fmla="*/ 1021 h 1137"/>
                <a:gd name="T38" fmla="*/ 829 w 1119"/>
                <a:gd name="T39" fmla="*/ 1137 h 1137"/>
                <a:gd name="T40" fmla="*/ 422 w 1119"/>
                <a:gd name="T41" fmla="*/ 1021 h 1137"/>
                <a:gd name="T42" fmla="*/ 241 w 1119"/>
                <a:gd name="T43" fmla="*/ 1137 h 1137"/>
                <a:gd name="T44" fmla="*/ 158 w 1119"/>
                <a:gd name="T45" fmla="*/ 1020 h 1137"/>
                <a:gd name="T46" fmla="*/ 170 w 1119"/>
                <a:gd name="T47" fmla="*/ 724 h 1137"/>
                <a:gd name="T48" fmla="*/ 17 w 1119"/>
                <a:gd name="T49" fmla="*/ 534 h 1137"/>
                <a:gd name="T50" fmla="*/ 17 w 1119"/>
                <a:gd name="T51" fmla="*/ 428 h 1137"/>
                <a:gd name="T52" fmla="*/ 191 w 1119"/>
                <a:gd name="T53" fmla="*/ 241 h 1137"/>
                <a:gd name="T54" fmla="*/ 382 w 1119"/>
                <a:gd name="T55" fmla="*/ 6 h 1137"/>
                <a:gd name="T56" fmla="*/ 786 w 1119"/>
                <a:gd name="T57" fmla="*/ 110 h 1137"/>
                <a:gd name="T58" fmla="*/ 979 w 1119"/>
                <a:gd name="T59" fmla="*/ 338 h 1137"/>
                <a:gd name="T60" fmla="*/ 1117 w 1119"/>
                <a:gd name="T61" fmla="*/ 451 h 1137"/>
                <a:gd name="T62" fmla="*/ 184 w 1119"/>
                <a:gd name="T63" fmla="*/ 596 h 1137"/>
                <a:gd name="T64" fmla="*/ 184 w 1119"/>
                <a:gd name="T65" fmla="*/ 596 h 1137"/>
                <a:gd name="T66" fmla="*/ 121 w 1119"/>
                <a:gd name="T67" fmla="*/ 517 h 1137"/>
                <a:gd name="T68" fmla="*/ 137 w 1119"/>
                <a:gd name="T69" fmla="*/ 446 h 1137"/>
                <a:gd name="T70" fmla="*/ 415 w 1119"/>
                <a:gd name="T71" fmla="*/ 940 h 1137"/>
                <a:gd name="T72" fmla="*/ 799 w 1119"/>
                <a:gd name="T73" fmla="*/ 996 h 1137"/>
                <a:gd name="T74" fmla="*/ 766 w 1119"/>
                <a:gd name="T75" fmla="*/ 887 h 1137"/>
                <a:gd name="T76" fmla="*/ 318 w 1119"/>
                <a:gd name="T77" fmla="*/ 996 h 1137"/>
                <a:gd name="T78" fmla="*/ 441 w 1119"/>
                <a:gd name="T79" fmla="*/ 796 h 1137"/>
                <a:gd name="T80" fmla="*/ 674 w 1119"/>
                <a:gd name="T81" fmla="*/ 734 h 1137"/>
                <a:gd name="T82" fmla="*/ 415 w 1119"/>
                <a:gd name="T83" fmla="*/ 795 h 1137"/>
                <a:gd name="T84" fmla="*/ 670 w 1119"/>
                <a:gd name="T85" fmla="*/ 711 h 1137"/>
                <a:gd name="T86" fmla="*/ 701 w 1119"/>
                <a:gd name="T87" fmla="*/ 801 h 1137"/>
                <a:gd name="T88" fmla="*/ 812 w 1119"/>
                <a:gd name="T89" fmla="*/ 1101 h 1137"/>
                <a:gd name="T90" fmla="*/ 890 w 1119"/>
                <a:gd name="T91" fmla="*/ 1107 h 1137"/>
                <a:gd name="T92" fmla="*/ 225 w 1119"/>
                <a:gd name="T93" fmla="*/ 1104 h 1137"/>
                <a:gd name="T94" fmla="*/ 304 w 1119"/>
                <a:gd name="T95" fmla="*/ 1104 h 1137"/>
                <a:gd name="T96" fmla="*/ 796 w 1119"/>
                <a:gd name="T97" fmla="*/ 822 h 1137"/>
                <a:gd name="T98" fmla="*/ 830 w 1119"/>
                <a:gd name="T99" fmla="*/ 318 h 1137"/>
                <a:gd name="T100" fmla="*/ 245 w 1119"/>
                <a:gd name="T101" fmla="*/ 371 h 1137"/>
                <a:gd name="T102" fmla="*/ 286 w 1119"/>
                <a:gd name="T103" fmla="*/ 546 h 1137"/>
                <a:gd name="T104" fmla="*/ 816 w 1119"/>
                <a:gd name="T105" fmla="*/ 579 h 1137"/>
                <a:gd name="T106" fmla="*/ 800 w 1119"/>
                <a:gd name="T107" fmla="*/ 378 h 1137"/>
                <a:gd name="T108" fmla="*/ 274 w 1119"/>
                <a:gd name="T109" fmla="*/ 588 h 1137"/>
                <a:gd name="T110" fmla="*/ 301 w 1119"/>
                <a:gd name="T111" fmla="*/ 361 h 1137"/>
                <a:gd name="T112" fmla="*/ 824 w 1119"/>
                <a:gd name="T113" fmla="*/ 372 h 1137"/>
                <a:gd name="T114" fmla="*/ 837 w 1119"/>
                <a:gd name="T115" fmla="*/ 596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9" h="1137">
                  <a:moveTo>
                    <a:pt x="712" y="75"/>
                  </a:moveTo>
                  <a:lnTo>
                    <a:pt x="712" y="24"/>
                  </a:lnTo>
                  <a:lnTo>
                    <a:pt x="405" y="24"/>
                  </a:lnTo>
                  <a:lnTo>
                    <a:pt x="405" y="75"/>
                  </a:lnTo>
                  <a:lnTo>
                    <a:pt x="424" y="70"/>
                  </a:lnTo>
                  <a:lnTo>
                    <a:pt x="442" y="63"/>
                  </a:lnTo>
                  <a:lnTo>
                    <a:pt x="461" y="59"/>
                  </a:lnTo>
                  <a:lnTo>
                    <a:pt x="480" y="55"/>
                  </a:lnTo>
                  <a:lnTo>
                    <a:pt x="499" y="51"/>
                  </a:lnTo>
                  <a:lnTo>
                    <a:pt x="518" y="50"/>
                  </a:lnTo>
                  <a:lnTo>
                    <a:pt x="538" y="49"/>
                  </a:lnTo>
                  <a:lnTo>
                    <a:pt x="558" y="47"/>
                  </a:lnTo>
                  <a:lnTo>
                    <a:pt x="579" y="49"/>
                  </a:lnTo>
                  <a:lnTo>
                    <a:pt x="599" y="50"/>
                  </a:lnTo>
                  <a:lnTo>
                    <a:pt x="618" y="51"/>
                  </a:lnTo>
                  <a:lnTo>
                    <a:pt x="637" y="55"/>
                  </a:lnTo>
                  <a:lnTo>
                    <a:pt x="657" y="59"/>
                  </a:lnTo>
                  <a:lnTo>
                    <a:pt x="675" y="63"/>
                  </a:lnTo>
                  <a:lnTo>
                    <a:pt x="694" y="70"/>
                  </a:lnTo>
                  <a:lnTo>
                    <a:pt x="712" y="75"/>
                  </a:lnTo>
                  <a:close/>
                  <a:moveTo>
                    <a:pt x="934" y="566"/>
                  </a:moveTo>
                  <a:lnTo>
                    <a:pt x="971" y="537"/>
                  </a:lnTo>
                  <a:lnTo>
                    <a:pt x="967" y="534"/>
                  </a:lnTo>
                  <a:lnTo>
                    <a:pt x="962" y="532"/>
                  </a:lnTo>
                  <a:lnTo>
                    <a:pt x="958" y="528"/>
                  </a:lnTo>
                  <a:lnTo>
                    <a:pt x="955" y="522"/>
                  </a:lnTo>
                  <a:lnTo>
                    <a:pt x="953" y="518"/>
                  </a:lnTo>
                  <a:lnTo>
                    <a:pt x="950" y="513"/>
                  </a:lnTo>
                  <a:lnTo>
                    <a:pt x="949" y="507"/>
                  </a:lnTo>
                  <a:lnTo>
                    <a:pt x="949" y="501"/>
                  </a:lnTo>
                  <a:lnTo>
                    <a:pt x="949" y="459"/>
                  </a:lnTo>
                  <a:lnTo>
                    <a:pt x="949" y="453"/>
                  </a:lnTo>
                  <a:lnTo>
                    <a:pt x="950" y="447"/>
                  </a:lnTo>
                  <a:lnTo>
                    <a:pt x="953" y="441"/>
                  </a:lnTo>
                  <a:lnTo>
                    <a:pt x="957" y="436"/>
                  </a:lnTo>
                  <a:lnTo>
                    <a:pt x="961" y="432"/>
                  </a:lnTo>
                  <a:lnTo>
                    <a:pt x="966" y="428"/>
                  </a:lnTo>
                  <a:lnTo>
                    <a:pt x="971" y="424"/>
                  </a:lnTo>
                  <a:lnTo>
                    <a:pt x="978" y="422"/>
                  </a:lnTo>
                  <a:lnTo>
                    <a:pt x="974" y="403"/>
                  </a:lnTo>
                  <a:lnTo>
                    <a:pt x="969" y="384"/>
                  </a:lnTo>
                  <a:lnTo>
                    <a:pt x="963" y="367"/>
                  </a:lnTo>
                  <a:lnTo>
                    <a:pt x="958" y="349"/>
                  </a:lnTo>
                  <a:lnTo>
                    <a:pt x="950" y="332"/>
                  </a:lnTo>
                  <a:lnTo>
                    <a:pt x="944" y="316"/>
                  </a:lnTo>
                  <a:lnTo>
                    <a:pt x="934" y="299"/>
                  </a:lnTo>
                  <a:lnTo>
                    <a:pt x="925" y="283"/>
                  </a:lnTo>
                  <a:lnTo>
                    <a:pt x="916" y="267"/>
                  </a:lnTo>
                  <a:lnTo>
                    <a:pt x="905" y="253"/>
                  </a:lnTo>
                  <a:lnTo>
                    <a:pt x="895" y="237"/>
                  </a:lnTo>
                  <a:lnTo>
                    <a:pt x="883" y="224"/>
                  </a:lnTo>
                  <a:lnTo>
                    <a:pt x="871" y="209"/>
                  </a:lnTo>
                  <a:lnTo>
                    <a:pt x="858" y="196"/>
                  </a:lnTo>
                  <a:lnTo>
                    <a:pt x="845" y="184"/>
                  </a:lnTo>
                  <a:lnTo>
                    <a:pt x="832" y="172"/>
                  </a:lnTo>
                  <a:lnTo>
                    <a:pt x="817" y="160"/>
                  </a:lnTo>
                  <a:lnTo>
                    <a:pt x="803" y="150"/>
                  </a:lnTo>
                  <a:lnTo>
                    <a:pt x="787" y="139"/>
                  </a:lnTo>
                  <a:lnTo>
                    <a:pt x="771" y="130"/>
                  </a:lnTo>
                  <a:lnTo>
                    <a:pt x="755" y="121"/>
                  </a:lnTo>
                  <a:lnTo>
                    <a:pt x="740" y="113"/>
                  </a:lnTo>
                  <a:lnTo>
                    <a:pt x="722" y="105"/>
                  </a:lnTo>
                  <a:lnTo>
                    <a:pt x="705" y="99"/>
                  </a:lnTo>
                  <a:lnTo>
                    <a:pt x="688" y="92"/>
                  </a:lnTo>
                  <a:lnTo>
                    <a:pt x="670" y="87"/>
                  </a:lnTo>
                  <a:lnTo>
                    <a:pt x="653" y="83"/>
                  </a:lnTo>
                  <a:lnTo>
                    <a:pt x="634" y="79"/>
                  </a:lnTo>
                  <a:lnTo>
                    <a:pt x="616" y="76"/>
                  </a:lnTo>
                  <a:lnTo>
                    <a:pt x="596" y="74"/>
                  </a:lnTo>
                  <a:lnTo>
                    <a:pt x="578" y="72"/>
                  </a:lnTo>
                  <a:lnTo>
                    <a:pt x="558" y="72"/>
                  </a:lnTo>
                  <a:lnTo>
                    <a:pt x="540" y="72"/>
                  </a:lnTo>
                  <a:lnTo>
                    <a:pt x="521" y="74"/>
                  </a:lnTo>
                  <a:lnTo>
                    <a:pt x="501" y="76"/>
                  </a:lnTo>
                  <a:lnTo>
                    <a:pt x="483" y="79"/>
                  </a:lnTo>
                  <a:lnTo>
                    <a:pt x="465" y="83"/>
                  </a:lnTo>
                  <a:lnTo>
                    <a:pt x="447" y="87"/>
                  </a:lnTo>
                  <a:lnTo>
                    <a:pt x="429" y="92"/>
                  </a:lnTo>
                  <a:lnTo>
                    <a:pt x="412" y="99"/>
                  </a:lnTo>
                  <a:lnTo>
                    <a:pt x="395" y="105"/>
                  </a:lnTo>
                  <a:lnTo>
                    <a:pt x="378" y="113"/>
                  </a:lnTo>
                  <a:lnTo>
                    <a:pt x="362" y="121"/>
                  </a:lnTo>
                  <a:lnTo>
                    <a:pt x="346" y="130"/>
                  </a:lnTo>
                  <a:lnTo>
                    <a:pt x="330" y="139"/>
                  </a:lnTo>
                  <a:lnTo>
                    <a:pt x="314" y="150"/>
                  </a:lnTo>
                  <a:lnTo>
                    <a:pt x="300" y="160"/>
                  </a:lnTo>
                  <a:lnTo>
                    <a:pt x="286" y="172"/>
                  </a:lnTo>
                  <a:lnTo>
                    <a:pt x="272" y="184"/>
                  </a:lnTo>
                  <a:lnTo>
                    <a:pt x="259" y="196"/>
                  </a:lnTo>
                  <a:lnTo>
                    <a:pt x="246" y="209"/>
                  </a:lnTo>
                  <a:lnTo>
                    <a:pt x="234" y="224"/>
                  </a:lnTo>
                  <a:lnTo>
                    <a:pt x="222" y="237"/>
                  </a:lnTo>
                  <a:lnTo>
                    <a:pt x="212" y="251"/>
                  </a:lnTo>
                  <a:lnTo>
                    <a:pt x="201" y="267"/>
                  </a:lnTo>
                  <a:lnTo>
                    <a:pt x="192" y="283"/>
                  </a:lnTo>
                  <a:lnTo>
                    <a:pt x="183" y="299"/>
                  </a:lnTo>
                  <a:lnTo>
                    <a:pt x="175" y="314"/>
                  </a:lnTo>
                  <a:lnTo>
                    <a:pt x="167" y="332"/>
                  </a:lnTo>
                  <a:lnTo>
                    <a:pt x="159" y="349"/>
                  </a:lnTo>
                  <a:lnTo>
                    <a:pt x="154" y="367"/>
                  </a:lnTo>
                  <a:lnTo>
                    <a:pt x="149" y="384"/>
                  </a:lnTo>
                  <a:lnTo>
                    <a:pt x="143" y="403"/>
                  </a:lnTo>
                  <a:lnTo>
                    <a:pt x="139" y="421"/>
                  </a:lnTo>
                  <a:lnTo>
                    <a:pt x="146" y="424"/>
                  </a:lnTo>
                  <a:lnTo>
                    <a:pt x="151" y="426"/>
                  </a:lnTo>
                  <a:lnTo>
                    <a:pt x="157" y="430"/>
                  </a:lnTo>
                  <a:lnTo>
                    <a:pt x="162" y="436"/>
                  </a:lnTo>
                  <a:lnTo>
                    <a:pt x="164" y="441"/>
                  </a:lnTo>
                  <a:lnTo>
                    <a:pt x="167" y="446"/>
                  </a:lnTo>
                  <a:lnTo>
                    <a:pt x="170" y="453"/>
                  </a:lnTo>
                  <a:lnTo>
                    <a:pt x="170" y="459"/>
                  </a:lnTo>
                  <a:lnTo>
                    <a:pt x="170" y="501"/>
                  </a:lnTo>
                  <a:lnTo>
                    <a:pt x="170" y="507"/>
                  </a:lnTo>
                  <a:lnTo>
                    <a:pt x="168" y="513"/>
                  </a:lnTo>
                  <a:lnTo>
                    <a:pt x="166" y="518"/>
                  </a:lnTo>
                  <a:lnTo>
                    <a:pt x="163" y="522"/>
                  </a:lnTo>
                  <a:lnTo>
                    <a:pt x="161" y="528"/>
                  </a:lnTo>
                  <a:lnTo>
                    <a:pt x="157" y="532"/>
                  </a:lnTo>
                  <a:lnTo>
                    <a:pt x="151" y="534"/>
                  </a:lnTo>
                  <a:lnTo>
                    <a:pt x="147" y="537"/>
                  </a:lnTo>
                  <a:lnTo>
                    <a:pt x="184" y="566"/>
                  </a:lnTo>
                  <a:lnTo>
                    <a:pt x="184" y="566"/>
                  </a:lnTo>
                  <a:lnTo>
                    <a:pt x="221" y="367"/>
                  </a:lnTo>
                  <a:lnTo>
                    <a:pt x="225" y="347"/>
                  </a:lnTo>
                  <a:lnTo>
                    <a:pt x="230" y="332"/>
                  </a:lnTo>
                  <a:lnTo>
                    <a:pt x="234" y="324"/>
                  </a:lnTo>
                  <a:lnTo>
                    <a:pt x="238" y="318"/>
                  </a:lnTo>
                  <a:lnTo>
                    <a:pt x="243" y="312"/>
                  </a:lnTo>
                  <a:lnTo>
                    <a:pt x="247" y="308"/>
                  </a:lnTo>
                  <a:lnTo>
                    <a:pt x="254" y="304"/>
                  </a:lnTo>
                  <a:lnTo>
                    <a:pt x="259" y="300"/>
                  </a:lnTo>
                  <a:lnTo>
                    <a:pt x="267" y="297"/>
                  </a:lnTo>
                  <a:lnTo>
                    <a:pt x="274" y="295"/>
                  </a:lnTo>
                  <a:lnTo>
                    <a:pt x="291" y="292"/>
                  </a:lnTo>
                  <a:lnTo>
                    <a:pt x="312" y="291"/>
                  </a:lnTo>
                  <a:lnTo>
                    <a:pt x="807" y="291"/>
                  </a:lnTo>
                  <a:lnTo>
                    <a:pt x="824" y="293"/>
                  </a:lnTo>
                  <a:lnTo>
                    <a:pt x="840" y="296"/>
                  </a:lnTo>
                  <a:lnTo>
                    <a:pt x="853" y="303"/>
                  </a:lnTo>
                  <a:lnTo>
                    <a:pt x="865" y="309"/>
                  </a:lnTo>
                  <a:lnTo>
                    <a:pt x="875" y="320"/>
                  </a:lnTo>
                  <a:lnTo>
                    <a:pt x="884" y="330"/>
                  </a:lnTo>
                  <a:lnTo>
                    <a:pt x="891" y="345"/>
                  </a:lnTo>
                  <a:lnTo>
                    <a:pt x="896" y="361"/>
                  </a:lnTo>
                  <a:lnTo>
                    <a:pt x="934" y="563"/>
                  </a:lnTo>
                  <a:lnTo>
                    <a:pt x="934" y="566"/>
                  </a:lnTo>
                  <a:close/>
                  <a:moveTo>
                    <a:pt x="980" y="561"/>
                  </a:moveTo>
                  <a:lnTo>
                    <a:pt x="934" y="595"/>
                  </a:lnTo>
                  <a:lnTo>
                    <a:pt x="934" y="596"/>
                  </a:lnTo>
                  <a:lnTo>
                    <a:pt x="934" y="699"/>
                  </a:lnTo>
                  <a:lnTo>
                    <a:pt x="942" y="683"/>
                  </a:lnTo>
                  <a:lnTo>
                    <a:pt x="950" y="666"/>
                  </a:lnTo>
                  <a:lnTo>
                    <a:pt x="957" y="649"/>
                  </a:lnTo>
                  <a:lnTo>
                    <a:pt x="963" y="632"/>
                  </a:lnTo>
                  <a:lnTo>
                    <a:pt x="969" y="614"/>
                  </a:lnTo>
                  <a:lnTo>
                    <a:pt x="972" y="597"/>
                  </a:lnTo>
                  <a:lnTo>
                    <a:pt x="976" y="579"/>
                  </a:lnTo>
                  <a:lnTo>
                    <a:pt x="980" y="561"/>
                  </a:lnTo>
                  <a:close/>
                  <a:moveTo>
                    <a:pt x="988" y="445"/>
                  </a:moveTo>
                  <a:lnTo>
                    <a:pt x="982" y="446"/>
                  </a:lnTo>
                  <a:lnTo>
                    <a:pt x="976" y="449"/>
                  </a:lnTo>
                  <a:lnTo>
                    <a:pt x="974" y="454"/>
                  </a:lnTo>
                  <a:lnTo>
                    <a:pt x="972" y="459"/>
                  </a:lnTo>
                  <a:lnTo>
                    <a:pt x="972" y="501"/>
                  </a:lnTo>
                  <a:lnTo>
                    <a:pt x="974" y="508"/>
                  </a:lnTo>
                  <a:lnTo>
                    <a:pt x="976" y="512"/>
                  </a:lnTo>
                  <a:lnTo>
                    <a:pt x="982" y="516"/>
                  </a:lnTo>
                  <a:lnTo>
                    <a:pt x="988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6" y="517"/>
                  </a:lnTo>
                  <a:lnTo>
                    <a:pt x="1079" y="517"/>
                  </a:lnTo>
                  <a:lnTo>
                    <a:pt x="1086" y="516"/>
                  </a:lnTo>
                  <a:lnTo>
                    <a:pt x="1090" y="512"/>
                  </a:lnTo>
                  <a:lnTo>
                    <a:pt x="1094" y="508"/>
                  </a:lnTo>
                  <a:lnTo>
                    <a:pt x="1095" y="501"/>
                  </a:lnTo>
                  <a:lnTo>
                    <a:pt x="1095" y="459"/>
                  </a:lnTo>
                  <a:lnTo>
                    <a:pt x="1094" y="454"/>
                  </a:lnTo>
                  <a:lnTo>
                    <a:pt x="1090" y="449"/>
                  </a:lnTo>
                  <a:lnTo>
                    <a:pt x="1086" y="446"/>
                  </a:lnTo>
                  <a:lnTo>
                    <a:pt x="1079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1" y="445"/>
                  </a:lnTo>
                  <a:lnTo>
                    <a:pt x="991" y="445"/>
                  </a:lnTo>
                  <a:lnTo>
                    <a:pt x="988" y="445"/>
                  </a:lnTo>
                  <a:close/>
                  <a:moveTo>
                    <a:pt x="1079" y="541"/>
                  </a:moveTo>
                  <a:lnTo>
                    <a:pt x="1007" y="541"/>
                  </a:lnTo>
                  <a:lnTo>
                    <a:pt x="1003" y="568"/>
                  </a:lnTo>
                  <a:lnTo>
                    <a:pt x="997" y="595"/>
                  </a:lnTo>
                  <a:lnTo>
                    <a:pt x="991" y="621"/>
                  </a:lnTo>
                  <a:lnTo>
                    <a:pt x="983" y="647"/>
                  </a:lnTo>
                  <a:lnTo>
                    <a:pt x="974" y="674"/>
                  </a:lnTo>
                  <a:lnTo>
                    <a:pt x="962" y="699"/>
                  </a:lnTo>
                  <a:lnTo>
                    <a:pt x="949" y="722"/>
                  </a:lnTo>
                  <a:lnTo>
                    <a:pt x="934" y="746"/>
                  </a:lnTo>
                  <a:lnTo>
                    <a:pt x="934" y="817"/>
                  </a:lnTo>
                  <a:lnTo>
                    <a:pt x="954" y="817"/>
                  </a:lnTo>
                  <a:lnTo>
                    <a:pt x="959" y="818"/>
                  </a:lnTo>
                  <a:lnTo>
                    <a:pt x="963" y="821"/>
                  </a:lnTo>
                  <a:lnTo>
                    <a:pt x="966" y="825"/>
                  </a:lnTo>
                  <a:lnTo>
                    <a:pt x="966" y="829"/>
                  </a:lnTo>
                  <a:lnTo>
                    <a:pt x="966" y="1008"/>
                  </a:lnTo>
                  <a:lnTo>
                    <a:pt x="966" y="1013"/>
                  </a:lnTo>
                  <a:lnTo>
                    <a:pt x="963" y="1017"/>
                  </a:lnTo>
                  <a:lnTo>
                    <a:pt x="959" y="1020"/>
                  </a:lnTo>
                  <a:lnTo>
                    <a:pt x="954" y="1021"/>
                  </a:lnTo>
                  <a:lnTo>
                    <a:pt x="919" y="1021"/>
                  </a:lnTo>
                  <a:lnTo>
                    <a:pt x="919" y="1095"/>
                  </a:lnTo>
                  <a:lnTo>
                    <a:pt x="919" y="1103"/>
                  </a:lnTo>
                  <a:lnTo>
                    <a:pt x="916" y="1111"/>
                  </a:lnTo>
                  <a:lnTo>
                    <a:pt x="912" y="1119"/>
                  </a:lnTo>
                  <a:lnTo>
                    <a:pt x="907" y="1124"/>
                  </a:lnTo>
                  <a:lnTo>
                    <a:pt x="900" y="1129"/>
                  </a:lnTo>
                  <a:lnTo>
                    <a:pt x="894" y="1133"/>
                  </a:lnTo>
                  <a:lnTo>
                    <a:pt x="886" y="1136"/>
                  </a:lnTo>
                  <a:lnTo>
                    <a:pt x="876" y="1137"/>
                  </a:lnTo>
                  <a:lnTo>
                    <a:pt x="829" y="1137"/>
                  </a:lnTo>
                  <a:lnTo>
                    <a:pt x="821" y="1136"/>
                  </a:lnTo>
                  <a:lnTo>
                    <a:pt x="812" y="1133"/>
                  </a:lnTo>
                  <a:lnTo>
                    <a:pt x="805" y="1129"/>
                  </a:lnTo>
                  <a:lnTo>
                    <a:pt x="799" y="1124"/>
                  </a:lnTo>
                  <a:lnTo>
                    <a:pt x="794" y="1119"/>
                  </a:lnTo>
                  <a:lnTo>
                    <a:pt x="790" y="1111"/>
                  </a:lnTo>
                  <a:lnTo>
                    <a:pt x="788" y="1103"/>
                  </a:lnTo>
                  <a:lnTo>
                    <a:pt x="787" y="1095"/>
                  </a:lnTo>
                  <a:lnTo>
                    <a:pt x="787" y="1021"/>
                  </a:lnTo>
                  <a:lnTo>
                    <a:pt x="695" y="1021"/>
                  </a:lnTo>
                  <a:lnTo>
                    <a:pt x="422" y="1021"/>
                  </a:lnTo>
                  <a:lnTo>
                    <a:pt x="330" y="1021"/>
                  </a:lnTo>
                  <a:lnTo>
                    <a:pt x="330" y="1095"/>
                  </a:lnTo>
                  <a:lnTo>
                    <a:pt x="330" y="1103"/>
                  </a:lnTo>
                  <a:lnTo>
                    <a:pt x="328" y="1111"/>
                  </a:lnTo>
                  <a:lnTo>
                    <a:pt x="324" y="1119"/>
                  </a:lnTo>
                  <a:lnTo>
                    <a:pt x="318" y="1124"/>
                  </a:lnTo>
                  <a:lnTo>
                    <a:pt x="312" y="1129"/>
                  </a:lnTo>
                  <a:lnTo>
                    <a:pt x="305" y="1133"/>
                  </a:lnTo>
                  <a:lnTo>
                    <a:pt x="297" y="1136"/>
                  </a:lnTo>
                  <a:lnTo>
                    <a:pt x="288" y="1137"/>
                  </a:lnTo>
                  <a:lnTo>
                    <a:pt x="241" y="1137"/>
                  </a:lnTo>
                  <a:lnTo>
                    <a:pt x="233" y="1136"/>
                  </a:lnTo>
                  <a:lnTo>
                    <a:pt x="224" y="1133"/>
                  </a:lnTo>
                  <a:lnTo>
                    <a:pt x="217" y="1129"/>
                  </a:lnTo>
                  <a:lnTo>
                    <a:pt x="211" y="1124"/>
                  </a:lnTo>
                  <a:lnTo>
                    <a:pt x="205" y="1119"/>
                  </a:lnTo>
                  <a:lnTo>
                    <a:pt x="201" y="1111"/>
                  </a:lnTo>
                  <a:lnTo>
                    <a:pt x="199" y="1103"/>
                  </a:lnTo>
                  <a:lnTo>
                    <a:pt x="199" y="1095"/>
                  </a:lnTo>
                  <a:lnTo>
                    <a:pt x="199" y="1021"/>
                  </a:lnTo>
                  <a:lnTo>
                    <a:pt x="163" y="1021"/>
                  </a:lnTo>
                  <a:lnTo>
                    <a:pt x="158" y="1020"/>
                  </a:lnTo>
                  <a:lnTo>
                    <a:pt x="154" y="1017"/>
                  </a:lnTo>
                  <a:lnTo>
                    <a:pt x="151" y="1013"/>
                  </a:lnTo>
                  <a:lnTo>
                    <a:pt x="151" y="1008"/>
                  </a:lnTo>
                  <a:lnTo>
                    <a:pt x="151" y="829"/>
                  </a:lnTo>
                  <a:lnTo>
                    <a:pt x="151" y="825"/>
                  </a:lnTo>
                  <a:lnTo>
                    <a:pt x="154" y="821"/>
                  </a:lnTo>
                  <a:lnTo>
                    <a:pt x="158" y="818"/>
                  </a:lnTo>
                  <a:lnTo>
                    <a:pt x="163" y="817"/>
                  </a:lnTo>
                  <a:lnTo>
                    <a:pt x="184" y="817"/>
                  </a:lnTo>
                  <a:lnTo>
                    <a:pt x="184" y="747"/>
                  </a:lnTo>
                  <a:lnTo>
                    <a:pt x="170" y="724"/>
                  </a:lnTo>
                  <a:lnTo>
                    <a:pt x="157" y="700"/>
                  </a:lnTo>
                  <a:lnTo>
                    <a:pt x="145" y="675"/>
                  </a:lnTo>
                  <a:lnTo>
                    <a:pt x="134" y="649"/>
                  </a:lnTo>
                  <a:lnTo>
                    <a:pt x="126" y="622"/>
                  </a:lnTo>
                  <a:lnTo>
                    <a:pt x="120" y="596"/>
                  </a:lnTo>
                  <a:lnTo>
                    <a:pt x="114" y="568"/>
                  </a:lnTo>
                  <a:lnTo>
                    <a:pt x="111" y="541"/>
                  </a:lnTo>
                  <a:lnTo>
                    <a:pt x="39" y="541"/>
                  </a:lnTo>
                  <a:lnTo>
                    <a:pt x="32" y="539"/>
                  </a:lnTo>
                  <a:lnTo>
                    <a:pt x="24" y="538"/>
                  </a:lnTo>
                  <a:lnTo>
                    <a:pt x="17" y="534"/>
                  </a:lnTo>
                  <a:lnTo>
                    <a:pt x="12" y="529"/>
                  </a:lnTo>
                  <a:lnTo>
                    <a:pt x="7" y="524"/>
                  </a:lnTo>
                  <a:lnTo>
                    <a:pt x="3" y="517"/>
                  </a:lnTo>
                  <a:lnTo>
                    <a:pt x="1" y="509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1" y="451"/>
                  </a:lnTo>
                  <a:lnTo>
                    <a:pt x="3" y="445"/>
                  </a:lnTo>
                  <a:lnTo>
                    <a:pt x="7" y="438"/>
                  </a:lnTo>
                  <a:lnTo>
                    <a:pt x="12" y="432"/>
                  </a:lnTo>
                  <a:lnTo>
                    <a:pt x="17" y="428"/>
                  </a:lnTo>
                  <a:lnTo>
                    <a:pt x="24" y="424"/>
                  </a:lnTo>
                  <a:lnTo>
                    <a:pt x="32" y="421"/>
                  </a:lnTo>
                  <a:lnTo>
                    <a:pt x="39" y="420"/>
                  </a:lnTo>
                  <a:lnTo>
                    <a:pt x="116" y="420"/>
                  </a:lnTo>
                  <a:lnTo>
                    <a:pt x="121" y="392"/>
                  </a:lnTo>
                  <a:lnTo>
                    <a:pt x="129" y="364"/>
                  </a:lnTo>
                  <a:lnTo>
                    <a:pt x="138" y="338"/>
                  </a:lnTo>
                  <a:lnTo>
                    <a:pt x="149" y="312"/>
                  </a:lnTo>
                  <a:lnTo>
                    <a:pt x="162" y="287"/>
                  </a:lnTo>
                  <a:lnTo>
                    <a:pt x="175" y="263"/>
                  </a:lnTo>
                  <a:lnTo>
                    <a:pt x="191" y="241"/>
                  </a:lnTo>
                  <a:lnTo>
                    <a:pt x="208" y="218"/>
                  </a:lnTo>
                  <a:lnTo>
                    <a:pt x="225" y="197"/>
                  </a:lnTo>
                  <a:lnTo>
                    <a:pt x="245" y="178"/>
                  </a:lnTo>
                  <a:lnTo>
                    <a:pt x="264" y="158"/>
                  </a:lnTo>
                  <a:lnTo>
                    <a:pt x="286" y="141"/>
                  </a:lnTo>
                  <a:lnTo>
                    <a:pt x="309" y="125"/>
                  </a:lnTo>
                  <a:lnTo>
                    <a:pt x="332" y="110"/>
                  </a:lnTo>
                  <a:lnTo>
                    <a:pt x="357" y="97"/>
                  </a:lnTo>
                  <a:lnTo>
                    <a:pt x="382" y="85"/>
                  </a:lnTo>
                  <a:lnTo>
                    <a:pt x="382" y="12"/>
                  </a:lnTo>
                  <a:lnTo>
                    <a:pt x="382" y="6"/>
                  </a:lnTo>
                  <a:lnTo>
                    <a:pt x="384" y="3"/>
                  </a:lnTo>
                  <a:lnTo>
                    <a:pt x="388" y="0"/>
                  </a:lnTo>
                  <a:lnTo>
                    <a:pt x="393" y="0"/>
                  </a:lnTo>
                  <a:lnTo>
                    <a:pt x="724" y="0"/>
                  </a:lnTo>
                  <a:lnTo>
                    <a:pt x="729" y="0"/>
                  </a:lnTo>
                  <a:lnTo>
                    <a:pt x="733" y="3"/>
                  </a:lnTo>
                  <a:lnTo>
                    <a:pt x="736" y="6"/>
                  </a:lnTo>
                  <a:lnTo>
                    <a:pt x="736" y="12"/>
                  </a:lnTo>
                  <a:lnTo>
                    <a:pt x="736" y="85"/>
                  </a:lnTo>
                  <a:lnTo>
                    <a:pt x="761" y="97"/>
                  </a:lnTo>
                  <a:lnTo>
                    <a:pt x="786" y="110"/>
                  </a:lnTo>
                  <a:lnTo>
                    <a:pt x="809" y="125"/>
                  </a:lnTo>
                  <a:lnTo>
                    <a:pt x="832" y="141"/>
                  </a:lnTo>
                  <a:lnTo>
                    <a:pt x="853" y="158"/>
                  </a:lnTo>
                  <a:lnTo>
                    <a:pt x="872" y="178"/>
                  </a:lnTo>
                  <a:lnTo>
                    <a:pt x="892" y="197"/>
                  </a:lnTo>
                  <a:lnTo>
                    <a:pt x="911" y="218"/>
                  </a:lnTo>
                  <a:lnTo>
                    <a:pt x="926" y="239"/>
                  </a:lnTo>
                  <a:lnTo>
                    <a:pt x="942" y="263"/>
                  </a:lnTo>
                  <a:lnTo>
                    <a:pt x="955" y="287"/>
                  </a:lnTo>
                  <a:lnTo>
                    <a:pt x="969" y="312"/>
                  </a:lnTo>
                  <a:lnTo>
                    <a:pt x="979" y="338"/>
                  </a:lnTo>
                  <a:lnTo>
                    <a:pt x="988" y="364"/>
                  </a:lnTo>
                  <a:lnTo>
                    <a:pt x="996" y="392"/>
                  </a:lnTo>
                  <a:lnTo>
                    <a:pt x="1001" y="420"/>
                  </a:lnTo>
                  <a:lnTo>
                    <a:pt x="1079" y="420"/>
                  </a:lnTo>
                  <a:lnTo>
                    <a:pt x="1087" y="421"/>
                  </a:lnTo>
                  <a:lnTo>
                    <a:pt x="1095" y="424"/>
                  </a:lnTo>
                  <a:lnTo>
                    <a:pt x="1101" y="428"/>
                  </a:lnTo>
                  <a:lnTo>
                    <a:pt x="1107" y="432"/>
                  </a:lnTo>
                  <a:lnTo>
                    <a:pt x="1112" y="438"/>
                  </a:lnTo>
                  <a:lnTo>
                    <a:pt x="1116" y="445"/>
                  </a:lnTo>
                  <a:lnTo>
                    <a:pt x="1117" y="451"/>
                  </a:lnTo>
                  <a:lnTo>
                    <a:pt x="1119" y="459"/>
                  </a:lnTo>
                  <a:lnTo>
                    <a:pt x="1119" y="501"/>
                  </a:lnTo>
                  <a:lnTo>
                    <a:pt x="1117" y="509"/>
                  </a:lnTo>
                  <a:lnTo>
                    <a:pt x="1116" y="517"/>
                  </a:lnTo>
                  <a:lnTo>
                    <a:pt x="1112" y="524"/>
                  </a:lnTo>
                  <a:lnTo>
                    <a:pt x="1107" y="529"/>
                  </a:lnTo>
                  <a:lnTo>
                    <a:pt x="1101" y="534"/>
                  </a:lnTo>
                  <a:lnTo>
                    <a:pt x="1095" y="538"/>
                  </a:lnTo>
                  <a:lnTo>
                    <a:pt x="1087" y="539"/>
                  </a:lnTo>
                  <a:lnTo>
                    <a:pt x="1079" y="541"/>
                  </a:lnTo>
                  <a:close/>
                  <a:moveTo>
                    <a:pt x="184" y="596"/>
                  </a:moveTo>
                  <a:lnTo>
                    <a:pt x="183" y="595"/>
                  </a:lnTo>
                  <a:lnTo>
                    <a:pt x="137" y="561"/>
                  </a:lnTo>
                  <a:lnTo>
                    <a:pt x="141" y="579"/>
                  </a:lnTo>
                  <a:lnTo>
                    <a:pt x="145" y="597"/>
                  </a:lnTo>
                  <a:lnTo>
                    <a:pt x="149" y="614"/>
                  </a:lnTo>
                  <a:lnTo>
                    <a:pt x="155" y="633"/>
                  </a:lnTo>
                  <a:lnTo>
                    <a:pt x="161" y="650"/>
                  </a:lnTo>
                  <a:lnTo>
                    <a:pt x="168" y="667"/>
                  </a:lnTo>
                  <a:lnTo>
                    <a:pt x="176" y="684"/>
                  </a:lnTo>
                  <a:lnTo>
                    <a:pt x="184" y="701"/>
                  </a:lnTo>
                  <a:lnTo>
                    <a:pt x="184" y="596"/>
                  </a:lnTo>
                  <a:close/>
                  <a:moveTo>
                    <a:pt x="39" y="445"/>
                  </a:moveTo>
                  <a:lnTo>
                    <a:pt x="33" y="446"/>
                  </a:lnTo>
                  <a:lnTo>
                    <a:pt x="29" y="449"/>
                  </a:lnTo>
                  <a:lnTo>
                    <a:pt x="25" y="454"/>
                  </a:lnTo>
                  <a:lnTo>
                    <a:pt x="24" y="459"/>
                  </a:lnTo>
                  <a:lnTo>
                    <a:pt x="24" y="501"/>
                  </a:lnTo>
                  <a:lnTo>
                    <a:pt x="25" y="508"/>
                  </a:lnTo>
                  <a:lnTo>
                    <a:pt x="29" y="512"/>
                  </a:lnTo>
                  <a:lnTo>
                    <a:pt x="33" y="516"/>
                  </a:lnTo>
                  <a:lnTo>
                    <a:pt x="39" y="517"/>
                  </a:lnTo>
                  <a:lnTo>
                    <a:pt x="121" y="517"/>
                  </a:lnTo>
                  <a:lnTo>
                    <a:pt x="122" y="517"/>
                  </a:lnTo>
                  <a:lnTo>
                    <a:pt x="122" y="517"/>
                  </a:lnTo>
                  <a:lnTo>
                    <a:pt x="130" y="517"/>
                  </a:lnTo>
                  <a:lnTo>
                    <a:pt x="137" y="516"/>
                  </a:lnTo>
                  <a:lnTo>
                    <a:pt x="141" y="512"/>
                  </a:lnTo>
                  <a:lnTo>
                    <a:pt x="145" y="508"/>
                  </a:lnTo>
                  <a:lnTo>
                    <a:pt x="146" y="501"/>
                  </a:lnTo>
                  <a:lnTo>
                    <a:pt x="146" y="459"/>
                  </a:lnTo>
                  <a:lnTo>
                    <a:pt x="145" y="454"/>
                  </a:lnTo>
                  <a:lnTo>
                    <a:pt x="141" y="449"/>
                  </a:lnTo>
                  <a:lnTo>
                    <a:pt x="137" y="446"/>
                  </a:lnTo>
                  <a:lnTo>
                    <a:pt x="130" y="445"/>
                  </a:lnTo>
                  <a:lnTo>
                    <a:pt x="39" y="445"/>
                  </a:lnTo>
                  <a:close/>
                  <a:moveTo>
                    <a:pt x="682" y="996"/>
                  </a:moveTo>
                  <a:lnTo>
                    <a:pt x="682" y="961"/>
                  </a:lnTo>
                  <a:lnTo>
                    <a:pt x="436" y="961"/>
                  </a:lnTo>
                  <a:lnTo>
                    <a:pt x="436" y="996"/>
                  </a:lnTo>
                  <a:lnTo>
                    <a:pt x="682" y="996"/>
                  </a:lnTo>
                  <a:close/>
                  <a:moveTo>
                    <a:pt x="412" y="996"/>
                  </a:moveTo>
                  <a:lnTo>
                    <a:pt x="412" y="947"/>
                  </a:lnTo>
                  <a:lnTo>
                    <a:pt x="412" y="943"/>
                  </a:lnTo>
                  <a:lnTo>
                    <a:pt x="415" y="940"/>
                  </a:lnTo>
                  <a:lnTo>
                    <a:pt x="418" y="937"/>
                  </a:lnTo>
                  <a:lnTo>
                    <a:pt x="424" y="936"/>
                  </a:lnTo>
                  <a:lnTo>
                    <a:pt x="694" y="936"/>
                  </a:lnTo>
                  <a:lnTo>
                    <a:pt x="699" y="937"/>
                  </a:lnTo>
                  <a:lnTo>
                    <a:pt x="703" y="940"/>
                  </a:lnTo>
                  <a:lnTo>
                    <a:pt x="705" y="943"/>
                  </a:lnTo>
                  <a:lnTo>
                    <a:pt x="707" y="947"/>
                  </a:lnTo>
                  <a:lnTo>
                    <a:pt x="707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907" y="996"/>
                  </a:lnTo>
                  <a:lnTo>
                    <a:pt x="907" y="996"/>
                  </a:lnTo>
                  <a:lnTo>
                    <a:pt x="908" y="996"/>
                  </a:lnTo>
                  <a:lnTo>
                    <a:pt x="942" y="996"/>
                  </a:lnTo>
                  <a:lnTo>
                    <a:pt x="94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809" y="842"/>
                  </a:lnTo>
                  <a:lnTo>
                    <a:pt x="770" y="884"/>
                  </a:lnTo>
                  <a:lnTo>
                    <a:pt x="766" y="887"/>
                  </a:lnTo>
                  <a:lnTo>
                    <a:pt x="762" y="888"/>
                  </a:lnTo>
                  <a:lnTo>
                    <a:pt x="357" y="888"/>
                  </a:lnTo>
                  <a:lnTo>
                    <a:pt x="351" y="887"/>
                  </a:lnTo>
                  <a:lnTo>
                    <a:pt x="347" y="884"/>
                  </a:lnTo>
                  <a:lnTo>
                    <a:pt x="308" y="842"/>
                  </a:lnTo>
                  <a:lnTo>
                    <a:pt x="175" y="842"/>
                  </a:lnTo>
                  <a:lnTo>
                    <a:pt x="175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318" y="996"/>
                  </a:lnTo>
                  <a:lnTo>
                    <a:pt x="318" y="996"/>
                  </a:lnTo>
                  <a:lnTo>
                    <a:pt x="320" y="996"/>
                  </a:lnTo>
                  <a:lnTo>
                    <a:pt x="412" y="996"/>
                  </a:lnTo>
                  <a:close/>
                  <a:moveTo>
                    <a:pt x="447" y="734"/>
                  </a:moveTo>
                  <a:lnTo>
                    <a:pt x="443" y="734"/>
                  </a:lnTo>
                  <a:lnTo>
                    <a:pt x="441" y="737"/>
                  </a:lnTo>
                  <a:lnTo>
                    <a:pt x="438" y="741"/>
                  </a:lnTo>
                  <a:lnTo>
                    <a:pt x="438" y="745"/>
                  </a:lnTo>
                  <a:lnTo>
                    <a:pt x="438" y="788"/>
                  </a:lnTo>
                  <a:lnTo>
                    <a:pt x="438" y="792"/>
                  </a:lnTo>
                  <a:lnTo>
                    <a:pt x="441" y="796"/>
                  </a:lnTo>
                  <a:lnTo>
                    <a:pt x="443" y="797"/>
                  </a:lnTo>
                  <a:lnTo>
                    <a:pt x="447" y="799"/>
                  </a:lnTo>
                  <a:lnTo>
                    <a:pt x="670" y="799"/>
                  </a:lnTo>
                  <a:lnTo>
                    <a:pt x="674" y="797"/>
                  </a:lnTo>
                  <a:lnTo>
                    <a:pt x="676" y="796"/>
                  </a:lnTo>
                  <a:lnTo>
                    <a:pt x="679" y="792"/>
                  </a:lnTo>
                  <a:lnTo>
                    <a:pt x="679" y="788"/>
                  </a:lnTo>
                  <a:lnTo>
                    <a:pt x="679" y="745"/>
                  </a:lnTo>
                  <a:lnTo>
                    <a:pt x="679" y="741"/>
                  </a:lnTo>
                  <a:lnTo>
                    <a:pt x="676" y="737"/>
                  </a:lnTo>
                  <a:lnTo>
                    <a:pt x="674" y="734"/>
                  </a:lnTo>
                  <a:lnTo>
                    <a:pt x="670" y="734"/>
                  </a:lnTo>
                  <a:lnTo>
                    <a:pt x="447" y="734"/>
                  </a:lnTo>
                  <a:close/>
                  <a:moveTo>
                    <a:pt x="670" y="822"/>
                  </a:moveTo>
                  <a:lnTo>
                    <a:pt x="447" y="822"/>
                  </a:lnTo>
                  <a:lnTo>
                    <a:pt x="441" y="822"/>
                  </a:lnTo>
                  <a:lnTo>
                    <a:pt x="434" y="820"/>
                  </a:lnTo>
                  <a:lnTo>
                    <a:pt x="429" y="817"/>
                  </a:lnTo>
                  <a:lnTo>
                    <a:pt x="424" y="813"/>
                  </a:lnTo>
                  <a:lnTo>
                    <a:pt x="420" y="808"/>
                  </a:lnTo>
                  <a:lnTo>
                    <a:pt x="416" y="801"/>
                  </a:lnTo>
                  <a:lnTo>
                    <a:pt x="415" y="795"/>
                  </a:lnTo>
                  <a:lnTo>
                    <a:pt x="413" y="788"/>
                  </a:lnTo>
                  <a:lnTo>
                    <a:pt x="413" y="745"/>
                  </a:lnTo>
                  <a:lnTo>
                    <a:pt x="415" y="737"/>
                  </a:lnTo>
                  <a:lnTo>
                    <a:pt x="416" y="730"/>
                  </a:lnTo>
                  <a:lnTo>
                    <a:pt x="420" y="725"/>
                  </a:lnTo>
                  <a:lnTo>
                    <a:pt x="424" y="720"/>
                  </a:lnTo>
                  <a:lnTo>
                    <a:pt x="429" y="716"/>
                  </a:lnTo>
                  <a:lnTo>
                    <a:pt x="434" y="713"/>
                  </a:lnTo>
                  <a:lnTo>
                    <a:pt x="441" y="711"/>
                  </a:lnTo>
                  <a:lnTo>
                    <a:pt x="447" y="711"/>
                  </a:lnTo>
                  <a:lnTo>
                    <a:pt x="670" y="711"/>
                  </a:lnTo>
                  <a:lnTo>
                    <a:pt x="676" y="711"/>
                  </a:lnTo>
                  <a:lnTo>
                    <a:pt x="683" y="713"/>
                  </a:lnTo>
                  <a:lnTo>
                    <a:pt x="688" y="716"/>
                  </a:lnTo>
                  <a:lnTo>
                    <a:pt x="694" y="720"/>
                  </a:lnTo>
                  <a:lnTo>
                    <a:pt x="697" y="725"/>
                  </a:lnTo>
                  <a:lnTo>
                    <a:pt x="701" y="730"/>
                  </a:lnTo>
                  <a:lnTo>
                    <a:pt x="703" y="737"/>
                  </a:lnTo>
                  <a:lnTo>
                    <a:pt x="704" y="745"/>
                  </a:lnTo>
                  <a:lnTo>
                    <a:pt x="704" y="788"/>
                  </a:lnTo>
                  <a:lnTo>
                    <a:pt x="703" y="795"/>
                  </a:lnTo>
                  <a:lnTo>
                    <a:pt x="701" y="801"/>
                  </a:lnTo>
                  <a:lnTo>
                    <a:pt x="697" y="808"/>
                  </a:lnTo>
                  <a:lnTo>
                    <a:pt x="694" y="813"/>
                  </a:lnTo>
                  <a:lnTo>
                    <a:pt x="688" y="817"/>
                  </a:lnTo>
                  <a:lnTo>
                    <a:pt x="683" y="820"/>
                  </a:lnTo>
                  <a:lnTo>
                    <a:pt x="676" y="822"/>
                  </a:lnTo>
                  <a:lnTo>
                    <a:pt x="670" y="822"/>
                  </a:lnTo>
                  <a:close/>
                  <a:moveTo>
                    <a:pt x="895" y="1021"/>
                  </a:moveTo>
                  <a:lnTo>
                    <a:pt x="811" y="1021"/>
                  </a:lnTo>
                  <a:lnTo>
                    <a:pt x="811" y="1095"/>
                  </a:lnTo>
                  <a:lnTo>
                    <a:pt x="811" y="1097"/>
                  </a:lnTo>
                  <a:lnTo>
                    <a:pt x="812" y="1101"/>
                  </a:lnTo>
                  <a:lnTo>
                    <a:pt x="813" y="1104"/>
                  </a:lnTo>
                  <a:lnTo>
                    <a:pt x="816" y="1107"/>
                  </a:lnTo>
                  <a:lnTo>
                    <a:pt x="819" y="1109"/>
                  </a:lnTo>
                  <a:lnTo>
                    <a:pt x="821" y="1111"/>
                  </a:lnTo>
                  <a:lnTo>
                    <a:pt x="825" y="1112"/>
                  </a:lnTo>
                  <a:lnTo>
                    <a:pt x="829" y="1112"/>
                  </a:lnTo>
                  <a:lnTo>
                    <a:pt x="876" y="1112"/>
                  </a:lnTo>
                  <a:lnTo>
                    <a:pt x="880" y="1112"/>
                  </a:lnTo>
                  <a:lnTo>
                    <a:pt x="884" y="1111"/>
                  </a:lnTo>
                  <a:lnTo>
                    <a:pt x="887" y="1109"/>
                  </a:lnTo>
                  <a:lnTo>
                    <a:pt x="890" y="1107"/>
                  </a:lnTo>
                  <a:lnTo>
                    <a:pt x="892" y="1104"/>
                  </a:lnTo>
                  <a:lnTo>
                    <a:pt x="894" y="1101"/>
                  </a:lnTo>
                  <a:lnTo>
                    <a:pt x="895" y="1097"/>
                  </a:lnTo>
                  <a:lnTo>
                    <a:pt x="895" y="1095"/>
                  </a:lnTo>
                  <a:lnTo>
                    <a:pt x="895" y="1021"/>
                  </a:lnTo>
                  <a:close/>
                  <a:moveTo>
                    <a:pt x="307" y="1021"/>
                  </a:moveTo>
                  <a:lnTo>
                    <a:pt x="222" y="1021"/>
                  </a:lnTo>
                  <a:lnTo>
                    <a:pt x="222" y="1095"/>
                  </a:lnTo>
                  <a:lnTo>
                    <a:pt x="222" y="1097"/>
                  </a:lnTo>
                  <a:lnTo>
                    <a:pt x="224" y="1101"/>
                  </a:lnTo>
                  <a:lnTo>
                    <a:pt x="225" y="1104"/>
                  </a:lnTo>
                  <a:lnTo>
                    <a:pt x="228" y="1107"/>
                  </a:lnTo>
                  <a:lnTo>
                    <a:pt x="230" y="1109"/>
                  </a:lnTo>
                  <a:lnTo>
                    <a:pt x="234" y="1111"/>
                  </a:lnTo>
                  <a:lnTo>
                    <a:pt x="237" y="1112"/>
                  </a:lnTo>
                  <a:lnTo>
                    <a:pt x="241" y="1112"/>
                  </a:lnTo>
                  <a:lnTo>
                    <a:pt x="288" y="1112"/>
                  </a:lnTo>
                  <a:lnTo>
                    <a:pt x="292" y="1112"/>
                  </a:lnTo>
                  <a:lnTo>
                    <a:pt x="296" y="1111"/>
                  </a:lnTo>
                  <a:lnTo>
                    <a:pt x="299" y="1109"/>
                  </a:lnTo>
                  <a:lnTo>
                    <a:pt x="301" y="1107"/>
                  </a:lnTo>
                  <a:lnTo>
                    <a:pt x="304" y="1104"/>
                  </a:lnTo>
                  <a:lnTo>
                    <a:pt x="305" y="1101"/>
                  </a:lnTo>
                  <a:lnTo>
                    <a:pt x="307" y="1097"/>
                  </a:lnTo>
                  <a:lnTo>
                    <a:pt x="307" y="1095"/>
                  </a:lnTo>
                  <a:lnTo>
                    <a:pt x="307" y="1021"/>
                  </a:lnTo>
                  <a:close/>
                  <a:moveTo>
                    <a:pt x="208" y="817"/>
                  </a:moveTo>
                  <a:lnTo>
                    <a:pt x="313" y="817"/>
                  </a:lnTo>
                  <a:lnTo>
                    <a:pt x="317" y="818"/>
                  </a:lnTo>
                  <a:lnTo>
                    <a:pt x="321" y="822"/>
                  </a:lnTo>
                  <a:lnTo>
                    <a:pt x="362" y="863"/>
                  </a:lnTo>
                  <a:lnTo>
                    <a:pt x="757" y="863"/>
                  </a:lnTo>
                  <a:lnTo>
                    <a:pt x="796" y="822"/>
                  </a:lnTo>
                  <a:lnTo>
                    <a:pt x="800" y="818"/>
                  </a:lnTo>
                  <a:lnTo>
                    <a:pt x="805" y="817"/>
                  </a:lnTo>
                  <a:lnTo>
                    <a:pt x="911" y="817"/>
                  </a:lnTo>
                  <a:lnTo>
                    <a:pt x="911" y="566"/>
                  </a:lnTo>
                  <a:lnTo>
                    <a:pt x="874" y="366"/>
                  </a:lnTo>
                  <a:lnTo>
                    <a:pt x="870" y="354"/>
                  </a:lnTo>
                  <a:lnTo>
                    <a:pt x="865" y="343"/>
                  </a:lnTo>
                  <a:lnTo>
                    <a:pt x="858" y="335"/>
                  </a:lnTo>
                  <a:lnTo>
                    <a:pt x="850" y="329"/>
                  </a:lnTo>
                  <a:lnTo>
                    <a:pt x="841" y="322"/>
                  </a:lnTo>
                  <a:lnTo>
                    <a:pt x="830" y="318"/>
                  </a:lnTo>
                  <a:lnTo>
                    <a:pt x="820" y="316"/>
                  </a:lnTo>
                  <a:lnTo>
                    <a:pt x="807" y="316"/>
                  </a:lnTo>
                  <a:lnTo>
                    <a:pt x="312" y="316"/>
                  </a:lnTo>
                  <a:lnTo>
                    <a:pt x="296" y="316"/>
                  </a:lnTo>
                  <a:lnTo>
                    <a:pt x="283" y="317"/>
                  </a:lnTo>
                  <a:lnTo>
                    <a:pt x="271" y="321"/>
                  </a:lnTo>
                  <a:lnTo>
                    <a:pt x="263" y="326"/>
                  </a:lnTo>
                  <a:lnTo>
                    <a:pt x="257" y="333"/>
                  </a:lnTo>
                  <a:lnTo>
                    <a:pt x="251" y="343"/>
                  </a:lnTo>
                  <a:lnTo>
                    <a:pt x="247" y="355"/>
                  </a:lnTo>
                  <a:lnTo>
                    <a:pt x="245" y="371"/>
                  </a:lnTo>
                  <a:lnTo>
                    <a:pt x="208" y="567"/>
                  </a:lnTo>
                  <a:lnTo>
                    <a:pt x="208" y="817"/>
                  </a:lnTo>
                  <a:close/>
                  <a:moveTo>
                    <a:pt x="828" y="387"/>
                  </a:moveTo>
                  <a:lnTo>
                    <a:pt x="828" y="387"/>
                  </a:lnTo>
                  <a:lnTo>
                    <a:pt x="828" y="387"/>
                  </a:lnTo>
                  <a:close/>
                  <a:moveTo>
                    <a:pt x="328" y="374"/>
                  </a:moveTo>
                  <a:lnTo>
                    <a:pt x="322" y="375"/>
                  </a:lnTo>
                  <a:lnTo>
                    <a:pt x="318" y="378"/>
                  </a:lnTo>
                  <a:lnTo>
                    <a:pt x="316" y="382"/>
                  </a:lnTo>
                  <a:lnTo>
                    <a:pt x="314" y="387"/>
                  </a:lnTo>
                  <a:lnTo>
                    <a:pt x="286" y="546"/>
                  </a:lnTo>
                  <a:lnTo>
                    <a:pt x="286" y="554"/>
                  </a:lnTo>
                  <a:lnTo>
                    <a:pt x="286" y="561"/>
                  </a:lnTo>
                  <a:lnTo>
                    <a:pt x="288" y="567"/>
                  </a:lnTo>
                  <a:lnTo>
                    <a:pt x="292" y="572"/>
                  </a:lnTo>
                  <a:lnTo>
                    <a:pt x="296" y="576"/>
                  </a:lnTo>
                  <a:lnTo>
                    <a:pt x="303" y="579"/>
                  </a:lnTo>
                  <a:lnTo>
                    <a:pt x="309" y="582"/>
                  </a:lnTo>
                  <a:lnTo>
                    <a:pt x="316" y="582"/>
                  </a:lnTo>
                  <a:lnTo>
                    <a:pt x="801" y="582"/>
                  </a:lnTo>
                  <a:lnTo>
                    <a:pt x="809" y="582"/>
                  </a:lnTo>
                  <a:lnTo>
                    <a:pt x="816" y="579"/>
                  </a:lnTo>
                  <a:lnTo>
                    <a:pt x="822" y="576"/>
                  </a:lnTo>
                  <a:lnTo>
                    <a:pt x="826" y="572"/>
                  </a:lnTo>
                  <a:lnTo>
                    <a:pt x="830" y="567"/>
                  </a:lnTo>
                  <a:lnTo>
                    <a:pt x="833" y="561"/>
                  </a:lnTo>
                  <a:lnTo>
                    <a:pt x="833" y="554"/>
                  </a:lnTo>
                  <a:lnTo>
                    <a:pt x="833" y="546"/>
                  </a:lnTo>
                  <a:lnTo>
                    <a:pt x="804" y="389"/>
                  </a:lnTo>
                  <a:lnTo>
                    <a:pt x="804" y="388"/>
                  </a:lnTo>
                  <a:lnTo>
                    <a:pt x="804" y="387"/>
                  </a:lnTo>
                  <a:lnTo>
                    <a:pt x="803" y="382"/>
                  </a:lnTo>
                  <a:lnTo>
                    <a:pt x="800" y="378"/>
                  </a:lnTo>
                  <a:lnTo>
                    <a:pt x="795" y="375"/>
                  </a:lnTo>
                  <a:lnTo>
                    <a:pt x="790" y="374"/>
                  </a:lnTo>
                  <a:lnTo>
                    <a:pt x="328" y="374"/>
                  </a:lnTo>
                  <a:close/>
                  <a:moveTo>
                    <a:pt x="801" y="607"/>
                  </a:moveTo>
                  <a:lnTo>
                    <a:pt x="316" y="607"/>
                  </a:lnTo>
                  <a:lnTo>
                    <a:pt x="304" y="605"/>
                  </a:lnTo>
                  <a:lnTo>
                    <a:pt x="292" y="601"/>
                  </a:lnTo>
                  <a:lnTo>
                    <a:pt x="287" y="599"/>
                  </a:lnTo>
                  <a:lnTo>
                    <a:pt x="282" y="596"/>
                  </a:lnTo>
                  <a:lnTo>
                    <a:pt x="278" y="592"/>
                  </a:lnTo>
                  <a:lnTo>
                    <a:pt x="274" y="588"/>
                  </a:lnTo>
                  <a:lnTo>
                    <a:pt x="270" y="583"/>
                  </a:lnTo>
                  <a:lnTo>
                    <a:pt x="267" y="579"/>
                  </a:lnTo>
                  <a:lnTo>
                    <a:pt x="264" y="574"/>
                  </a:lnTo>
                  <a:lnTo>
                    <a:pt x="263" y="567"/>
                  </a:lnTo>
                  <a:lnTo>
                    <a:pt x="261" y="555"/>
                  </a:lnTo>
                  <a:lnTo>
                    <a:pt x="262" y="542"/>
                  </a:lnTo>
                  <a:lnTo>
                    <a:pt x="291" y="386"/>
                  </a:lnTo>
                  <a:lnTo>
                    <a:pt x="292" y="379"/>
                  </a:lnTo>
                  <a:lnTo>
                    <a:pt x="293" y="372"/>
                  </a:lnTo>
                  <a:lnTo>
                    <a:pt x="297" y="366"/>
                  </a:lnTo>
                  <a:lnTo>
                    <a:pt x="301" y="361"/>
                  </a:lnTo>
                  <a:lnTo>
                    <a:pt x="308" y="357"/>
                  </a:lnTo>
                  <a:lnTo>
                    <a:pt x="313" y="353"/>
                  </a:lnTo>
                  <a:lnTo>
                    <a:pt x="321" y="350"/>
                  </a:lnTo>
                  <a:lnTo>
                    <a:pt x="328" y="350"/>
                  </a:lnTo>
                  <a:lnTo>
                    <a:pt x="790" y="350"/>
                  </a:lnTo>
                  <a:lnTo>
                    <a:pt x="797" y="350"/>
                  </a:lnTo>
                  <a:lnTo>
                    <a:pt x="804" y="353"/>
                  </a:lnTo>
                  <a:lnTo>
                    <a:pt x="811" y="357"/>
                  </a:lnTo>
                  <a:lnTo>
                    <a:pt x="816" y="361"/>
                  </a:lnTo>
                  <a:lnTo>
                    <a:pt x="821" y="366"/>
                  </a:lnTo>
                  <a:lnTo>
                    <a:pt x="824" y="372"/>
                  </a:lnTo>
                  <a:lnTo>
                    <a:pt x="826" y="379"/>
                  </a:lnTo>
                  <a:lnTo>
                    <a:pt x="828" y="386"/>
                  </a:lnTo>
                  <a:lnTo>
                    <a:pt x="857" y="542"/>
                  </a:lnTo>
                  <a:lnTo>
                    <a:pt x="857" y="555"/>
                  </a:lnTo>
                  <a:lnTo>
                    <a:pt x="855" y="567"/>
                  </a:lnTo>
                  <a:lnTo>
                    <a:pt x="854" y="574"/>
                  </a:lnTo>
                  <a:lnTo>
                    <a:pt x="851" y="579"/>
                  </a:lnTo>
                  <a:lnTo>
                    <a:pt x="849" y="583"/>
                  </a:lnTo>
                  <a:lnTo>
                    <a:pt x="845" y="588"/>
                  </a:lnTo>
                  <a:lnTo>
                    <a:pt x="841" y="592"/>
                  </a:lnTo>
                  <a:lnTo>
                    <a:pt x="837" y="596"/>
                  </a:lnTo>
                  <a:lnTo>
                    <a:pt x="832" y="599"/>
                  </a:lnTo>
                  <a:lnTo>
                    <a:pt x="826" y="601"/>
                  </a:lnTo>
                  <a:lnTo>
                    <a:pt x="815" y="605"/>
                  </a:lnTo>
                  <a:lnTo>
                    <a:pt x="801" y="607"/>
                  </a:lnTo>
                  <a:close/>
                </a:path>
              </a:pathLst>
            </a:custGeom>
            <a:solidFill>
              <a:srgbClr val="009900"/>
            </a:solidFill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3" name="Freeform 405"/>
            <p:cNvSpPr>
              <a:spLocks noEditPoints="1"/>
            </p:cNvSpPr>
            <p:nvPr/>
          </p:nvSpPr>
          <p:spPr bwMode="auto">
            <a:xfrm>
              <a:off x="6701047" y="3507971"/>
              <a:ext cx="109637" cy="15126"/>
            </a:xfrm>
            <a:custGeom>
              <a:avLst/>
              <a:gdLst>
                <a:gd name="T0" fmla="*/ 604 w 708"/>
                <a:gd name="T1" fmla="*/ 25 h 88"/>
                <a:gd name="T2" fmla="*/ 600 w 708"/>
                <a:gd name="T3" fmla="*/ 29 h 88"/>
                <a:gd name="T4" fmla="*/ 598 w 708"/>
                <a:gd name="T5" fmla="*/ 57 h 88"/>
                <a:gd name="T6" fmla="*/ 601 w 708"/>
                <a:gd name="T7" fmla="*/ 62 h 88"/>
                <a:gd name="T8" fmla="*/ 608 w 708"/>
                <a:gd name="T9" fmla="*/ 65 h 88"/>
                <a:gd name="T10" fmla="*/ 680 w 708"/>
                <a:gd name="T11" fmla="*/ 63 h 88"/>
                <a:gd name="T12" fmla="*/ 684 w 708"/>
                <a:gd name="T13" fmla="*/ 59 h 88"/>
                <a:gd name="T14" fmla="*/ 684 w 708"/>
                <a:gd name="T15" fmla="*/ 32 h 88"/>
                <a:gd name="T16" fmla="*/ 681 w 708"/>
                <a:gd name="T17" fmla="*/ 27 h 88"/>
                <a:gd name="T18" fmla="*/ 676 w 708"/>
                <a:gd name="T19" fmla="*/ 25 h 88"/>
                <a:gd name="T20" fmla="*/ 31 w 708"/>
                <a:gd name="T21" fmla="*/ 25 h 88"/>
                <a:gd name="T22" fmla="*/ 26 w 708"/>
                <a:gd name="T23" fmla="*/ 27 h 88"/>
                <a:gd name="T24" fmla="*/ 23 w 708"/>
                <a:gd name="T25" fmla="*/ 32 h 88"/>
                <a:gd name="T26" fmla="*/ 23 w 708"/>
                <a:gd name="T27" fmla="*/ 59 h 88"/>
                <a:gd name="T28" fmla="*/ 29 w 708"/>
                <a:gd name="T29" fmla="*/ 63 h 88"/>
                <a:gd name="T30" fmla="*/ 100 w 708"/>
                <a:gd name="T31" fmla="*/ 65 h 88"/>
                <a:gd name="T32" fmla="*/ 106 w 708"/>
                <a:gd name="T33" fmla="*/ 62 h 88"/>
                <a:gd name="T34" fmla="*/ 109 w 708"/>
                <a:gd name="T35" fmla="*/ 57 h 88"/>
                <a:gd name="T36" fmla="*/ 108 w 708"/>
                <a:gd name="T37" fmla="*/ 29 h 88"/>
                <a:gd name="T38" fmla="*/ 104 w 708"/>
                <a:gd name="T39" fmla="*/ 25 h 88"/>
                <a:gd name="T40" fmla="*/ 31 w 708"/>
                <a:gd name="T41" fmla="*/ 25 h 88"/>
                <a:gd name="T42" fmla="*/ 31 w 708"/>
                <a:gd name="T43" fmla="*/ 88 h 88"/>
                <a:gd name="T44" fmla="*/ 18 w 708"/>
                <a:gd name="T45" fmla="*/ 86 h 88"/>
                <a:gd name="T46" fmla="*/ 9 w 708"/>
                <a:gd name="T47" fmla="*/ 79 h 88"/>
                <a:gd name="T48" fmla="*/ 2 w 708"/>
                <a:gd name="T49" fmla="*/ 69 h 88"/>
                <a:gd name="T50" fmla="*/ 0 w 708"/>
                <a:gd name="T51" fmla="*/ 57 h 88"/>
                <a:gd name="T52" fmla="*/ 0 w 708"/>
                <a:gd name="T53" fmla="*/ 27 h 88"/>
                <a:gd name="T54" fmla="*/ 5 w 708"/>
                <a:gd name="T55" fmla="*/ 15 h 88"/>
                <a:gd name="T56" fmla="*/ 13 w 708"/>
                <a:gd name="T57" fmla="*/ 6 h 88"/>
                <a:gd name="T58" fmla="*/ 25 w 708"/>
                <a:gd name="T59" fmla="*/ 2 h 88"/>
                <a:gd name="T60" fmla="*/ 100 w 708"/>
                <a:gd name="T61" fmla="*/ 0 h 88"/>
                <a:gd name="T62" fmla="*/ 113 w 708"/>
                <a:gd name="T63" fmla="*/ 3 h 88"/>
                <a:gd name="T64" fmla="*/ 123 w 708"/>
                <a:gd name="T65" fmla="*/ 9 h 88"/>
                <a:gd name="T66" fmla="*/ 130 w 708"/>
                <a:gd name="T67" fmla="*/ 20 h 88"/>
                <a:gd name="T68" fmla="*/ 133 w 708"/>
                <a:gd name="T69" fmla="*/ 32 h 88"/>
                <a:gd name="T70" fmla="*/ 131 w 708"/>
                <a:gd name="T71" fmla="*/ 63 h 88"/>
                <a:gd name="T72" fmla="*/ 127 w 708"/>
                <a:gd name="T73" fmla="*/ 74 h 88"/>
                <a:gd name="T74" fmla="*/ 118 w 708"/>
                <a:gd name="T75" fmla="*/ 83 h 88"/>
                <a:gd name="T76" fmla="*/ 106 w 708"/>
                <a:gd name="T77" fmla="*/ 88 h 88"/>
                <a:gd name="T78" fmla="*/ 676 w 708"/>
                <a:gd name="T79" fmla="*/ 88 h 88"/>
                <a:gd name="T80" fmla="*/ 601 w 708"/>
                <a:gd name="T81" fmla="*/ 88 h 88"/>
                <a:gd name="T82" fmla="*/ 589 w 708"/>
                <a:gd name="T83" fmla="*/ 83 h 88"/>
                <a:gd name="T84" fmla="*/ 581 w 708"/>
                <a:gd name="T85" fmla="*/ 74 h 88"/>
                <a:gd name="T86" fmla="*/ 576 w 708"/>
                <a:gd name="T87" fmla="*/ 63 h 88"/>
                <a:gd name="T88" fmla="*/ 575 w 708"/>
                <a:gd name="T89" fmla="*/ 32 h 88"/>
                <a:gd name="T90" fmla="*/ 577 w 708"/>
                <a:gd name="T91" fmla="*/ 20 h 88"/>
                <a:gd name="T92" fmla="*/ 584 w 708"/>
                <a:gd name="T93" fmla="*/ 9 h 88"/>
                <a:gd name="T94" fmla="*/ 594 w 708"/>
                <a:gd name="T95" fmla="*/ 3 h 88"/>
                <a:gd name="T96" fmla="*/ 608 w 708"/>
                <a:gd name="T97" fmla="*/ 0 h 88"/>
                <a:gd name="T98" fmla="*/ 683 w 708"/>
                <a:gd name="T99" fmla="*/ 2 h 88"/>
                <a:gd name="T100" fmla="*/ 694 w 708"/>
                <a:gd name="T101" fmla="*/ 6 h 88"/>
                <a:gd name="T102" fmla="*/ 702 w 708"/>
                <a:gd name="T103" fmla="*/ 15 h 88"/>
                <a:gd name="T104" fmla="*/ 708 w 708"/>
                <a:gd name="T105" fmla="*/ 27 h 88"/>
                <a:gd name="T106" fmla="*/ 708 w 708"/>
                <a:gd name="T107" fmla="*/ 57 h 88"/>
                <a:gd name="T108" fmla="*/ 705 w 708"/>
                <a:gd name="T109" fmla="*/ 69 h 88"/>
                <a:gd name="T110" fmla="*/ 698 w 708"/>
                <a:gd name="T111" fmla="*/ 79 h 88"/>
                <a:gd name="T112" fmla="*/ 689 w 708"/>
                <a:gd name="T113" fmla="*/ 86 h 88"/>
                <a:gd name="T114" fmla="*/ 676 w 708"/>
                <a:gd name="T1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8" h="88">
                  <a:moveTo>
                    <a:pt x="608" y="25"/>
                  </a:moveTo>
                  <a:lnTo>
                    <a:pt x="604" y="25"/>
                  </a:lnTo>
                  <a:lnTo>
                    <a:pt x="601" y="27"/>
                  </a:lnTo>
                  <a:lnTo>
                    <a:pt x="600" y="29"/>
                  </a:lnTo>
                  <a:lnTo>
                    <a:pt x="598" y="32"/>
                  </a:lnTo>
                  <a:lnTo>
                    <a:pt x="598" y="57"/>
                  </a:lnTo>
                  <a:lnTo>
                    <a:pt x="600" y="59"/>
                  </a:lnTo>
                  <a:lnTo>
                    <a:pt x="601" y="62"/>
                  </a:lnTo>
                  <a:lnTo>
                    <a:pt x="604" y="63"/>
                  </a:lnTo>
                  <a:lnTo>
                    <a:pt x="608" y="65"/>
                  </a:lnTo>
                  <a:lnTo>
                    <a:pt x="676" y="65"/>
                  </a:lnTo>
                  <a:lnTo>
                    <a:pt x="680" y="63"/>
                  </a:lnTo>
                  <a:lnTo>
                    <a:pt x="681" y="62"/>
                  </a:lnTo>
                  <a:lnTo>
                    <a:pt x="684" y="59"/>
                  </a:lnTo>
                  <a:lnTo>
                    <a:pt x="684" y="57"/>
                  </a:lnTo>
                  <a:lnTo>
                    <a:pt x="684" y="32"/>
                  </a:lnTo>
                  <a:lnTo>
                    <a:pt x="684" y="29"/>
                  </a:lnTo>
                  <a:lnTo>
                    <a:pt x="681" y="27"/>
                  </a:lnTo>
                  <a:lnTo>
                    <a:pt x="680" y="25"/>
                  </a:lnTo>
                  <a:lnTo>
                    <a:pt x="676" y="25"/>
                  </a:lnTo>
                  <a:lnTo>
                    <a:pt x="608" y="25"/>
                  </a:lnTo>
                  <a:close/>
                  <a:moveTo>
                    <a:pt x="31" y="25"/>
                  </a:moveTo>
                  <a:lnTo>
                    <a:pt x="29" y="25"/>
                  </a:lnTo>
                  <a:lnTo>
                    <a:pt x="26" y="27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9" y="63"/>
                  </a:lnTo>
                  <a:lnTo>
                    <a:pt x="31" y="65"/>
                  </a:lnTo>
                  <a:lnTo>
                    <a:pt x="100" y="65"/>
                  </a:lnTo>
                  <a:lnTo>
                    <a:pt x="104" y="63"/>
                  </a:lnTo>
                  <a:lnTo>
                    <a:pt x="106" y="62"/>
                  </a:lnTo>
                  <a:lnTo>
                    <a:pt x="108" y="59"/>
                  </a:lnTo>
                  <a:lnTo>
                    <a:pt x="109" y="57"/>
                  </a:lnTo>
                  <a:lnTo>
                    <a:pt x="109" y="32"/>
                  </a:lnTo>
                  <a:lnTo>
                    <a:pt x="108" y="29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31" y="25"/>
                  </a:lnTo>
                  <a:close/>
                  <a:moveTo>
                    <a:pt x="100" y="88"/>
                  </a:moveTo>
                  <a:lnTo>
                    <a:pt x="31" y="88"/>
                  </a:lnTo>
                  <a:lnTo>
                    <a:pt x="25" y="88"/>
                  </a:lnTo>
                  <a:lnTo>
                    <a:pt x="18" y="86"/>
                  </a:lnTo>
                  <a:lnTo>
                    <a:pt x="13" y="83"/>
                  </a:lnTo>
                  <a:lnTo>
                    <a:pt x="9" y="79"/>
                  </a:lnTo>
                  <a:lnTo>
                    <a:pt x="5" y="74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8" y="3"/>
                  </a:lnTo>
                  <a:lnTo>
                    <a:pt x="25" y="2"/>
                  </a:lnTo>
                  <a:lnTo>
                    <a:pt x="31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13" y="3"/>
                  </a:lnTo>
                  <a:lnTo>
                    <a:pt x="118" y="6"/>
                  </a:lnTo>
                  <a:lnTo>
                    <a:pt x="123" y="9"/>
                  </a:lnTo>
                  <a:lnTo>
                    <a:pt x="127" y="15"/>
                  </a:lnTo>
                  <a:lnTo>
                    <a:pt x="130" y="20"/>
                  </a:lnTo>
                  <a:lnTo>
                    <a:pt x="131" y="27"/>
                  </a:lnTo>
                  <a:lnTo>
                    <a:pt x="133" y="32"/>
                  </a:lnTo>
                  <a:lnTo>
                    <a:pt x="133" y="57"/>
                  </a:lnTo>
                  <a:lnTo>
                    <a:pt x="131" y="63"/>
                  </a:lnTo>
                  <a:lnTo>
                    <a:pt x="130" y="69"/>
                  </a:lnTo>
                  <a:lnTo>
                    <a:pt x="127" y="74"/>
                  </a:lnTo>
                  <a:lnTo>
                    <a:pt x="123" y="79"/>
                  </a:lnTo>
                  <a:lnTo>
                    <a:pt x="118" y="83"/>
                  </a:lnTo>
                  <a:lnTo>
                    <a:pt x="113" y="86"/>
                  </a:lnTo>
                  <a:lnTo>
                    <a:pt x="106" y="88"/>
                  </a:lnTo>
                  <a:lnTo>
                    <a:pt x="100" y="88"/>
                  </a:lnTo>
                  <a:close/>
                  <a:moveTo>
                    <a:pt x="676" y="88"/>
                  </a:moveTo>
                  <a:lnTo>
                    <a:pt x="608" y="88"/>
                  </a:lnTo>
                  <a:lnTo>
                    <a:pt x="601" y="88"/>
                  </a:lnTo>
                  <a:lnTo>
                    <a:pt x="594" y="86"/>
                  </a:lnTo>
                  <a:lnTo>
                    <a:pt x="589" y="83"/>
                  </a:lnTo>
                  <a:lnTo>
                    <a:pt x="584" y="79"/>
                  </a:lnTo>
                  <a:lnTo>
                    <a:pt x="581" y="74"/>
                  </a:lnTo>
                  <a:lnTo>
                    <a:pt x="577" y="69"/>
                  </a:lnTo>
                  <a:lnTo>
                    <a:pt x="576" y="63"/>
                  </a:lnTo>
                  <a:lnTo>
                    <a:pt x="575" y="57"/>
                  </a:lnTo>
                  <a:lnTo>
                    <a:pt x="575" y="32"/>
                  </a:lnTo>
                  <a:lnTo>
                    <a:pt x="576" y="27"/>
                  </a:lnTo>
                  <a:lnTo>
                    <a:pt x="577" y="20"/>
                  </a:lnTo>
                  <a:lnTo>
                    <a:pt x="581" y="15"/>
                  </a:lnTo>
                  <a:lnTo>
                    <a:pt x="584" y="9"/>
                  </a:lnTo>
                  <a:lnTo>
                    <a:pt x="589" y="6"/>
                  </a:lnTo>
                  <a:lnTo>
                    <a:pt x="594" y="3"/>
                  </a:lnTo>
                  <a:lnTo>
                    <a:pt x="601" y="2"/>
                  </a:lnTo>
                  <a:lnTo>
                    <a:pt x="608" y="0"/>
                  </a:lnTo>
                  <a:lnTo>
                    <a:pt x="676" y="0"/>
                  </a:lnTo>
                  <a:lnTo>
                    <a:pt x="683" y="2"/>
                  </a:lnTo>
                  <a:lnTo>
                    <a:pt x="689" y="3"/>
                  </a:lnTo>
                  <a:lnTo>
                    <a:pt x="694" y="6"/>
                  </a:lnTo>
                  <a:lnTo>
                    <a:pt x="698" y="9"/>
                  </a:lnTo>
                  <a:lnTo>
                    <a:pt x="702" y="15"/>
                  </a:lnTo>
                  <a:lnTo>
                    <a:pt x="705" y="20"/>
                  </a:lnTo>
                  <a:lnTo>
                    <a:pt x="708" y="27"/>
                  </a:lnTo>
                  <a:lnTo>
                    <a:pt x="708" y="32"/>
                  </a:lnTo>
                  <a:lnTo>
                    <a:pt x="708" y="57"/>
                  </a:lnTo>
                  <a:lnTo>
                    <a:pt x="708" y="63"/>
                  </a:lnTo>
                  <a:lnTo>
                    <a:pt x="705" y="69"/>
                  </a:lnTo>
                  <a:lnTo>
                    <a:pt x="702" y="74"/>
                  </a:lnTo>
                  <a:lnTo>
                    <a:pt x="698" y="79"/>
                  </a:lnTo>
                  <a:lnTo>
                    <a:pt x="694" y="83"/>
                  </a:lnTo>
                  <a:lnTo>
                    <a:pt x="689" y="86"/>
                  </a:lnTo>
                  <a:lnTo>
                    <a:pt x="683" y="88"/>
                  </a:lnTo>
                  <a:lnTo>
                    <a:pt x="676" y="88"/>
                  </a:lnTo>
                  <a:close/>
                </a:path>
              </a:pathLst>
            </a:custGeom>
            <a:solidFill>
              <a:srgbClr val="009900"/>
            </a:solidFill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00" name="Текст 85"/>
          <p:cNvSpPr txBox="1">
            <a:spLocks/>
          </p:cNvSpPr>
          <p:nvPr/>
        </p:nvSpPr>
        <p:spPr>
          <a:xfrm>
            <a:off x="2008544" y="3059882"/>
            <a:ext cx="583684" cy="201465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endParaRPr kumimoji="0" lang="ru-RU" sz="7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974" name="opt_marketing"/>
          <p:cNvGrpSpPr>
            <a:grpSpLocks noChangeAspect="1"/>
          </p:cNvGrpSpPr>
          <p:nvPr/>
        </p:nvGrpSpPr>
        <p:grpSpPr>
          <a:xfrm>
            <a:off x="2179925" y="3294451"/>
            <a:ext cx="240352" cy="161925"/>
            <a:chOff x="55563" y="3265488"/>
            <a:chExt cx="723900" cy="431800"/>
          </a:xfrm>
          <a:solidFill>
            <a:srgbClr val="7030A0"/>
          </a:solidFill>
        </p:grpSpPr>
        <p:sp>
          <p:nvSpPr>
            <p:cNvPr id="975" name="Freeform 12"/>
            <p:cNvSpPr>
              <a:spLocks noEditPoints="1"/>
            </p:cNvSpPr>
            <p:nvPr/>
          </p:nvSpPr>
          <p:spPr bwMode="auto">
            <a:xfrm>
              <a:off x="55563" y="3265488"/>
              <a:ext cx="723900" cy="431800"/>
            </a:xfrm>
            <a:custGeom>
              <a:avLst/>
              <a:gdLst>
                <a:gd name="T0" fmla="*/ 23 w 1366"/>
                <a:gd name="T1" fmla="*/ 263 h 816"/>
                <a:gd name="T2" fmla="*/ 71 w 1366"/>
                <a:gd name="T3" fmla="*/ 115 h 816"/>
                <a:gd name="T4" fmla="*/ 1286 w 1366"/>
                <a:gd name="T5" fmla="*/ 103 h 816"/>
                <a:gd name="T6" fmla="*/ 1339 w 1366"/>
                <a:gd name="T7" fmla="*/ 239 h 816"/>
                <a:gd name="T8" fmla="*/ 1335 w 1366"/>
                <a:gd name="T9" fmla="*/ 488 h 816"/>
                <a:gd name="T10" fmla="*/ 1280 w 1366"/>
                <a:gd name="T11" fmla="*/ 608 h 816"/>
                <a:gd name="T12" fmla="*/ 36 w 1366"/>
                <a:gd name="T13" fmla="*/ 507 h 816"/>
                <a:gd name="T14" fmla="*/ 760 w 1366"/>
                <a:gd name="T15" fmla="*/ 78 h 816"/>
                <a:gd name="T16" fmla="*/ 580 w 1366"/>
                <a:gd name="T17" fmla="*/ 25 h 816"/>
                <a:gd name="T18" fmla="*/ 786 w 1366"/>
                <a:gd name="T19" fmla="*/ 34 h 816"/>
                <a:gd name="T20" fmla="*/ 1339 w 1366"/>
                <a:gd name="T21" fmla="*/ 608 h 816"/>
                <a:gd name="T22" fmla="*/ 1352 w 1366"/>
                <a:gd name="T23" fmla="*/ 493 h 816"/>
                <a:gd name="T24" fmla="*/ 1360 w 1366"/>
                <a:gd name="T25" fmla="*/ 251 h 816"/>
                <a:gd name="T26" fmla="*/ 1303 w 1366"/>
                <a:gd name="T27" fmla="*/ 94 h 816"/>
                <a:gd name="T28" fmla="*/ 793 w 1366"/>
                <a:gd name="T29" fmla="*/ 52 h 816"/>
                <a:gd name="T30" fmla="*/ 796 w 1366"/>
                <a:gd name="T31" fmla="*/ 9 h 816"/>
                <a:gd name="T32" fmla="*/ 571 w 1366"/>
                <a:gd name="T33" fmla="*/ 9 h 816"/>
                <a:gd name="T34" fmla="*/ 575 w 1366"/>
                <a:gd name="T35" fmla="*/ 53 h 816"/>
                <a:gd name="T36" fmla="*/ 69 w 1366"/>
                <a:gd name="T37" fmla="*/ 88 h 816"/>
                <a:gd name="T38" fmla="*/ 10 w 1366"/>
                <a:gd name="T39" fmla="*/ 229 h 816"/>
                <a:gd name="T40" fmla="*/ 9 w 1366"/>
                <a:gd name="T41" fmla="*/ 472 h 816"/>
                <a:gd name="T42" fmla="*/ 62 w 1366"/>
                <a:gd name="T43" fmla="*/ 608 h 816"/>
                <a:gd name="T44" fmla="*/ 23 w 1366"/>
                <a:gd name="T45" fmla="*/ 688 h 816"/>
                <a:gd name="T46" fmla="*/ 51 w 1366"/>
                <a:gd name="T47" fmla="*/ 732 h 816"/>
                <a:gd name="T48" fmla="*/ 71 w 1366"/>
                <a:gd name="T49" fmla="*/ 788 h 816"/>
                <a:gd name="T50" fmla="*/ 129 w 1366"/>
                <a:gd name="T51" fmla="*/ 808 h 816"/>
                <a:gd name="T52" fmla="*/ 182 w 1366"/>
                <a:gd name="T53" fmla="*/ 762 h 816"/>
                <a:gd name="T54" fmla="*/ 152 w 1366"/>
                <a:gd name="T55" fmla="*/ 779 h 816"/>
                <a:gd name="T56" fmla="*/ 84 w 1366"/>
                <a:gd name="T57" fmla="*/ 775 h 816"/>
                <a:gd name="T58" fmla="*/ 91 w 1366"/>
                <a:gd name="T59" fmla="*/ 698 h 816"/>
                <a:gd name="T60" fmla="*/ 153 w 1366"/>
                <a:gd name="T61" fmla="*/ 702 h 816"/>
                <a:gd name="T62" fmla="*/ 178 w 1366"/>
                <a:gd name="T63" fmla="*/ 704 h 816"/>
                <a:gd name="T64" fmla="*/ 230 w 1366"/>
                <a:gd name="T65" fmla="*/ 712 h 816"/>
                <a:gd name="T66" fmla="*/ 263 w 1366"/>
                <a:gd name="T67" fmla="*/ 694 h 816"/>
                <a:gd name="T68" fmla="*/ 329 w 1366"/>
                <a:gd name="T69" fmla="*/ 712 h 816"/>
                <a:gd name="T70" fmla="*/ 306 w 1366"/>
                <a:gd name="T71" fmla="*/ 787 h 816"/>
                <a:gd name="T72" fmla="*/ 246 w 1366"/>
                <a:gd name="T73" fmla="*/ 768 h 816"/>
                <a:gd name="T74" fmla="*/ 226 w 1366"/>
                <a:gd name="T75" fmla="*/ 769 h 816"/>
                <a:gd name="T76" fmla="*/ 294 w 1366"/>
                <a:gd name="T77" fmla="*/ 809 h 816"/>
                <a:gd name="T78" fmla="*/ 344 w 1366"/>
                <a:gd name="T79" fmla="*/ 779 h 816"/>
                <a:gd name="T80" fmla="*/ 352 w 1366"/>
                <a:gd name="T81" fmla="*/ 718 h 816"/>
                <a:gd name="T82" fmla="*/ 1014 w 1366"/>
                <a:gd name="T83" fmla="*/ 706 h 816"/>
                <a:gd name="T84" fmla="*/ 1010 w 1366"/>
                <a:gd name="T85" fmla="*/ 772 h 816"/>
                <a:gd name="T86" fmla="*/ 1053 w 1366"/>
                <a:gd name="T87" fmla="*/ 813 h 816"/>
                <a:gd name="T88" fmla="*/ 1126 w 1366"/>
                <a:gd name="T89" fmla="*/ 794 h 816"/>
                <a:gd name="T90" fmla="*/ 1123 w 1366"/>
                <a:gd name="T91" fmla="*/ 766 h 816"/>
                <a:gd name="T92" fmla="*/ 1074 w 1366"/>
                <a:gd name="T93" fmla="*/ 798 h 816"/>
                <a:gd name="T94" fmla="*/ 1023 w 1366"/>
                <a:gd name="T95" fmla="*/ 755 h 816"/>
                <a:gd name="T96" fmla="*/ 1064 w 1366"/>
                <a:gd name="T97" fmla="*/ 690 h 816"/>
                <a:gd name="T98" fmla="*/ 1115 w 1366"/>
                <a:gd name="T99" fmla="*/ 712 h 816"/>
                <a:gd name="T100" fmla="*/ 1134 w 1366"/>
                <a:gd name="T101" fmla="*/ 711 h 816"/>
                <a:gd name="T102" fmla="*/ 1185 w 1366"/>
                <a:gd name="T103" fmla="*/ 711 h 816"/>
                <a:gd name="T104" fmla="*/ 1204 w 1366"/>
                <a:gd name="T105" fmla="*/ 710 h 816"/>
                <a:gd name="T106" fmla="*/ 1256 w 1366"/>
                <a:gd name="T107" fmla="*/ 690 h 816"/>
                <a:gd name="T108" fmla="*/ 1297 w 1366"/>
                <a:gd name="T109" fmla="*/ 755 h 816"/>
                <a:gd name="T110" fmla="*/ 1245 w 1366"/>
                <a:gd name="T111" fmla="*/ 798 h 816"/>
                <a:gd name="T112" fmla="*/ 1198 w 1366"/>
                <a:gd name="T113" fmla="*/ 767 h 816"/>
                <a:gd name="T114" fmla="*/ 1194 w 1366"/>
                <a:gd name="T115" fmla="*/ 793 h 816"/>
                <a:gd name="T116" fmla="*/ 1267 w 1366"/>
                <a:gd name="T117" fmla="*/ 813 h 816"/>
                <a:gd name="T118" fmla="*/ 1310 w 1366"/>
                <a:gd name="T119" fmla="*/ 772 h 816"/>
                <a:gd name="T120" fmla="*/ 1306 w 1366"/>
                <a:gd name="T121" fmla="*/ 706 h 816"/>
                <a:gd name="T122" fmla="*/ 1348 w 1366"/>
                <a:gd name="T123" fmla="*/ 617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66" h="816">
                  <a:moveTo>
                    <a:pt x="1331" y="671"/>
                  </a:moveTo>
                  <a:lnTo>
                    <a:pt x="36" y="671"/>
                  </a:lnTo>
                  <a:lnTo>
                    <a:pt x="36" y="625"/>
                  </a:lnTo>
                  <a:lnTo>
                    <a:pt x="1331" y="625"/>
                  </a:lnTo>
                  <a:lnTo>
                    <a:pt x="1331" y="671"/>
                  </a:lnTo>
                  <a:close/>
                  <a:moveTo>
                    <a:pt x="18" y="351"/>
                  </a:moveTo>
                  <a:lnTo>
                    <a:pt x="18" y="320"/>
                  </a:lnTo>
                  <a:lnTo>
                    <a:pt x="20" y="290"/>
                  </a:lnTo>
                  <a:lnTo>
                    <a:pt x="23" y="263"/>
                  </a:lnTo>
                  <a:lnTo>
                    <a:pt x="27" y="238"/>
                  </a:lnTo>
                  <a:lnTo>
                    <a:pt x="31" y="215"/>
                  </a:lnTo>
                  <a:lnTo>
                    <a:pt x="36" y="196"/>
                  </a:lnTo>
                  <a:lnTo>
                    <a:pt x="42" y="177"/>
                  </a:lnTo>
                  <a:lnTo>
                    <a:pt x="48" y="161"/>
                  </a:lnTo>
                  <a:lnTo>
                    <a:pt x="54" y="147"/>
                  </a:lnTo>
                  <a:lnTo>
                    <a:pt x="60" y="134"/>
                  </a:lnTo>
                  <a:lnTo>
                    <a:pt x="65" y="124"/>
                  </a:lnTo>
                  <a:lnTo>
                    <a:pt x="71" y="115"/>
                  </a:lnTo>
                  <a:lnTo>
                    <a:pt x="81" y="103"/>
                  </a:lnTo>
                  <a:lnTo>
                    <a:pt x="87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1280" y="95"/>
                  </a:lnTo>
                  <a:lnTo>
                    <a:pt x="1286" y="103"/>
                  </a:lnTo>
                  <a:lnTo>
                    <a:pt x="1296" y="116"/>
                  </a:lnTo>
                  <a:lnTo>
                    <a:pt x="1302" y="124"/>
                  </a:lnTo>
                  <a:lnTo>
                    <a:pt x="1307" y="135"/>
                  </a:lnTo>
                  <a:lnTo>
                    <a:pt x="1313" y="148"/>
                  </a:lnTo>
                  <a:lnTo>
                    <a:pt x="1319" y="162"/>
                  </a:lnTo>
                  <a:lnTo>
                    <a:pt x="1324" y="178"/>
                  </a:lnTo>
                  <a:lnTo>
                    <a:pt x="1330" y="197"/>
                  </a:lnTo>
                  <a:lnTo>
                    <a:pt x="1335" y="216"/>
                  </a:lnTo>
                  <a:lnTo>
                    <a:pt x="1339" y="239"/>
                  </a:lnTo>
                  <a:lnTo>
                    <a:pt x="1344" y="264"/>
                  </a:lnTo>
                  <a:lnTo>
                    <a:pt x="1346" y="291"/>
                  </a:lnTo>
                  <a:lnTo>
                    <a:pt x="1348" y="320"/>
                  </a:lnTo>
                  <a:lnTo>
                    <a:pt x="1349" y="351"/>
                  </a:lnTo>
                  <a:lnTo>
                    <a:pt x="1348" y="383"/>
                  </a:lnTo>
                  <a:lnTo>
                    <a:pt x="1346" y="414"/>
                  </a:lnTo>
                  <a:lnTo>
                    <a:pt x="1343" y="441"/>
                  </a:lnTo>
                  <a:lnTo>
                    <a:pt x="1339" y="466"/>
                  </a:lnTo>
                  <a:lnTo>
                    <a:pt x="1335" y="488"/>
                  </a:lnTo>
                  <a:lnTo>
                    <a:pt x="1330" y="509"/>
                  </a:lnTo>
                  <a:lnTo>
                    <a:pt x="1324" y="526"/>
                  </a:lnTo>
                  <a:lnTo>
                    <a:pt x="1318" y="542"/>
                  </a:lnTo>
                  <a:lnTo>
                    <a:pt x="1312" y="557"/>
                  </a:lnTo>
                  <a:lnTo>
                    <a:pt x="1306" y="569"/>
                  </a:lnTo>
                  <a:lnTo>
                    <a:pt x="1301" y="580"/>
                  </a:lnTo>
                  <a:lnTo>
                    <a:pt x="1295" y="589"/>
                  </a:lnTo>
                  <a:lnTo>
                    <a:pt x="1285" y="600"/>
                  </a:lnTo>
                  <a:lnTo>
                    <a:pt x="1280" y="608"/>
                  </a:lnTo>
                  <a:lnTo>
                    <a:pt x="86" y="608"/>
                  </a:lnTo>
                  <a:lnTo>
                    <a:pt x="79" y="600"/>
                  </a:lnTo>
                  <a:lnTo>
                    <a:pt x="71" y="588"/>
                  </a:lnTo>
                  <a:lnTo>
                    <a:pt x="65" y="579"/>
                  </a:lnTo>
                  <a:lnTo>
                    <a:pt x="59" y="568"/>
                  </a:lnTo>
                  <a:lnTo>
                    <a:pt x="54" y="555"/>
                  </a:lnTo>
                  <a:lnTo>
                    <a:pt x="47" y="541"/>
                  </a:lnTo>
                  <a:lnTo>
                    <a:pt x="42" y="525"/>
                  </a:lnTo>
                  <a:lnTo>
                    <a:pt x="36" y="507"/>
                  </a:lnTo>
                  <a:lnTo>
                    <a:pt x="31" y="487"/>
                  </a:lnTo>
                  <a:lnTo>
                    <a:pt x="27" y="464"/>
                  </a:lnTo>
                  <a:lnTo>
                    <a:pt x="23" y="440"/>
                  </a:lnTo>
                  <a:lnTo>
                    <a:pt x="20" y="413"/>
                  </a:lnTo>
                  <a:lnTo>
                    <a:pt x="18" y="383"/>
                  </a:lnTo>
                  <a:lnTo>
                    <a:pt x="18" y="351"/>
                  </a:lnTo>
                  <a:close/>
                  <a:moveTo>
                    <a:pt x="608" y="59"/>
                  </a:moveTo>
                  <a:lnTo>
                    <a:pt x="760" y="59"/>
                  </a:lnTo>
                  <a:lnTo>
                    <a:pt x="760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08" y="78"/>
                  </a:lnTo>
                  <a:lnTo>
                    <a:pt x="608" y="59"/>
                  </a:lnTo>
                  <a:close/>
                  <a:moveTo>
                    <a:pt x="580" y="29"/>
                  </a:moveTo>
                  <a:lnTo>
                    <a:pt x="580" y="25"/>
                  </a:lnTo>
                  <a:lnTo>
                    <a:pt x="583" y="22"/>
                  </a:lnTo>
                  <a:lnTo>
                    <a:pt x="587" y="20"/>
                  </a:lnTo>
                  <a:lnTo>
                    <a:pt x="590" y="19"/>
                  </a:lnTo>
                  <a:lnTo>
                    <a:pt x="776" y="19"/>
                  </a:lnTo>
                  <a:lnTo>
                    <a:pt x="780" y="20"/>
                  </a:lnTo>
                  <a:lnTo>
                    <a:pt x="783" y="22"/>
                  </a:lnTo>
                  <a:lnTo>
                    <a:pt x="786" y="25"/>
                  </a:lnTo>
                  <a:lnTo>
                    <a:pt x="787" y="29"/>
                  </a:lnTo>
                  <a:lnTo>
                    <a:pt x="786" y="34"/>
                  </a:lnTo>
                  <a:lnTo>
                    <a:pt x="783" y="37"/>
                  </a:lnTo>
                  <a:lnTo>
                    <a:pt x="780" y="39"/>
                  </a:lnTo>
                  <a:lnTo>
                    <a:pt x="776" y="40"/>
                  </a:lnTo>
                  <a:lnTo>
                    <a:pt x="590" y="40"/>
                  </a:lnTo>
                  <a:lnTo>
                    <a:pt x="587" y="39"/>
                  </a:lnTo>
                  <a:lnTo>
                    <a:pt x="583" y="37"/>
                  </a:lnTo>
                  <a:lnTo>
                    <a:pt x="580" y="34"/>
                  </a:lnTo>
                  <a:lnTo>
                    <a:pt x="580" y="29"/>
                  </a:lnTo>
                  <a:close/>
                  <a:moveTo>
                    <a:pt x="1339" y="608"/>
                  </a:moveTo>
                  <a:lnTo>
                    <a:pt x="1304" y="608"/>
                  </a:lnTo>
                  <a:lnTo>
                    <a:pt x="1312" y="594"/>
                  </a:lnTo>
                  <a:lnTo>
                    <a:pt x="1323" y="577"/>
                  </a:lnTo>
                  <a:lnTo>
                    <a:pt x="1328" y="566"/>
                  </a:lnTo>
                  <a:lnTo>
                    <a:pt x="1333" y="554"/>
                  </a:lnTo>
                  <a:lnTo>
                    <a:pt x="1338" y="541"/>
                  </a:lnTo>
                  <a:lnTo>
                    <a:pt x="1344" y="526"/>
                  </a:lnTo>
                  <a:lnTo>
                    <a:pt x="1348" y="510"/>
                  </a:lnTo>
                  <a:lnTo>
                    <a:pt x="1352" y="493"/>
                  </a:lnTo>
                  <a:lnTo>
                    <a:pt x="1357" y="473"/>
                  </a:lnTo>
                  <a:lnTo>
                    <a:pt x="1360" y="452"/>
                  </a:lnTo>
                  <a:lnTo>
                    <a:pt x="1363" y="430"/>
                  </a:lnTo>
                  <a:lnTo>
                    <a:pt x="1365" y="405"/>
                  </a:lnTo>
                  <a:lnTo>
                    <a:pt x="1366" y="379"/>
                  </a:lnTo>
                  <a:lnTo>
                    <a:pt x="1366" y="351"/>
                  </a:lnTo>
                  <a:lnTo>
                    <a:pt x="1365" y="314"/>
                  </a:lnTo>
                  <a:lnTo>
                    <a:pt x="1363" y="281"/>
                  </a:lnTo>
                  <a:lnTo>
                    <a:pt x="1360" y="251"/>
                  </a:lnTo>
                  <a:lnTo>
                    <a:pt x="1354" y="223"/>
                  </a:lnTo>
                  <a:lnTo>
                    <a:pt x="1349" y="199"/>
                  </a:lnTo>
                  <a:lnTo>
                    <a:pt x="1343" y="176"/>
                  </a:lnTo>
                  <a:lnTo>
                    <a:pt x="1336" y="157"/>
                  </a:lnTo>
                  <a:lnTo>
                    <a:pt x="1330" y="140"/>
                  </a:lnTo>
                  <a:lnTo>
                    <a:pt x="1322" y="125"/>
                  </a:lnTo>
                  <a:lnTo>
                    <a:pt x="1316" y="113"/>
                  </a:lnTo>
                  <a:lnTo>
                    <a:pt x="1309" y="103"/>
                  </a:lnTo>
                  <a:lnTo>
                    <a:pt x="1303" y="94"/>
                  </a:lnTo>
                  <a:lnTo>
                    <a:pt x="1294" y="83"/>
                  </a:lnTo>
                  <a:lnTo>
                    <a:pt x="1290" y="80"/>
                  </a:lnTo>
                  <a:lnTo>
                    <a:pt x="1288" y="78"/>
                  </a:lnTo>
                  <a:lnTo>
                    <a:pt x="1284" y="78"/>
                  </a:lnTo>
                  <a:lnTo>
                    <a:pt x="777" y="78"/>
                  </a:lnTo>
                  <a:lnTo>
                    <a:pt x="777" y="57"/>
                  </a:lnTo>
                  <a:lnTo>
                    <a:pt x="783" y="57"/>
                  </a:lnTo>
                  <a:lnTo>
                    <a:pt x="788" y="55"/>
                  </a:lnTo>
                  <a:lnTo>
                    <a:pt x="793" y="52"/>
                  </a:lnTo>
                  <a:lnTo>
                    <a:pt x="796" y="49"/>
                  </a:lnTo>
                  <a:lnTo>
                    <a:pt x="800" y="44"/>
                  </a:lnTo>
                  <a:lnTo>
                    <a:pt x="803" y="40"/>
                  </a:lnTo>
                  <a:lnTo>
                    <a:pt x="804" y="35"/>
                  </a:lnTo>
                  <a:lnTo>
                    <a:pt x="805" y="29"/>
                  </a:lnTo>
                  <a:lnTo>
                    <a:pt x="804" y="24"/>
                  </a:lnTo>
                  <a:lnTo>
                    <a:pt x="802" y="19"/>
                  </a:lnTo>
                  <a:lnTo>
                    <a:pt x="800" y="13"/>
                  </a:lnTo>
                  <a:lnTo>
                    <a:pt x="796" y="9"/>
                  </a:lnTo>
                  <a:lnTo>
                    <a:pt x="792" y="6"/>
                  </a:lnTo>
                  <a:lnTo>
                    <a:pt x="787" y="2"/>
                  </a:lnTo>
                  <a:lnTo>
                    <a:pt x="781" y="1"/>
                  </a:lnTo>
                  <a:lnTo>
                    <a:pt x="776" y="0"/>
                  </a:lnTo>
                  <a:lnTo>
                    <a:pt x="590" y="0"/>
                  </a:lnTo>
                  <a:lnTo>
                    <a:pt x="585" y="1"/>
                  </a:lnTo>
                  <a:lnTo>
                    <a:pt x="579" y="2"/>
                  </a:lnTo>
                  <a:lnTo>
                    <a:pt x="575" y="6"/>
                  </a:lnTo>
                  <a:lnTo>
                    <a:pt x="571" y="9"/>
                  </a:lnTo>
                  <a:lnTo>
                    <a:pt x="566" y="13"/>
                  </a:lnTo>
                  <a:lnTo>
                    <a:pt x="564" y="19"/>
                  </a:lnTo>
                  <a:lnTo>
                    <a:pt x="562" y="24"/>
                  </a:lnTo>
                  <a:lnTo>
                    <a:pt x="562" y="29"/>
                  </a:lnTo>
                  <a:lnTo>
                    <a:pt x="562" y="35"/>
                  </a:lnTo>
                  <a:lnTo>
                    <a:pt x="564" y="40"/>
                  </a:lnTo>
                  <a:lnTo>
                    <a:pt x="566" y="46"/>
                  </a:lnTo>
                  <a:lnTo>
                    <a:pt x="571" y="50"/>
                  </a:lnTo>
                  <a:lnTo>
                    <a:pt x="575" y="53"/>
                  </a:lnTo>
                  <a:lnTo>
                    <a:pt x="579" y="56"/>
                  </a:lnTo>
                  <a:lnTo>
                    <a:pt x="585" y="57"/>
                  </a:lnTo>
                  <a:lnTo>
                    <a:pt x="590" y="59"/>
                  </a:lnTo>
                  <a:lnTo>
                    <a:pt x="591" y="59"/>
                  </a:lnTo>
                  <a:lnTo>
                    <a:pt x="591" y="78"/>
                  </a:lnTo>
                  <a:lnTo>
                    <a:pt x="83" y="78"/>
                  </a:lnTo>
                  <a:lnTo>
                    <a:pt x="78" y="79"/>
                  </a:lnTo>
                  <a:lnTo>
                    <a:pt x="75" y="81"/>
                  </a:lnTo>
                  <a:lnTo>
                    <a:pt x="69" y="88"/>
                  </a:lnTo>
                  <a:lnTo>
                    <a:pt x="59" y="101"/>
                  </a:lnTo>
                  <a:lnTo>
                    <a:pt x="54" y="109"/>
                  </a:lnTo>
                  <a:lnTo>
                    <a:pt x="47" y="120"/>
                  </a:lnTo>
                  <a:lnTo>
                    <a:pt x="41" y="133"/>
                  </a:lnTo>
                  <a:lnTo>
                    <a:pt x="34" y="148"/>
                  </a:lnTo>
                  <a:lnTo>
                    <a:pt x="27" y="164"/>
                  </a:lnTo>
                  <a:lnTo>
                    <a:pt x="21" y="184"/>
                  </a:lnTo>
                  <a:lnTo>
                    <a:pt x="15" y="205"/>
                  </a:lnTo>
                  <a:lnTo>
                    <a:pt x="10" y="229"/>
                  </a:lnTo>
                  <a:lnTo>
                    <a:pt x="6" y="256"/>
                  </a:lnTo>
                  <a:lnTo>
                    <a:pt x="3" y="285"/>
                  </a:lnTo>
                  <a:lnTo>
                    <a:pt x="1" y="317"/>
                  </a:lnTo>
                  <a:lnTo>
                    <a:pt x="0" y="351"/>
                  </a:lnTo>
                  <a:lnTo>
                    <a:pt x="0" y="379"/>
                  </a:lnTo>
                  <a:lnTo>
                    <a:pt x="2" y="405"/>
                  </a:lnTo>
                  <a:lnTo>
                    <a:pt x="4" y="429"/>
                  </a:lnTo>
                  <a:lnTo>
                    <a:pt x="6" y="452"/>
                  </a:lnTo>
                  <a:lnTo>
                    <a:pt x="9" y="472"/>
                  </a:lnTo>
                  <a:lnTo>
                    <a:pt x="14" y="491"/>
                  </a:lnTo>
                  <a:lnTo>
                    <a:pt x="18" y="509"/>
                  </a:lnTo>
                  <a:lnTo>
                    <a:pt x="22" y="526"/>
                  </a:lnTo>
                  <a:lnTo>
                    <a:pt x="28" y="540"/>
                  </a:lnTo>
                  <a:lnTo>
                    <a:pt x="33" y="554"/>
                  </a:lnTo>
                  <a:lnTo>
                    <a:pt x="38" y="566"/>
                  </a:lnTo>
                  <a:lnTo>
                    <a:pt x="43" y="577"/>
                  </a:lnTo>
                  <a:lnTo>
                    <a:pt x="54" y="594"/>
                  </a:lnTo>
                  <a:lnTo>
                    <a:pt x="62" y="608"/>
                  </a:lnTo>
                  <a:lnTo>
                    <a:pt x="27" y="608"/>
                  </a:lnTo>
                  <a:lnTo>
                    <a:pt x="23" y="608"/>
                  </a:lnTo>
                  <a:lnTo>
                    <a:pt x="20" y="610"/>
                  </a:lnTo>
                  <a:lnTo>
                    <a:pt x="19" y="613"/>
                  </a:lnTo>
                  <a:lnTo>
                    <a:pt x="18" y="617"/>
                  </a:lnTo>
                  <a:lnTo>
                    <a:pt x="18" y="680"/>
                  </a:lnTo>
                  <a:lnTo>
                    <a:pt x="19" y="684"/>
                  </a:lnTo>
                  <a:lnTo>
                    <a:pt x="20" y="686"/>
                  </a:lnTo>
                  <a:lnTo>
                    <a:pt x="23" y="688"/>
                  </a:lnTo>
                  <a:lnTo>
                    <a:pt x="27" y="689"/>
                  </a:lnTo>
                  <a:lnTo>
                    <a:pt x="74" y="689"/>
                  </a:lnTo>
                  <a:lnTo>
                    <a:pt x="69" y="694"/>
                  </a:lnTo>
                  <a:lnTo>
                    <a:pt x="64" y="700"/>
                  </a:lnTo>
                  <a:lnTo>
                    <a:pt x="60" y="705"/>
                  </a:lnTo>
                  <a:lnTo>
                    <a:pt x="57" y="712"/>
                  </a:lnTo>
                  <a:lnTo>
                    <a:pt x="55" y="718"/>
                  </a:lnTo>
                  <a:lnTo>
                    <a:pt x="52" y="725"/>
                  </a:lnTo>
                  <a:lnTo>
                    <a:pt x="51" y="732"/>
                  </a:lnTo>
                  <a:lnTo>
                    <a:pt x="51" y="740"/>
                  </a:lnTo>
                  <a:lnTo>
                    <a:pt x="51" y="747"/>
                  </a:lnTo>
                  <a:lnTo>
                    <a:pt x="52" y="754"/>
                  </a:lnTo>
                  <a:lnTo>
                    <a:pt x="54" y="760"/>
                  </a:lnTo>
                  <a:lnTo>
                    <a:pt x="57" y="767"/>
                  </a:lnTo>
                  <a:lnTo>
                    <a:pt x="59" y="772"/>
                  </a:lnTo>
                  <a:lnTo>
                    <a:pt x="62" y="779"/>
                  </a:lnTo>
                  <a:lnTo>
                    <a:pt x="67" y="784"/>
                  </a:lnTo>
                  <a:lnTo>
                    <a:pt x="71" y="788"/>
                  </a:lnTo>
                  <a:lnTo>
                    <a:pt x="76" y="793"/>
                  </a:lnTo>
                  <a:lnTo>
                    <a:pt x="82" y="797"/>
                  </a:lnTo>
                  <a:lnTo>
                    <a:pt x="87" y="800"/>
                  </a:lnTo>
                  <a:lnTo>
                    <a:pt x="92" y="803"/>
                  </a:lnTo>
                  <a:lnTo>
                    <a:pt x="99" y="806"/>
                  </a:lnTo>
                  <a:lnTo>
                    <a:pt x="105" y="808"/>
                  </a:lnTo>
                  <a:lnTo>
                    <a:pt x="113" y="809"/>
                  </a:lnTo>
                  <a:lnTo>
                    <a:pt x="119" y="809"/>
                  </a:lnTo>
                  <a:lnTo>
                    <a:pt x="129" y="808"/>
                  </a:lnTo>
                  <a:lnTo>
                    <a:pt x="138" y="806"/>
                  </a:lnTo>
                  <a:lnTo>
                    <a:pt x="147" y="802"/>
                  </a:lnTo>
                  <a:lnTo>
                    <a:pt x="155" y="798"/>
                  </a:lnTo>
                  <a:lnTo>
                    <a:pt x="164" y="793"/>
                  </a:lnTo>
                  <a:lnTo>
                    <a:pt x="170" y="786"/>
                  </a:lnTo>
                  <a:lnTo>
                    <a:pt x="177" y="778"/>
                  </a:lnTo>
                  <a:lnTo>
                    <a:pt x="181" y="769"/>
                  </a:lnTo>
                  <a:lnTo>
                    <a:pt x="182" y="766"/>
                  </a:lnTo>
                  <a:lnTo>
                    <a:pt x="182" y="762"/>
                  </a:lnTo>
                  <a:lnTo>
                    <a:pt x="180" y="759"/>
                  </a:lnTo>
                  <a:lnTo>
                    <a:pt x="178" y="757"/>
                  </a:lnTo>
                  <a:lnTo>
                    <a:pt x="174" y="756"/>
                  </a:lnTo>
                  <a:lnTo>
                    <a:pt x="170" y="757"/>
                  </a:lnTo>
                  <a:lnTo>
                    <a:pt x="168" y="758"/>
                  </a:lnTo>
                  <a:lnTo>
                    <a:pt x="166" y="761"/>
                  </a:lnTo>
                  <a:lnTo>
                    <a:pt x="162" y="768"/>
                  </a:lnTo>
                  <a:lnTo>
                    <a:pt x="157" y="773"/>
                  </a:lnTo>
                  <a:lnTo>
                    <a:pt x="152" y="779"/>
                  </a:lnTo>
                  <a:lnTo>
                    <a:pt x="146" y="783"/>
                  </a:lnTo>
                  <a:lnTo>
                    <a:pt x="140" y="786"/>
                  </a:lnTo>
                  <a:lnTo>
                    <a:pt x="133" y="788"/>
                  </a:lnTo>
                  <a:lnTo>
                    <a:pt x="127" y="790"/>
                  </a:lnTo>
                  <a:lnTo>
                    <a:pt x="119" y="790"/>
                  </a:lnTo>
                  <a:lnTo>
                    <a:pt x="110" y="789"/>
                  </a:lnTo>
                  <a:lnTo>
                    <a:pt x="100" y="787"/>
                  </a:lnTo>
                  <a:lnTo>
                    <a:pt x="91" y="782"/>
                  </a:lnTo>
                  <a:lnTo>
                    <a:pt x="84" y="775"/>
                  </a:lnTo>
                  <a:lnTo>
                    <a:pt x="77" y="768"/>
                  </a:lnTo>
                  <a:lnTo>
                    <a:pt x="73" y="759"/>
                  </a:lnTo>
                  <a:lnTo>
                    <a:pt x="70" y="751"/>
                  </a:lnTo>
                  <a:lnTo>
                    <a:pt x="69" y="740"/>
                  </a:lnTo>
                  <a:lnTo>
                    <a:pt x="70" y="730"/>
                  </a:lnTo>
                  <a:lnTo>
                    <a:pt x="73" y="720"/>
                  </a:lnTo>
                  <a:lnTo>
                    <a:pt x="77" y="712"/>
                  </a:lnTo>
                  <a:lnTo>
                    <a:pt x="84" y="704"/>
                  </a:lnTo>
                  <a:lnTo>
                    <a:pt x="91" y="698"/>
                  </a:lnTo>
                  <a:lnTo>
                    <a:pt x="100" y="693"/>
                  </a:lnTo>
                  <a:lnTo>
                    <a:pt x="110" y="690"/>
                  </a:lnTo>
                  <a:lnTo>
                    <a:pt x="119" y="689"/>
                  </a:lnTo>
                  <a:lnTo>
                    <a:pt x="126" y="689"/>
                  </a:lnTo>
                  <a:lnTo>
                    <a:pt x="132" y="690"/>
                  </a:lnTo>
                  <a:lnTo>
                    <a:pt x="138" y="692"/>
                  </a:lnTo>
                  <a:lnTo>
                    <a:pt x="143" y="694"/>
                  </a:lnTo>
                  <a:lnTo>
                    <a:pt x="149" y="698"/>
                  </a:lnTo>
                  <a:lnTo>
                    <a:pt x="153" y="702"/>
                  </a:lnTo>
                  <a:lnTo>
                    <a:pt x="157" y="706"/>
                  </a:lnTo>
                  <a:lnTo>
                    <a:pt x="162" y="712"/>
                  </a:lnTo>
                  <a:lnTo>
                    <a:pt x="164" y="714"/>
                  </a:lnTo>
                  <a:lnTo>
                    <a:pt x="167" y="715"/>
                  </a:lnTo>
                  <a:lnTo>
                    <a:pt x="171" y="715"/>
                  </a:lnTo>
                  <a:lnTo>
                    <a:pt x="174" y="714"/>
                  </a:lnTo>
                  <a:lnTo>
                    <a:pt x="177" y="712"/>
                  </a:lnTo>
                  <a:lnTo>
                    <a:pt x="178" y="708"/>
                  </a:lnTo>
                  <a:lnTo>
                    <a:pt x="178" y="704"/>
                  </a:lnTo>
                  <a:lnTo>
                    <a:pt x="177" y="701"/>
                  </a:lnTo>
                  <a:lnTo>
                    <a:pt x="171" y="694"/>
                  </a:lnTo>
                  <a:lnTo>
                    <a:pt x="166" y="689"/>
                  </a:lnTo>
                  <a:lnTo>
                    <a:pt x="240" y="689"/>
                  </a:lnTo>
                  <a:lnTo>
                    <a:pt x="235" y="694"/>
                  </a:lnTo>
                  <a:lnTo>
                    <a:pt x="230" y="701"/>
                  </a:lnTo>
                  <a:lnTo>
                    <a:pt x="228" y="704"/>
                  </a:lnTo>
                  <a:lnTo>
                    <a:pt x="228" y="708"/>
                  </a:lnTo>
                  <a:lnTo>
                    <a:pt x="230" y="712"/>
                  </a:lnTo>
                  <a:lnTo>
                    <a:pt x="233" y="714"/>
                  </a:lnTo>
                  <a:lnTo>
                    <a:pt x="236" y="715"/>
                  </a:lnTo>
                  <a:lnTo>
                    <a:pt x="239" y="715"/>
                  </a:lnTo>
                  <a:lnTo>
                    <a:pt x="242" y="714"/>
                  </a:lnTo>
                  <a:lnTo>
                    <a:pt x="245" y="712"/>
                  </a:lnTo>
                  <a:lnTo>
                    <a:pt x="249" y="706"/>
                  </a:lnTo>
                  <a:lnTo>
                    <a:pt x="253" y="702"/>
                  </a:lnTo>
                  <a:lnTo>
                    <a:pt x="258" y="698"/>
                  </a:lnTo>
                  <a:lnTo>
                    <a:pt x="263" y="694"/>
                  </a:lnTo>
                  <a:lnTo>
                    <a:pt x="268" y="692"/>
                  </a:lnTo>
                  <a:lnTo>
                    <a:pt x="275" y="690"/>
                  </a:lnTo>
                  <a:lnTo>
                    <a:pt x="280" y="689"/>
                  </a:lnTo>
                  <a:lnTo>
                    <a:pt x="287" y="689"/>
                  </a:lnTo>
                  <a:lnTo>
                    <a:pt x="298" y="690"/>
                  </a:lnTo>
                  <a:lnTo>
                    <a:pt x="306" y="693"/>
                  </a:lnTo>
                  <a:lnTo>
                    <a:pt x="315" y="698"/>
                  </a:lnTo>
                  <a:lnTo>
                    <a:pt x="322" y="704"/>
                  </a:lnTo>
                  <a:lnTo>
                    <a:pt x="329" y="712"/>
                  </a:lnTo>
                  <a:lnTo>
                    <a:pt x="333" y="720"/>
                  </a:lnTo>
                  <a:lnTo>
                    <a:pt x="336" y="730"/>
                  </a:lnTo>
                  <a:lnTo>
                    <a:pt x="337" y="740"/>
                  </a:lnTo>
                  <a:lnTo>
                    <a:pt x="336" y="751"/>
                  </a:lnTo>
                  <a:lnTo>
                    <a:pt x="333" y="759"/>
                  </a:lnTo>
                  <a:lnTo>
                    <a:pt x="329" y="768"/>
                  </a:lnTo>
                  <a:lnTo>
                    <a:pt x="322" y="775"/>
                  </a:lnTo>
                  <a:lnTo>
                    <a:pt x="315" y="782"/>
                  </a:lnTo>
                  <a:lnTo>
                    <a:pt x="306" y="787"/>
                  </a:lnTo>
                  <a:lnTo>
                    <a:pt x="298" y="789"/>
                  </a:lnTo>
                  <a:lnTo>
                    <a:pt x="287" y="790"/>
                  </a:lnTo>
                  <a:lnTo>
                    <a:pt x="279" y="790"/>
                  </a:lnTo>
                  <a:lnTo>
                    <a:pt x="273" y="788"/>
                  </a:lnTo>
                  <a:lnTo>
                    <a:pt x="266" y="786"/>
                  </a:lnTo>
                  <a:lnTo>
                    <a:pt x="260" y="783"/>
                  </a:lnTo>
                  <a:lnTo>
                    <a:pt x="254" y="779"/>
                  </a:lnTo>
                  <a:lnTo>
                    <a:pt x="250" y="773"/>
                  </a:lnTo>
                  <a:lnTo>
                    <a:pt x="246" y="768"/>
                  </a:lnTo>
                  <a:lnTo>
                    <a:pt x="242" y="761"/>
                  </a:lnTo>
                  <a:lnTo>
                    <a:pt x="240" y="759"/>
                  </a:lnTo>
                  <a:lnTo>
                    <a:pt x="238" y="757"/>
                  </a:lnTo>
                  <a:lnTo>
                    <a:pt x="234" y="756"/>
                  </a:lnTo>
                  <a:lnTo>
                    <a:pt x="231" y="757"/>
                  </a:lnTo>
                  <a:lnTo>
                    <a:pt x="227" y="759"/>
                  </a:lnTo>
                  <a:lnTo>
                    <a:pt x="226" y="761"/>
                  </a:lnTo>
                  <a:lnTo>
                    <a:pt x="225" y="766"/>
                  </a:lnTo>
                  <a:lnTo>
                    <a:pt x="226" y="769"/>
                  </a:lnTo>
                  <a:lnTo>
                    <a:pt x="231" y="778"/>
                  </a:lnTo>
                  <a:lnTo>
                    <a:pt x="236" y="785"/>
                  </a:lnTo>
                  <a:lnTo>
                    <a:pt x="242" y="792"/>
                  </a:lnTo>
                  <a:lnTo>
                    <a:pt x="250" y="798"/>
                  </a:lnTo>
                  <a:lnTo>
                    <a:pt x="259" y="802"/>
                  </a:lnTo>
                  <a:lnTo>
                    <a:pt x="267" y="806"/>
                  </a:lnTo>
                  <a:lnTo>
                    <a:pt x="277" y="808"/>
                  </a:lnTo>
                  <a:lnTo>
                    <a:pt x="287" y="809"/>
                  </a:lnTo>
                  <a:lnTo>
                    <a:pt x="294" y="809"/>
                  </a:lnTo>
                  <a:lnTo>
                    <a:pt x="301" y="808"/>
                  </a:lnTo>
                  <a:lnTo>
                    <a:pt x="307" y="806"/>
                  </a:lnTo>
                  <a:lnTo>
                    <a:pt x="314" y="803"/>
                  </a:lnTo>
                  <a:lnTo>
                    <a:pt x="319" y="800"/>
                  </a:lnTo>
                  <a:lnTo>
                    <a:pt x="326" y="797"/>
                  </a:lnTo>
                  <a:lnTo>
                    <a:pt x="331" y="793"/>
                  </a:lnTo>
                  <a:lnTo>
                    <a:pt x="335" y="788"/>
                  </a:lnTo>
                  <a:lnTo>
                    <a:pt x="340" y="784"/>
                  </a:lnTo>
                  <a:lnTo>
                    <a:pt x="344" y="779"/>
                  </a:lnTo>
                  <a:lnTo>
                    <a:pt x="347" y="772"/>
                  </a:lnTo>
                  <a:lnTo>
                    <a:pt x="350" y="767"/>
                  </a:lnTo>
                  <a:lnTo>
                    <a:pt x="353" y="760"/>
                  </a:lnTo>
                  <a:lnTo>
                    <a:pt x="354" y="754"/>
                  </a:lnTo>
                  <a:lnTo>
                    <a:pt x="355" y="747"/>
                  </a:lnTo>
                  <a:lnTo>
                    <a:pt x="356" y="740"/>
                  </a:lnTo>
                  <a:lnTo>
                    <a:pt x="355" y="732"/>
                  </a:lnTo>
                  <a:lnTo>
                    <a:pt x="354" y="725"/>
                  </a:lnTo>
                  <a:lnTo>
                    <a:pt x="352" y="718"/>
                  </a:lnTo>
                  <a:lnTo>
                    <a:pt x="349" y="712"/>
                  </a:lnTo>
                  <a:lnTo>
                    <a:pt x="346" y="705"/>
                  </a:lnTo>
                  <a:lnTo>
                    <a:pt x="342" y="700"/>
                  </a:lnTo>
                  <a:lnTo>
                    <a:pt x="337" y="694"/>
                  </a:lnTo>
                  <a:lnTo>
                    <a:pt x="333" y="689"/>
                  </a:lnTo>
                  <a:lnTo>
                    <a:pt x="1028" y="689"/>
                  </a:lnTo>
                  <a:lnTo>
                    <a:pt x="1023" y="694"/>
                  </a:lnTo>
                  <a:lnTo>
                    <a:pt x="1019" y="700"/>
                  </a:lnTo>
                  <a:lnTo>
                    <a:pt x="1014" y="706"/>
                  </a:lnTo>
                  <a:lnTo>
                    <a:pt x="1011" y="713"/>
                  </a:lnTo>
                  <a:lnTo>
                    <a:pt x="1008" y="720"/>
                  </a:lnTo>
                  <a:lnTo>
                    <a:pt x="1006" y="728"/>
                  </a:lnTo>
                  <a:lnTo>
                    <a:pt x="1005" y="735"/>
                  </a:lnTo>
                  <a:lnTo>
                    <a:pt x="1004" y="744"/>
                  </a:lnTo>
                  <a:lnTo>
                    <a:pt x="1005" y="752"/>
                  </a:lnTo>
                  <a:lnTo>
                    <a:pt x="1006" y="758"/>
                  </a:lnTo>
                  <a:lnTo>
                    <a:pt x="1007" y="766"/>
                  </a:lnTo>
                  <a:lnTo>
                    <a:pt x="1010" y="772"/>
                  </a:lnTo>
                  <a:lnTo>
                    <a:pt x="1012" y="779"/>
                  </a:lnTo>
                  <a:lnTo>
                    <a:pt x="1017" y="784"/>
                  </a:lnTo>
                  <a:lnTo>
                    <a:pt x="1020" y="789"/>
                  </a:lnTo>
                  <a:lnTo>
                    <a:pt x="1025" y="795"/>
                  </a:lnTo>
                  <a:lnTo>
                    <a:pt x="1030" y="800"/>
                  </a:lnTo>
                  <a:lnTo>
                    <a:pt x="1035" y="803"/>
                  </a:lnTo>
                  <a:lnTo>
                    <a:pt x="1040" y="808"/>
                  </a:lnTo>
                  <a:lnTo>
                    <a:pt x="1047" y="811"/>
                  </a:lnTo>
                  <a:lnTo>
                    <a:pt x="1053" y="813"/>
                  </a:lnTo>
                  <a:lnTo>
                    <a:pt x="1060" y="815"/>
                  </a:lnTo>
                  <a:lnTo>
                    <a:pt x="1067" y="816"/>
                  </a:lnTo>
                  <a:lnTo>
                    <a:pt x="1074" y="816"/>
                  </a:lnTo>
                  <a:lnTo>
                    <a:pt x="1085" y="815"/>
                  </a:lnTo>
                  <a:lnTo>
                    <a:pt x="1093" y="814"/>
                  </a:lnTo>
                  <a:lnTo>
                    <a:pt x="1103" y="810"/>
                  </a:lnTo>
                  <a:lnTo>
                    <a:pt x="1112" y="806"/>
                  </a:lnTo>
                  <a:lnTo>
                    <a:pt x="1119" y="800"/>
                  </a:lnTo>
                  <a:lnTo>
                    <a:pt x="1126" y="794"/>
                  </a:lnTo>
                  <a:lnTo>
                    <a:pt x="1132" y="786"/>
                  </a:lnTo>
                  <a:lnTo>
                    <a:pt x="1137" y="776"/>
                  </a:lnTo>
                  <a:lnTo>
                    <a:pt x="1139" y="773"/>
                  </a:lnTo>
                  <a:lnTo>
                    <a:pt x="1137" y="770"/>
                  </a:lnTo>
                  <a:lnTo>
                    <a:pt x="1136" y="767"/>
                  </a:lnTo>
                  <a:lnTo>
                    <a:pt x="1133" y="765"/>
                  </a:lnTo>
                  <a:lnTo>
                    <a:pt x="1130" y="764"/>
                  </a:lnTo>
                  <a:lnTo>
                    <a:pt x="1127" y="765"/>
                  </a:lnTo>
                  <a:lnTo>
                    <a:pt x="1123" y="766"/>
                  </a:lnTo>
                  <a:lnTo>
                    <a:pt x="1121" y="769"/>
                  </a:lnTo>
                  <a:lnTo>
                    <a:pt x="1117" y="775"/>
                  </a:lnTo>
                  <a:lnTo>
                    <a:pt x="1113" y="782"/>
                  </a:lnTo>
                  <a:lnTo>
                    <a:pt x="1107" y="786"/>
                  </a:lnTo>
                  <a:lnTo>
                    <a:pt x="1102" y="790"/>
                  </a:lnTo>
                  <a:lnTo>
                    <a:pt x="1095" y="794"/>
                  </a:lnTo>
                  <a:lnTo>
                    <a:pt x="1089" y="796"/>
                  </a:lnTo>
                  <a:lnTo>
                    <a:pt x="1081" y="798"/>
                  </a:lnTo>
                  <a:lnTo>
                    <a:pt x="1074" y="798"/>
                  </a:lnTo>
                  <a:lnTo>
                    <a:pt x="1068" y="798"/>
                  </a:lnTo>
                  <a:lnTo>
                    <a:pt x="1064" y="797"/>
                  </a:lnTo>
                  <a:lnTo>
                    <a:pt x="1059" y="796"/>
                  </a:lnTo>
                  <a:lnTo>
                    <a:pt x="1054" y="794"/>
                  </a:lnTo>
                  <a:lnTo>
                    <a:pt x="1045" y="789"/>
                  </a:lnTo>
                  <a:lnTo>
                    <a:pt x="1037" y="782"/>
                  </a:lnTo>
                  <a:lnTo>
                    <a:pt x="1031" y="774"/>
                  </a:lnTo>
                  <a:lnTo>
                    <a:pt x="1026" y="765"/>
                  </a:lnTo>
                  <a:lnTo>
                    <a:pt x="1023" y="755"/>
                  </a:lnTo>
                  <a:lnTo>
                    <a:pt x="1022" y="744"/>
                  </a:lnTo>
                  <a:lnTo>
                    <a:pt x="1023" y="732"/>
                  </a:lnTo>
                  <a:lnTo>
                    <a:pt x="1026" y="722"/>
                  </a:lnTo>
                  <a:lnTo>
                    <a:pt x="1031" y="713"/>
                  </a:lnTo>
                  <a:lnTo>
                    <a:pt x="1037" y="705"/>
                  </a:lnTo>
                  <a:lnTo>
                    <a:pt x="1045" y="699"/>
                  </a:lnTo>
                  <a:lnTo>
                    <a:pt x="1054" y="693"/>
                  </a:lnTo>
                  <a:lnTo>
                    <a:pt x="1059" y="691"/>
                  </a:lnTo>
                  <a:lnTo>
                    <a:pt x="1064" y="690"/>
                  </a:lnTo>
                  <a:lnTo>
                    <a:pt x="1068" y="689"/>
                  </a:lnTo>
                  <a:lnTo>
                    <a:pt x="1074" y="689"/>
                  </a:lnTo>
                  <a:lnTo>
                    <a:pt x="1081" y="689"/>
                  </a:lnTo>
                  <a:lnTo>
                    <a:pt x="1088" y="691"/>
                  </a:lnTo>
                  <a:lnTo>
                    <a:pt x="1094" y="693"/>
                  </a:lnTo>
                  <a:lnTo>
                    <a:pt x="1101" y="697"/>
                  </a:lnTo>
                  <a:lnTo>
                    <a:pt x="1106" y="701"/>
                  </a:lnTo>
                  <a:lnTo>
                    <a:pt x="1110" y="706"/>
                  </a:lnTo>
                  <a:lnTo>
                    <a:pt x="1115" y="712"/>
                  </a:lnTo>
                  <a:lnTo>
                    <a:pt x="1118" y="718"/>
                  </a:lnTo>
                  <a:lnTo>
                    <a:pt x="1120" y="721"/>
                  </a:lnTo>
                  <a:lnTo>
                    <a:pt x="1123" y="722"/>
                  </a:lnTo>
                  <a:lnTo>
                    <a:pt x="1127" y="724"/>
                  </a:lnTo>
                  <a:lnTo>
                    <a:pt x="1130" y="722"/>
                  </a:lnTo>
                  <a:lnTo>
                    <a:pt x="1133" y="720"/>
                  </a:lnTo>
                  <a:lnTo>
                    <a:pt x="1135" y="717"/>
                  </a:lnTo>
                  <a:lnTo>
                    <a:pt x="1135" y="714"/>
                  </a:lnTo>
                  <a:lnTo>
                    <a:pt x="1134" y="711"/>
                  </a:lnTo>
                  <a:lnTo>
                    <a:pt x="1132" y="704"/>
                  </a:lnTo>
                  <a:lnTo>
                    <a:pt x="1128" y="699"/>
                  </a:lnTo>
                  <a:lnTo>
                    <a:pt x="1123" y="693"/>
                  </a:lnTo>
                  <a:lnTo>
                    <a:pt x="1119" y="689"/>
                  </a:lnTo>
                  <a:lnTo>
                    <a:pt x="1199" y="689"/>
                  </a:lnTo>
                  <a:lnTo>
                    <a:pt x="1195" y="693"/>
                  </a:lnTo>
                  <a:lnTo>
                    <a:pt x="1190" y="699"/>
                  </a:lnTo>
                  <a:lnTo>
                    <a:pt x="1187" y="704"/>
                  </a:lnTo>
                  <a:lnTo>
                    <a:pt x="1185" y="711"/>
                  </a:lnTo>
                  <a:lnTo>
                    <a:pt x="1184" y="714"/>
                  </a:lnTo>
                  <a:lnTo>
                    <a:pt x="1185" y="717"/>
                  </a:lnTo>
                  <a:lnTo>
                    <a:pt x="1187" y="720"/>
                  </a:lnTo>
                  <a:lnTo>
                    <a:pt x="1189" y="722"/>
                  </a:lnTo>
                  <a:lnTo>
                    <a:pt x="1194" y="722"/>
                  </a:lnTo>
                  <a:lnTo>
                    <a:pt x="1197" y="722"/>
                  </a:lnTo>
                  <a:lnTo>
                    <a:pt x="1199" y="720"/>
                  </a:lnTo>
                  <a:lnTo>
                    <a:pt x="1201" y="717"/>
                  </a:lnTo>
                  <a:lnTo>
                    <a:pt x="1204" y="710"/>
                  </a:lnTo>
                  <a:lnTo>
                    <a:pt x="1210" y="704"/>
                  </a:lnTo>
                  <a:lnTo>
                    <a:pt x="1215" y="699"/>
                  </a:lnTo>
                  <a:lnTo>
                    <a:pt x="1221" y="695"/>
                  </a:lnTo>
                  <a:lnTo>
                    <a:pt x="1227" y="692"/>
                  </a:lnTo>
                  <a:lnTo>
                    <a:pt x="1234" y="690"/>
                  </a:lnTo>
                  <a:lnTo>
                    <a:pt x="1240" y="689"/>
                  </a:lnTo>
                  <a:lnTo>
                    <a:pt x="1245" y="689"/>
                  </a:lnTo>
                  <a:lnTo>
                    <a:pt x="1251" y="689"/>
                  </a:lnTo>
                  <a:lnTo>
                    <a:pt x="1256" y="690"/>
                  </a:lnTo>
                  <a:lnTo>
                    <a:pt x="1262" y="691"/>
                  </a:lnTo>
                  <a:lnTo>
                    <a:pt x="1266" y="693"/>
                  </a:lnTo>
                  <a:lnTo>
                    <a:pt x="1275" y="699"/>
                  </a:lnTo>
                  <a:lnTo>
                    <a:pt x="1282" y="705"/>
                  </a:lnTo>
                  <a:lnTo>
                    <a:pt x="1289" y="713"/>
                  </a:lnTo>
                  <a:lnTo>
                    <a:pt x="1294" y="722"/>
                  </a:lnTo>
                  <a:lnTo>
                    <a:pt x="1297" y="732"/>
                  </a:lnTo>
                  <a:lnTo>
                    <a:pt x="1298" y="744"/>
                  </a:lnTo>
                  <a:lnTo>
                    <a:pt x="1297" y="755"/>
                  </a:lnTo>
                  <a:lnTo>
                    <a:pt x="1294" y="765"/>
                  </a:lnTo>
                  <a:lnTo>
                    <a:pt x="1289" y="774"/>
                  </a:lnTo>
                  <a:lnTo>
                    <a:pt x="1282" y="782"/>
                  </a:lnTo>
                  <a:lnTo>
                    <a:pt x="1275" y="789"/>
                  </a:lnTo>
                  <a:lnTo>
                    <a:pt x="1266" y="794"/>
                  </a:lnTo>
                  <a:lnTo>
                    <a:pt x="1262" y="796"/>
                  </a:lnTo>
                  <a:lnTo>
                    <a:pt x="1256" y="797"/>
                  </a:lnTo>
                  <a:lnTo>
                    <a:pt x="1251" y="798"/>
                  </a:lnTo>
                  <a:lnTo>
                    <a:pt x="1245" y="798"/>
                  </a:lnTo>
                  <a:lnTo>
                    <a:pt x="1239" y="798"/>
                  </a:lnTo>
                  <a:lnTo>
                    <a:pt x="1231" y="796"/>
                  </a:lnTo>
                  <a:lnTo>
                    <a:pt x="1225" y="794"/>
                  </a:lnTo>
                  <a:lnTo>
                    <a:pt x="1218" y="790"/>
                  </a:lnTo>
                  <a:lnTo>
                    <a:pt x="1213" y="786"/>
                  </a:lnTo>
                  <a:lnTo>
                    <a:pt x="1208" y="781"/>
                  </a:lnTo>
                  <a:lnTo>
                    <a:pt x="1203" y="775"/>
                  </a:lnTo>
                  <a:lnTo>
                    <a:pt x="1200" y="769"/>
                  </a:lnTo>
                  <a:lnTo>
                    <a:pt x="1198" y="767"/>
                  </a:lnTo>
                  <a:lnTo>
                    <a:pt x="1196" y="765"/>
                  </a:lnTo>
                  <a:lnTo>
                    <a:pt x="1191" y="764"/>
                  </a:lnTo>
                  <a:lnTo>
                    <a:pt x="1188" y="765"/>
                  </a:lnTo>
                  <a:lnTo>
                    <a:pt x="1185" y="767"/>
                  </a:lnTo>
                  <a:lnTo>
                    <a:pt x="1184" y="770"/>
                  </a:lnTo>
                  <a:lnTo>
                    <a:pt x="1183" y="773"/>
                  </a:lnTo>
                  <a:lnTo>
                    <a:pt x="1184" y="776"/>
                  </a:lnTo>
                  <a:lnTo>
                    <a:pt x="1188" y="785"/>
                  </a:lnTo>
                  <a:lnTo>
                    <a:pt x="1194" y="793"/>
                  </a:lnTo>
                  <a:lnTo>
                    <a:pt x="1201" y="799"/>
                  </a:lnTo>
                  <a:lnTo>
                    <a:pt x="1209" y="806"/>
                  </a:lnTo>
                  <a:lnTo>
                    <a:pt x="1217" y="810"/>
                  </a:lnTo>
                  <a:lnTo>
                    <a:pt x="1226" y="813"/>
                  </a:lnTo>
                  <a:lnTo>
                    <a:pt x="1236" y="815"/>
                  </a:lnTo>
                  <a:lnTo>
                    <a:pt x="1245" y="816"/>
                  </a:lnTo>
                  <a:lnTo>
                    <a:pt x="1253" y="816"/>
                  </a:lnTo>
                  <a:lnTo>
                    <a:pt x="1259" y="815"/>
                  </a:lnTo>
                  <a:lnTo>
                    <a:pt x="1267" y="813"/>
                  </a:lnTo>
                  <a:lnTo>
                    <a:pt x="1274" y="811"/>
                  </a:lnTo>
                  <a:lnTo>
                    <a:pt x="1279" y="808"/>
                  </a:lnTo>
                  <a:lnTo>
                    <a:pt x="1285" y="803"/>
                  </a:lnTo>
                  <a:lnTo>
                    <a:pt x="1291" y="800"/>
                  </a:lnTo>
                  <a:lnTo>
                    <a:pt x="1295" y="795"/>
                  </a:lnTo>
                  <a:lnTo>
                    <a:pt x="1299" y="789"/>
                  </a:lnTo>
                  <a:lnTo>
                    <a:pt x="1304" y="784"/>
                  </a:lnTo>
                  <a:lnTo>
                    <a:pt x="1307" y="779"/>
                  </a:lnTo>
                  <a:lnTo>
                    <a:pt x="1310" y="772"/>
                  </a:lnTo>
                  <a:lnTo>
                    <a:pt x="1312" y="766"/>
                  </a:lnTo>
                  <a:lnTo>
                    <a:pt x="1315" y="758"/>
                  </a:lnTo>
                  <a:lnTo>
                    <a:pt x="1316" y="752"/>
                  </a:lnTo>
                  <a:lnTo>
                    <a:pt x="1316" y="744"/>
                  </a:lnTo>
                  <a:lnTo>
                    <a:pt x="1316" y="735"/>
                  </a:lnTo>
                  <a:lnTo>
                    <a:pt x="1315" y="728"/>
                  </a:lnTo>
                  <a:lnTo>
                    <a:pt x="1312" y="720"/>
                  </a:lnTo>
                  <a:lnTo>
                    <a:pt x="1309" y="713"/>
                  </a:lnTo>
                  <a:lnTo>
                    <a:pt x="1306" y="706"/>
                  </a:lnTo>
                  <a:lnTo>
                    <a:pt x="1302" y="700"/>
                  </a:lnTo>
                  <a:lnTo>
                    <a:pt x="1296" y="694"/>
                  </a:lnTo>
                  <a:lnTo>
                    <a:pt x="1292" y="689"/>
                  </a:lnTo>
                  <a:lnTo>
                    <a:pt x="1339" y="689"/>
                  </a:lnTo>
                  <a:lnTo>
                    <a:pt x="1343" y="688"/>
                  </a:lnTo>
                  <a:lnTo>
                    <a:pt x="1346" y="686"/>
                  </a:lnTo>
                  <a:lnTo>
                    <a:pt x="1348" y="684"/>
                  </a:lnTo>
                  <a:lnTo>
                    <a:pt x="1348" y="680"/>
                  </a:lnTo>
                  <a:lnTo>
                    <a:pt x="1348" y="617"/>
                  </a:lnTo>
                  <a:lnTo>
                    <a:pt x="1348" y="613"/>
                  </a:lnTo>
                  <a:lnTo>
                    <a:pt x="1346" y="610"/>
                  </a:lnTo>
                  <a:lnTo>
                    <a:pt x="1343" y="608"/>
                  </a:lnTo>
                  <a:lnTo>
                    <a:pt x="1339" y="608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6" name="Freeform 13"/>
            <p:cNvSpPr>
              <a:spLocks noEditPoints="1"/>
            </p:cNvSpPr>
            <p:nvPr/>
          </p:nvSpPr>
          <p:spPr bwMode="auto">
            <a:xfrm>
              <a:off x="374651" y="3421063"/>
              <a:ext cx="87313" cy="112713"/>
            </a:xfrm>
            <a:custGeom>
              <a:avLst/>
              <a:gdLst>
                <a:gd name="T0" fmla="*/ 63 w 164"/>
                <a:gd name="T1" fmla="*/ 48 h 213"/>
                <a:gd name="T2" fmla="*/ 32 w 164"/>
                <a:gd name="T3" fmla="*/ 95 h 213"/>
                <a:gd name="T4" fmla="*/ 23 w 164"/>
                <a:gd name="T5" fmla="*/ 116 h 213"/>
                <a:gd name="T6" fmla="*/ 19 w 164"/>
                <a:gd name="T7" fmla="*/ 128 h 213"/>
                <a:gd name="T8" fmla="*/ 18 w 164"/>
                <a:gd name="T9" fmla="*/ 140 h 213"/>
                <a:gd name="T10" fmla="*/ 22 w 164"/>
                <a:gd name="T11" fmla="*/ 152 h 213"/>
                <a:gd name="T12" fmla="*/ 26 w 164"/>
                <a:gd name="T13" fmla="*/ 163 h 213"/>
                <a:gd name="T14" fmla="*/ 33 w 164"/>
                <a:gd name="T15" fmla="*/ 173 h 213"/>
                <a:gd name="T16" fmla="*/ 42 w 164"/>
                <a:gd name="T17" fmla="*/ 181 h 213"/>
                <a:gd name="T18" fmla="*/ 52 w 164"/>
                <a:gd name="T19" fmla="*/ 188 h 213"/>
                <a:gd name="T20" fmla="*/ 64 w 164"/>
                <a:gd name="T21" fmla="*/ 192 h 213"/>
                <a:gd name="T22" fmla="*/ 76 w 164"/>
                <a:gd name="T23" fmla="*/ 194 h 213"/>
                <a:gd name="T24" fmla="*/ 89 w 164"/>
                <a:gd name="T25" fmla="*/ 194 h 213"/>
                <a:gd name="T26" fmla="*/ 101 w 164"/>
                <a:gd name="T27" fmla="*/ 192 h 213"/>
                <a:gd name="T28" fmla="*/ 112 w 164"/>
                <a:gd name="T29" fmla="*/ 188 h 213"/>
                <a:gd name="T30" fmla="*/ 122 w 164"/>
                <a:gd name="T31" fmla="*/ 181 h 213"/>
                <a:gd name="T32" fmla="*/ 131 w 164"/>
                <a:gd name="T33" fmla="*/ 173 h 213"/>
                <a:gd name="T34" fmla="*/ 138 w 164"/>
                <a:gd name="T35" fmla="*/ 163 h 213"/>
                <a:gd name="T36" fmla="*/ 143 w 164"/>
                <a:gd name="T37" fmla="*/ 152 h 213"/>
                <a:gd name="T38" fmla="*/ 146 w 164"/>
                <a:gd name="T39" fmla="*/ 140 h 213"/>
                <a:gd name="T40" fmla="*/ 146 w 164"/>
                <a:gd name="T41" fmla="*/ 128 h 213"/>
                <a:gd name="T42" fmla="*/ 141 w 164"/>
                <a:gd name="T43" fmla="*/ 116 h 213"/>
                <a:gd name="T44" fmla="*/ 132 w 164"/>
                <a:gd name="T45" fmla="*/ 95 h 213"/>
                <a:gd name="T46" fmla="*/ 101 w 164"/>
                <a:gd name="T47" fmla="*/ 48 h 213"/>
                <a:gd name="T48" fmla="*/ 82 w 164"/>
                <a:gd name="T49" fmla="*/ 213 h 213"/>
                <a:gd name="T50" fmla="*/ 66 w 164"/>
                <a:gd name="T51" fmla="*/ 211 h 213"/>
                <a:gd name="T52" fmla="*/ 51 w 164"/>
                <a:gd name="T53" fmla="*/ 207 h 213"/>
                <a:gd name="T54" fmla="*/ 37 w 164"/>
                <a:gd name="T55" fmla="*/ 200 h 213"/>
                <a:gd name="T56" fmla="*/ 25 w 164"/>
                <a:gd name="T57" fmla="*/ 190 h 213"/>
                <a:gd name="T58" fmla="*/ 14 w 164"/>
                <a:gd name="T59" fmla="*/ 178 h 213"/>
                <a:gd name="T60" fmla="*/ 6 w 164"/>
                <a:gd name="T61" fmla="*/ 164 h 213"/>
                <a:gd name="T62" fmla="*/ 2 w 164"/>
                <a:gd name="T63" fmla="*/ 150 h 213"/>
                <a:gd name="T64" fmla="*/ 0 w 164"/>
                <a:gd name="T65" fmla="*/ 134 h 213"/>
                <a:gd name="T66" fmla="*/ 3 w 164"/>
                <a:gd name="T67" fmla="*/ 116 h 213"/>
                <a:gd name="T68" fmla="*/ 11 w 164"/>
                <a:gd name="T69" fmla="*/ 97 h 213"/>
                <a:gd name="T70" fmla="*/ 35 w 164"/>
                <a:gd name="T71" fmla="*/ 56 h 213"/>
                <a:gd name="T72" fmla="*/ 76 w 164"/>
                <a:gd name="T73" fmla="*/ 2 h 213"/>
                <a:gd name="T74" fmla="*/ 82 w 164"/>
                <a:gd name="T75" fmla="*/ 0 h 213"/>
                <a:gd name="T76" fmla="*/ 89 w 164"/>
                <a:gd name="T77" fmla="*/ 2 h 213"/>
                <a:gd name="T78" fmla="*/ 130 w 164"/>
                <a:gd name="T79" fmla="*/ 56 h 213"/>
                <a:gd name="T80" fmla="*/ 153 w 164"/>
                <a:gd name="T81" fmla="*/ 97 h 213"/>
                <a:gd name="T82" fmla="*/ 161 w 164"/>
                <a:gd name="T83" fmla="*/ 116 h 213"/>
                <a:gd name="T84" fmla="*/ 164 w 164"/>
                <a:gd name="T85" fmla="*/ 134 h 213"/>
                <a:gd name="T86" fmla="*/ 162 w 164"/>
                <a:gd name="T87" fmla="*/ 150 h 213"/>
                <a:gd name="T88" fmla="*/ 158 w 164"/>
                <a:gd name="T89" fmla="*/ 164 h 213"/>
                <a:gd name="T90" fmla="*/ 150 w 164"/>
                <a:gd name="T91" fmla="*/ 178 h 213"/>
                <a:gd name="T92" fmla="*/ 139 w 164"/>
                <a:gd name="T93" fmla="*/ 190 h 213"/>
                <a:gd name="T94" fmla="*/ 127 w 164"/>
                <a:gd name="T95" fmla="*/ 200 h 213"/>
                <a:gd name="T96" fmla="*/ 113 w 164"/>
                <a:gd name="T97" fmla="*/ 207 h 213"/>
                <a:gd name="T98" fmla="*/ 98 w 164"/>
                <a:gd name="T99" fmla="*/ 211 h 213"/>
                <a:gd name="T100" fmla="*/ 82 w 164"/>
                <a:gd name="T101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13">
                  <a:moveTo>
                    <a:pt x="82" y="23"/>
                  </a:moveTo>
                  <a:lnTo>
                    <a:pt x="63" y="48"/>
                  </a:lnTo>
                  <a:lnTo>
                    <a:pt x="42" y="79"/>
                  </a:lnTo>
                  <a:lnTo>
                    <a:pt x="32" y="95"/>
                  </a:lnTo>
                  <a:lnTo>
                    <a:pt x="25" y="109"/>
                  </a:lnTo>
                  <a:lnTo>
                    <a:pt x="23" y="116"/>
                  </a:lnTo>
                  <a:lnTo>
                    <a:pt x="21" y="123"/>
                  </a:lnTo>
                  <a:lnTo>
                    <a:pt x="19" y="128"/>
                  </a:lnTo>
                  <a:lnTo>
                    <a:pt x="18" y="134"/>
                  </a:lnTo>
                  <a:lnTo>
                    <a:pt x="18" y="140"/>
                  </a:lnTo>
                  <a:lnTo>
                    <a:pt x="19" y="146"/>
                  </a:lnTo>
                  <a:lnTo>
                    <a:pt x="22" y="152"/>
                  </a:lnTo>
                  <a:lnTo>
                    <a:pt x="24" y="158"/>
                  </a:lnTo>
                  <a:lnTo>
                    <a:pt x="26" y="163"/>
                  </a:lnTo>
                  <a:lnTo>
                    <a:pt x="29" y="168"/>
                  </a:lnTo>
                  <a:lnTo>
                    <a:pt x="33" y="173"/>
                  </a:lnTo>
                  <a:lnTo>
                    <a:pt x="37" y="177"/>
                  </a:lnTo>
                  <a:lnTo>
                    <a:pt x="42" y="181"/>
                  </a:lnTo>
                  <a:lnTo>
                    <a:pt x="46" y="184"/>
                  </a:lnTo>
                  <a:lnTo>
                    <a:pt x="52" y="188"/>
                  </a:lnTo>
                  <a:lnTo>
                    <a:pt x="57" y="190"/>
                  </a:lnTo>
                  <a:lnTo>
                    <a:pt x="64" y="192"/>
                  </a:lnTo>
                  <a:lnTo>
                    <a:pt x="69" y="194"/>
                  </a:lnTo>
                  <a:lnTo>
                    <a:pt x="76" y="194"/>
                  </a:lnTo>
                  <a:lnTo>
                    <a:pt x="82" y="195"/>
                  </a:lnTo>
                  <a:lnTo>
                    <a:pt x="89" y="194"/>
                  </a:lnTo>
                  <a:lnTo>
                    <a:pt x="95" y="194"/>
                  </a:lnTo>
                  <a:lnTo>
                    <a:pt x="101" y="192"/>
                  </a:lnTo>
                  <a:lnTo>
                    <a:pt x="107" y="190"/>
                  </a:lnTo>
                  <a:lnTo>
                    <a:pt x="112" y="188"/>
                  </a:lnTo>
                  <a:lnTo>
                    <a:pt x="118" y="184"/>
                  </a:lnTo>
                  <a:lnTo>
                    <a:pt x="122" y="181"/>
                  </a:lnTo>
                  <a:lnTo>
                    <a:pt x="127" y="177"/>
                  </a:lnTo>
                  <a:lnTo>
                    <a:pt x="131" y="173"/>
                  </a:lnTo>
                  <a:lnTo>
                    <a:pt x="135" y="168"/>
                  </a:lnTo>
                  <a:lnTo>
                    <a:pt x="138" y="163"/>
                  </a:lnTo>
                  <a:lnTo>
                    <a:pt x="140" y="158"/>
                  </a:lnTo>
                  <a:lnTo>
                    <a:pt x="143" y="152"/>
                  </a:lnTo>
                  <a:lnTo>
                    <a:pt x="145" y="146"/>
                  </a:lnTo>
                  <a:lnTo>
                    <a:pt x="146" y="140"/>
                  </a:lnTo>
                  <a:lnTo>
                    <a:pt x="146" y="134"/>
                  </a:lnTo>
                  <a:lnTo>
                    <a:pt x="146" y="128"/>
                  </a:lnTo>
                  <a:lnTo>
                    <a:pt x="144" y="123"/>
                  </a:lnTo>
                  <a:lnTo>
                    <a:pt x="141" y="116"/>
                  </a:lnTo>
                  <a:lnTo>
                    <a:pt x="139" y="109"/>
                  </a:lnTo>
                  <a:lnTo>
                    <a:pt x="132" y="95"/>
                  </a:lnTo>
                  <a:lnTo>
                    <a:pt x="122" y="79"/>
                  </a:lnTo>
                  <a:lnTo>
                    <a:pt x="101" y="48"/>
                  </a:lnTo>
                  <a:lnTo>
                    <a:pt x="82" y="23"/>
                  </a:lnTo>
                  <a:close/>
                  <a:moveTo>
                    <a:pt x="82" y="213"/>
                  </a:moveTo>
                  <a:lnTo>
                    <a:pt x="73" y="213"/>
                  </a:lnTo>
                  <a:lnTo>
                    <a:pt x="66" y="211"/>
                  </a:lnTo>
                  <a:lnTo>
                    <a:pt x="58" y="209"/>
                  </a:lnTo>
                  <a:lnTo>
                    <a:pt x="51" y="207"/>
                  </a:lnTo>
                  <a:lnTo>
                    <a:pt x="43" y="204"/>
                  </a:lnTo>
                  <a:lnTo>
                    <a:pt x="37" y="200"/>
                  </a:lnTo>
                  <a:lnTo>
                    <a:pt x="30" y="195"/>
                  </a:lnTo>
                  <a:lnTo>
                    <a:pt x="25" y="190"/>
                  </a:lnTo>
                  <a:lnTo>
                    <a:pt x="19" y="184"/>
                  </a:lnTo>
                  <a:lnTo>
                    <a:pt x="14" y="178"/>
                  </a:lnTo>
                  <a:lnTo>
                    <a:pt x="11" y="172"/>
                  </a:lnTo>
                  <a:lnTo>
                    <a:pt x="6" y="164"/>
                  </a:lnTo>
                  <a:lnTo>
                    <a:pt x="4" y="158"/>
                  </a:lnTo>
                  <a:lnTo>
                    <a:pt x="2" y="150"/>
                  </a:lnTo>
                  <a:lnTo>
                    <a:pt x="1" y="141"/>
                  </a:lnTo>
                  <a:lnTo>
                    <a:pt x="0" y="134"/>
                  </a:lnTo>
                  <a:lnTo>
                    <a:pt x="1" y="125"/>
                  </a:lnTo>
                  <a:lnTo>
                    <a:pt x="3" y="116"/>
                  </a:lnTo>
                  <a:lnTo>
                    <a:pt x="6" y="107"/>
                  </a:lnTo>
                  <a:lnTo>
                    <a:pt x="11" y="97"/>
                  </a:lnTo>
                  <a:lnTo>
                    <a:pt x="22" y="77"/>
                  </a:lnTo>
                  <a:lnTo>
                    <a:pt x="35" y="56"/>
                  </a:lnTo>
                  <a:lnTo>
                    <a:pt x="60" y="21"/>
                  </a:lnTo>
                  <a:lnTo>
                    <a:pt x="76" y="2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89" y="2"/>
                  </a:lnTo>
                  <a:lnTo>
                    <a:pt x="104" y="21"/>
                  </a:lnTo>
                  <a:lnTo>
                    <a:pt x="130" y="56"/>
                  </a:lnTo>
                  <a:lnTo>
                    <a:pt x="143" y="77"/>
                  </a:lnTo>
                  <a:lnTo>
                    <a:pt x="153" y="97"/>
                  </a:lnTo>
                  <a:lnTo>
                    <a:pt x="158" y="107"/>
                  </a:lnTo>
                  <a:lnTo>
                    <a:pt x="161" y="116"/>
                  </a:lnTo>
                  <a:lnTo>
                    <a:pt x="163" y="125"/>
                  </a:lnTo>
                  <a:lnTo>
                    <a:pt x="164" y="134"/>
                  </a:lnTo>
                  <a:lnTo>
                    <a:pt x="163" y="141"/>
                  </a:lnTo>
                  <a:lnTo>
                    <a:pt x="162" y="150"/>
                  </a:lnTo>
                  <a:lnTo>
                    <a:pt x="160" y="158"/>
                  </a:lnTo>
                  <a:lnTo>
                    <a:pt x="158" y="164"/>
                  </a:lnTo>
                  <a:lnTo>
                    <a:pt x="153" y="172"/>
                  </a:lnTo>
                  <a:lnTo>
                    <a:pt x="150" y="178"/>
                  </a:lnTo>
                  <a:lnTo>
                    <a:pt x="145" y="184"/>
                  </a:lnTo>
                  <a:lnTo>
                    <a:pt x="139" y="190"/>
                  </a:lnTo>
                  <a:lnTo>
                    <a:pt x="134" y="195"/>
                  </a:lnTo>
                  <a:lnTo>
                    <a:pt x="127" y="200"/>
                  </a:lnTo>
                  <a:lnTo>
                    <a:pt x="121" y="204"/>
                  </a:lnTo>
                  <a:lnTo>
                    <a:pt x="113" y="207"/>
                  </a:lnTo>
                  <a:lnTo>
                    <a:pt x="106" y="209"/>
                  </a:lnTo>
                  <a:lnTo>
                    <a:pt x="98" y="211"/>
                  </a:lnTo>
                  <a:lnTo>
                    <a:pt x="91" y="213"/>
                  </a:lnTo>
                  <a:lnTo>
                    <a:pt x="82" y="213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7" name="Freeform 14"/>
            <p:cNvSpPr>
              <a:spLocks noEditPoints="1"/>
            </p:cNvSpPr>
            <p:nvPr/>
          </p:nvSpPr>
          <p:spPr bwMode="auto">
            <a:xfrm>
              <a:off x="107951" y="3635376"/>
              <a:ext cx="111125" cy="39688"/>
            </a:xfrm>
            <a:custGeom>
              <a:avLst/>
              <a:gdLst>
                <a:gd name="T0" fmla="*/ 32 w 208"/>
                <a:gd name="T1" fmla="*/ 18 h 76"/>
                <a:gd name="T2" fmla="*/ 26 w 208"/>
                <a:gd name="T3" fmla="*/ 21 h 76"/>
                <a:gd name="T4" fmla="*/ 21 w 208"/>
                <a:gd name="T5" fmla="*/ 27 h 76"/>
                <a:gd name="T6" fmla="*/ 18 w 208"/>
                <a:gd name="T7" fmla="*/ 34 h 76"/>
                <a:gd name="T8" fmla="*/ 18 w 208"/>
                <a:gd name="T9" fmla="*/ 42 h 76"/>
                <a:gd name="T10" fmla="*/ 21 w 208"/>
                <a:gd name="T11" fmla="*/ 49 h 76"/>
                <a:gd name="T12" fmla="*/ 26 w 208"/>
                <a:gd name="T13" fmla="*/ 55 h 76"/>
                <a:gd name="T14" fmla="*/ 32 w 208"/>
                <a:gd name="T15" fmla="*/ 58 h 76"/>
                <a:gd name="T16" fmla="*/ 173 w 208"/>
                <a:gd name="T17" fmla="*/ 58 h 76"/>
                <a:gd name="T18" fmla="*/ 179 w 208"/>
                <a:gd name="T19" fmla="*/ 57 h 76"/>
                <a:gd name="T20" fmla="*/ 185 w 208"/>
                <a:gd name="T21" fmla="*/ 53 h 76"/>
                <a:gd name="T22" fmla="*/ 189 w 208"/>
                <a:gd name="T23" fmla="*/ 46 h 76"/>
                <a:gd name="T24" fmla="*/ 190 w 208"/>
                <a:gd name="T25" fmla="*/ 39 h 76"/>
                <a:gd name="T26" fmla="*/ 189 w 208"/>
                <a:gd name="T27" fmla="*/ 30 h 76"/>
                <a:gd name="T28" fmla="*/ 185 w 208"/>
                <a:gd name="T29" fmla="*/ 23 h 76"/>
                <a:gd name="T30" fmla="*/ 179 w 208"/>
                <a:gd name="T31" fmla="*/ 19 h 76"/>
                <a:gd name="T32" fmla="*/ 173 w 208"/>
                <a:gd name="T33" fmla="*/ 18 h 76"/>
                <a:gd name="T34" fmla="*/ 173 w 208"/>
                <a:gd name="T35" fmla="*/ 76 h 76"/>
                <a:gd name="T36" fmla="*/ 28 w 208"/>
                <a:gd name="T37" fmla="*/ 75 h 76"/>
                <a:gd name="T38" fmla="*/ 16 w 208"/>
                <a:gd name="T39" fmla="*/ 70 h 76"/>
                <a:gd name="T40" fmla="*/ 6 w 208"/>
                <a:gd name="T41" fmla="*/ 59 h 76"/>
                <a:gd name="T42" fmla="*/ 1 w 208"/>
                <a:gd name="T43" fmla="*/ 46 h 76"/>
                <a:gd name="T44" fmla="*/ 1 w 208"/>
                <a:gd name="T45" fmla="*/ 30 h 76"/>
                <a:gd name="T46" fmla="*/ 6 w 208"/>
                <a:gd name="T47" fmla="*/ 17 h 76"/>
                <a:gd name="T48" fmla="*/ 16 w 208"/>
                <a:gd name="T49" fmla="*/ 6 h 76"/>
                <a:gd name="T50" fmla="*/ 28 w 208"/>
                <a:gd name="T51" fmla="*/ 1 h 76"/>
                <a:gd name="T52" fmla="*/ 173 w 208"/>
                <a:gd name="T53" fmla="*/ 0 h 76"/>
                <a:gd name="T54" fmla="*/ 187 w 208"/>
                <a:gd name="T55" fmla="*/ 3 h 76"/>
                <a:gd name="T56" fmla="*/ 197 w 208"/>
                <a:gd name="T57" fmla="*/ 10 h 76"/>
                <a:gd name="T58" fmla="*/ 205 w 208"/>
                <a:gd name="T59" fmla="*/ 23 h 76"/>
                <a:gd name="T60" fmla="*/ 208 w 208"/>
                <a:gd name="T61" fmla="*/ 39 h 76"/>
                <a:gd name="T62" fmla="*/ 205 w 208"/>
                <a:gd name="T63" fmla="*/ 53 h 76"/>
                <a:gd name="T64" fmla="*/ 197 w 208"/>
                <a:gd name="T65" fmla="*/ 66 h 76"/>
                <a:gd name="T66" fmla="*/ 187 w 208"/>
                <a:gd name="T67" fmla="*/ 73 h 76"/>
                <a:gd name="T68" fmla="*/ 173 w 208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6">
                  <a:moveTo>
                    <a:pt x="36" y="18"/>
                  </a:moveTo>
                  <a:lnTo>
                    <a:pt x="32" y="18"/>
                  </a:lnTo>
                  <a:lnTo>
                    <a:pt x="29" y="19"/>
                  </a:lnTo>
                  <a:lnTo>
                    <a:pt x="26" y="21"/>
                  </a:lnTo>
                  <a:lnTo>
                    <a:pt x="24" y="23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8" y="34"/>
                  </a:lnTo>
                  <a:lnTo>
                    <a:pt x="18" y="39"/>
                  </a:lnTo>
                  <a:lnTo>
                    <a:pt x="18" y="42"/>
                  </a:lnTo>
                  <a:lnTo>
                    <a:pt x="19" y="46"/>
                  </a:lnTo>
                  <a:lnTo>
                    <a:pt x="21" y="49"/>
                  </a:lnTo>
                  <a:lnTo>
                    <a:pt x="24" y="53"/>
                  </a:lnTo>
                  <a:lnTo>
                    <a:pt x="26" y="55"/>
                  </a:lnTo>
                  <a:lnTo>
                    <a:pt x="29" y="57"/>
                  </a:lnTo>
                  <a:lnTo>
                    <a:pt x="32" y="58"/>
                  </a:lnTo>
                  <a:lnTo>
                    <a:pt x="36" y="58"/>
                  </a:lnTo>
                  <a:lnTo>
                    <a:pt x="173" y="58"/>
                  </a:lnTo>
                  <a:lnTo>
                    <a:pt x="177" y="58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49"/>
                  </a:lnTo>
                  <a:lnTo>
                    <a:pt x="189" y="46"/>
                  </a:lnTo>
                  <a:lnTo>
                    <a:pt x="190" y="42"/>
                  </a:lnTo>
                  <a:lnTo>
                    <a:pt x="190" y="39"/>
                  </a:lnTo>
                  <a:lnTo>
                    <a:pt x="190" y="34"/>
                  </a:lnTo>
                  <a:lnTo>
                    <a:pt x="189" y="30"/>
                  </a:lnTo>
                  <a:lnTo>
                    <a:pt x="187" y="27"/>
                  </a:lnTo>
                  <a:lnTo>
                    <a:pt x="185" y="23"/>
                  </a:lnTo>
                  <a:lnTo>
                    <a:pt x="182" y="21"/>
                  </a:lnTo>
                  <a:lnTo>
                    <a:pt x="179" y="19"/>
                  </a:lnTo>
                  <a:lnTo>
                    <a:pt x="177" y="18"/>
                  </a:lnTo>
                  <a:lnTo>
                    <a:pt x="173" y="18"/>
                  </a:lnTo>
                  <a:lnTo>
                    <a:pt x="36" y="18"/>
                  </a:lnTo>
                  <a:close/>
                  <a:moveTo>
                    <a:pt x="173" y="76"/>
                  </a:moveTo>
                  <a:lnTo>
                    <a:pt x="36" y="76"/>
                  </a:lnTo>
                  <a:lnTo>
                    <a:pt x="28" y="75"/>
                  </a:lnTo>
                  <a:lnTo>
                    <a:pt x="21" y="73"/>
                  </a:lnTo>
                  <a:lnTo>
                    <a:pt x="16" y="70"/>
                  </a:lnTo>
                  <a:lnTo>
                    <a:pt x="11" y="66"/>
                  </a:lnTo>
                  <a:lnTo>
                    <a:pt x="6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9"/>
                  </a:lnTo>
                  <a:lnTo>
                    <a:pt x="1" y="30"/>
                  </a:lnTo>
                  <a:lnTo>
                    <a:pt x="3" y="23"/>
                  </a:lnTo>
                  <a:lnTo>
                    <a:pt x="6" y="17"/>
                  </a:lnTo>
                  <a:lnTo>
                    <a:pt x="11" y="10"/>
                  </a:lnTo>
                  <a:lnTo>
                    <a:pt x="16" y="6"/>
                  </a:lnTo>
                  <a:lnTo>
                    <a:pt x="21" y="3"/>
                  </a:lnTo>
                  <a:lnTo>
                    <a:pt x="28" y="1"/>
                  </a:lnTo>
                  <a:lnTo>
                    <a:pt x="36" y="0"/>
                  </a:lnTo>
                  <a:lnTo>
                    <a:pt x="173" y="0"/>
                  </a:lnTo>
                  <a:lnTo>
                    <a:pt x="180" y="1"/>
                  </a:lnTo>
                  <a:lnTo>
                    <a:pt x="187" y="3"/>
                  </a:lnTo>
                  <a:lnTo>
                    <a:pt x="193" y="6"/>
                  </a:lnTo>
                  <a:lnTo>
                    <a:pt x="197" y="10"/>
                  </a:lnTo>
                  <a:lnTo>
                    <a:pt x="202" y="17"/>
                  </a:lnTo>
                  <a:lnTo>
                    <a:pt x="205" y="23"/>
                  </a:lnTo>
                  <a:lnTo>
                    <a:pt x="207" y="30"/>
                  </a:lnTo>
                  <a:lnTo>
                    <a:pt x="208" y="39"/>
                  </a:lnTo>
                  <a:lnTo>
                    <a:pt x="207" y="46"/>
                  </a:lnTo>
                  <a:lnTo>
                    <a:pt x="205" y="53"/>
                  </a:lnTo>
                  <a:lnTo>
                    <a:pt x="202" y="59"/>
                  </a:lnTo>
                  <a:lnTo>
                    <a:pt x="197" y="66"/>
                  </a:lnTo>
                  <a:lnTo>
                    <a:pt x="193" y="70"/>
                  </a:lnTo>
                  <a:lnTo>
                    <a:pt x="187" y="73"/>
                  </a:lnTo>
                  <a:lnTo>
                    <a:pt x="180" y="75"/>
                  </a:lnTo>
                  <a:lnTo>
                    <a:pt x="173" y="76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8" name="Freeform 15"/>
            <p:cNvSpPr>
              <a:spLocks noEditPoints="1"/>
            </p:cNvSpPr>
            <p:nvPr/>
          </p:nvSpPr>
          <p:spPr bwMode="auto">
            <a:xfrm>
              <a:off x="612776" y="3638551"/>
              <a:ext cx="111125" cy="41275"/>
            </a:xfrm>
            <a:custGeom>
              <a:avLst/>
              <a:gdLst>
                <a:gd name="T0" fmla="*/ 32 w 208"/>
                <a:gd name="T1" fmla="*/ 19 h 77"/>
                <a:gd name="T2" fmla="*/ 25 w 208"/>
                <a:gd name="T3" fmla="*/ 22 h 77"/>
                <a:gd name="T4" fmla="*/ 21 w 208"/>
                <a:gd name="T5" fmla="*/ 27 h 77"/>
                <a:gd name="T6" fmla="*/ 19 w 208"/>
                <a:gd name="T7" fmla="*/ 35 h 77"/>
                <a:gd name="T8" fmla="*/ 19 w 208"/>
                <a:gd name="T9" fmla="*/ 42 h 77"/>
                <a:gd name="T10" fmla="*/ 21 w 208"/>
                <a:gd name="T11" fmla="*/ 50 h 77"/>
                <a:gd name="T12" fmla="*/ 25 w 208"/>
                <a:gd name="T13" fmla="*/ 55 h 77"/>
                <a:gd name="T14" fmla="*/ 32 w 208"/>
                <a:gd name="T15" fmla="*/ 59 h 77"/>
                <a:gd name="T16" fmla="*/ 173 w 208"/>
                <a:gd name="T17" fmla="*/ 59 h 77"/>
                <a:gd name="T18" fmla="*/ 179 w 208"/>
                <a:gd name="T19" fmla="*/ 57 h 77"/>
                <a:gd name="T20" fmla="*/ 185 w 208"/>
                <a:gd name="T21" fmla="*/ 53 h 77"/>
                <a:gd name="T22" fmla="*/ 188 w 208"/>
                <a:gd name="T23" fmla="*/ 47 h 77"/>
                <a:gd name="T24" fmla="*/ 189 w 208"/>
                <a:gd name="T25" fmla="*/ 39 h 77"/>
                <a:gd name="T26" fmla="*/ 188 w 208"/>
                <a:gd name="T27" fmla="*/ 30 h 77"/>
                <a:gd name="T28" fmla="*/ 185 w 208"/>
                <a:gd name="T29" fmla="*/ 24 h 77"/>
                <a:gd name="T30" fmla="*/ 179 w 208"/>
                <a:gd name="T31" fmla="*/ 20 h 77"/>
                <a:gd name="T32" fmla="*/ 173 w 208"/>
                <a:gd name="T33" fmla="*/ 19 h 77"/>
                <a:gd name="T34" fmla="*/ 173 w 208"/>
                <a:gd name="T35" fmla="*/ 77 h 77"/>
                <a:gd name="T36" fmla="*/ 27 w 208"/>
                <a:gd name="T37" fmla="*/ 76 h 77"/>
                <a:gd name="T38" fmla="*/ 15 w 208"/>
                <a:gd name="T39" fmla="*/ 70 h 77"/>
                <a:gd name="T40" fmla="*/ 6 w 208"/>
                <a:gd name="T41" fmla="*/ 60 h 77"/>
                <a:gd name="T42" fmla="*/ 0 w 208"/>
                <a:gd name="T43" fmla="*/ 47 h 77"/>
                <a:gd name="T44" fmla="*/ 0 w 208"/>
                <a:gd name="T45" fmla="*/ 32 h 77"/>
                <a:gd name="T46" fmla="*/ 6 w 208"/>
                <a:gd name="T47" fmla="*/ 17 h 77"/>
                <a:gd name="T48" fmla="*/ 15 w 208"/>
                <a:gd name="T49" fmla="*/ 7 h 77"/>
                <a:gd name="T50" fmla="*/ 27 w 208"/>
                <a:gd name="T51" fmla="*/ 1 h 77"/>
                <a:gd name="T52" fmla="*/ 173 w 208"/>
                <a:gd name="T53" fmla="*/ 0 h 77"/>
                <a:gd name="T54" fmla="*/ 186 w 208"/>
                <a:gd name="T55" fmla="*/ 3 h 77"/>
                <a:gd name="T56" fmla="*/ 198 w 208"/>
                <a:gd name="T57" fmla="*/ 12 h 77"/>
                <a:gd name="T58" fmla="*/ 205 w 208"/>
                <a:gd name="T59" fmla="*/ 24 h 77"/>
                <a:gd name="T60" fmla="*/ 208 w 208"/>
                <a:gd name="T61" fmla="*/ 39 h 77"/>
                <a:gd name="T62" fmla="*/ 205 w 208"/>
                <a:gd name="T63" fmla="*/ 53 h 77"/>
                <a:gd name="T64" fmla="*/ 198 w 208"/>
                <a:gd name="T65" fmla="*/ 66 h 77"/>
                <a:gd name="T66" fmla="*/ 186 w 208"/>
                <a:gd name="T67" fmla="*/ 74 h 77"/>
                <a:gd name="T68" fmla="*/ 173 w 208"/>
                <a:gd name="T6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7">
                  <a:moveTo>
                    <a:pt x="35" y="19"/>
                  </a:moveTo>
                  <a:lnTo>
                    <a:pt x="32" y="19"/>
                  </a:lnTo>
                  <a:lnTo>
                    <a:pt x="28" y="20"/>
                  </a:lnTo>
                  <a:lnTo>
                    <a:pt x="25" y="22"/>
                  </a:lnTo>
                  <a:lnTo>
                    <a:pt x="23" y="24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9" y="42"/>
                  </a:lnTo>
                  <a:lnTo>
                    <a:pt x="19" y="47"/>
                  </a:lnTo>
                  <a:lnTo>
                    <a:pt x="21" y="50"/>
                  </a:lnTo>
                  <a:lnTo>
                    <a:pt x="23" y="53"/>
                  </a:lnTo>
                  <a:lnTo>
                    <a:pt x="25" y="55"/>
                  </a:lnTo>
                  <a:lnTo>
                    <a:pt x="28" y="57"/>
                  </a:lnTo>
                  <a:lnTo>
                    <a:pt x="32" y="59"/>
                  </a:lnTo>
                  <a:lnTo>
                    <a:pt x="35" y="59"/>
                  </a:lnTo>
                  <a:lnTo>
                    <a:pt x="173" y="59"/>
                  </a:lnTo>
                  <a:lnTo>
                    <a:pt x="176" y="59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50"/>
                  </a:lnTo>
                  <a:lnTo>
                    <a:pt x="188" y="47"/>
                  </a:lnTo>
                  <a:lnTo>
                    <a:pt x="189" y="42"/>
                  </a:lnTo>
                  <a:lnTo>
                    <a:pt x="189" y="39"/>
                  </a:lnTo>
                  <a:lnTo>
                    <a:pt x="189" y="35"/>
                  </a:lnTo>
                  <a:lnTo>
                    <a:pt x="188" y="30"/>
                  </a:lnTo>
                  <a:lnTo>
                    <a:pt x="187" y="27"/>
                  </a:lnTo>
                  <a:lnTo>
                    <a:pt x="185" y="24"/>
                  </a:lnTo>
                  <a:lnTo>
                    <a:pt x="182" y="22"/>
                  </a:lnTo>
                  <a:lnTo>
                    <a:pt x="179" y="20"/>
                  </a:lnTo>
                  <a:lnTo>
                    <a:pt x="176" y="19"/>
                  </a:lnTo>
                  <a:lnTo>
                    <a:pt x="173" y="19"/>
                  </a:lnTo>
                  <a:lnTo>
                    <a:pt x="35" y="19"/>
                  </a:lnTo>
                  <a:close/>
                  <a:moveTo>
                    <a:pt x="173" y="77"/>
                  </a:moveTo>
                  <a:lnTo>
                    <a:pt x="35" y="77"/>
                  </a:lnTo>
                  <a:lnTo>
                    <a:pt x="27" y="76"/>
                  </a:lnTo>
                  <a:lnTo>
                    <a:pt x="21" y="74"/>
                  </a:lnTo>
                  <a:lnTo>
                    <a:pt x="15" y="70"/>
                  </a:lnTo>
                  <a:lnTo>
                    <a:pt x="10" y="66"/>
                  </a:lnTo>
                  <a:lnTo>
                    <a:pt x="6" y="60"/>
                  </a:lnTo>
                  <a:lnTo>
                    <a:pt x="2" y="53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6" y="17"/>
                  </a:lnTo>
                  <a:lnTo>
                    <a:pt x="10" y="12"/>
                  </a:lnTo>
                  <a:lnTo>
                    <a:pt x="15" y="7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5" y="0"/>
                  </a:lnTo>
                  <a:lnTo>
                    <a:pt x="173" y="0"/>
                  </a:lnTo>
                  <a:lnTo>
                    <a:pt x="179" y="1"/>
                  </a:lnTo>
                  <a:lnTo>
                    <a:pt x="186" y="3"/>
                  </a:lnTo>
                  <a:lnTo>
                    <a:pt x="192" y="7"/>
                  </a:lnTo>
                  <a:lnTo>
                    <a:pt x="198" y="12"/>
                  </a:lnTo>
                  <a:lnTo>
                    <a:pt x="202" y="17"/>
                  </a:lnTo>
                  <a:lnTo>
                    <a:pt x="205" y="24"/>
                  </a:lnTo>
                  <a:lnTo>
                    <a:pt x="206" y="32"/>
                  </a:lnTo>
                  <a:lnTo>
                    <a:pt x="208" y="39"/>
                  </a:lnTo>
                  <a:lnTo>
                    <a:pt x="206" y="47"/>
                  </a:lnTo>
                  <a:lnTo>
                    <a:pt x="205" y="53"/>
                  </a:lnTo>
                  <a:lnTo>
                    <a:pt x="202" y="60"/>
                  </a:lnTo>
                  <a:lnTo>
                    <a:pt x="198" y="66"/>
                  </a:lnTo>
                  <a:lnTo>
                    <a:pt x="192" y="70"/>
                  </a:lnTo>
                  <a:lnTo>
                    <a:pt x="186" y="74"/>
                  </a:lnTo>
                  <a:lnTo>
                    <a:pt x="179" y="76"/>
                  </a:lnTo>
                  <a:lnTo>
                    <a:pt x="173" y="77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cxnSp>
        <p:nvCxnSpPr>
          <p:cNvPr id="1221" name="Прямая соединительная линия 1220"/>
          <p:cNvCxnSpPr/>
          <p:nvPr/>
        </p:nvCxnSpPr>
        <p:spPr>
          <a:xfrm>
            <a:off x="4227157" y="1784304"/>
            <a:ext cx="201613" cy="0"/>
          </a:xfrm>
          <a:prstGeom prst="line">
            <a:avLst/>
          </a:prstGeom>
          <a:ln w="6350">
            <a:solidFill>
              <a:srgbClr val="EF6213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47" name="opt_marketing"/>
          <p:cNvGrpSpPr>
            <a:grpSpLocks noChangeAspect="1"/>
          </p:cNvGrpSpPr>
          <p:nvPr/>
        </p:nvGrpSpPr>
        <p:grpSpPr>
          <a:xfrm>
            <a:off x="2772782" y="3294451"/>
            <a:ext cx="240352" cy="161925"/>
            <a:chOff x="55563" y="3265488"/>
            <a:chExt cx="723900" cy="431800"/>
          </a:xfrm>
          <a:solidFill>
            <a:srgbClr val="7030A0"/>
          </a:solidFill>
        </p:grpSpPr>
        <p:sp>
          <p:nvSpPr>
            <p:cNvPr id="248" name="Freeform 12"/>
            <p:cNvSpPr>
              <a:spLocks noEditPoints="1"/>
            </p:cNvSpPr>
            <p:nvPr/>
          </p:nvSpPr>
          <p:spPr bwMode="auto">
            <a:xfrm>
              <a:off x="55563" y="3265488"/>
              <a:ext cx="723900" cy="431800"/>
            </a:xfrm>
            <a:custGeom>
              <a:avLst/>
              <a:gdLst>
                <a:gd name="T0" fmla="*/ 23 w 1366"/>
                <a:gd name="T1" fmla="*/ 263 h 816"/>
                <a:gd name="T2" fmla="*/ 71 w 1366"/>
                <a:gd name="T3" fmla="*/ 115 h 816"/>
                <a:gd name="T4" fmla="*/ 1286 w 1366"/>
                <a:gd name="T5" fmla="*/ 103 h 816"/>
                <a:gd name="T6" fmla="*/ 1339 w 1366"/>
                <a:gd name="T7" fmla="*/ 239 h 816"/>
                <a:gd name="T8" fmla="*/ 1335 w 1366"/>
                <a:gd name="T9" fmla="*/ 488 h 816"/>
                <a:gd name="T10" fmla="*/ 1280 w 1366"/>
                <a:gd name="T11" fmla="*/ 608 h 816"/>
                <a:gd name="T12" fmla="*/ 36 w 1366"/>
                <a:gd name="T13" fmla="*/ 507 h 816"/>
                <a:gd name="T14" fmla="*/ 760 w 1366"/>
                <a:gd name="T15" fmla="*/ 78 h 816"/>
                <a:gd name="T16" fmla="*/ 580 w 1366"/>
                <a:gd name="T17" fmla="*/ 25 h 816"/>
                <a:gd name="T18" fmla="*/ 786 w 1366"/>
                <a:gd name="T19" fmla="*/ 34 h 816"/>
                <a:gd name="T20" fmla="*/ 1339 w 1366"/>
                <a:gd name="T21" fmla="*/ 608 h 816"/>
                <a:gd name="T22" fmla="*/ 1352 w 1366"/>
                <a:gd name="T23" fmla="*/ 493 h 816"/>
                <a:gd name="T24" fmla="*/ 1360 w 1366"/>
                <a:gd name="T25" fmla="*/ 251 h 816"/>
                <a:gd name="T26" fmla="*/ 1303 w 1366"/>
                <a:gd name="T27" fmla="*/ 94 h 816"/>
                <a:gd name="T28" fmla="*/ 793 w 1366"/>
                <a:gd name="T29" fmla="*/ 52 h 816"/>
                <a:gd name="T30" fmla="*/ 796 w 1366"/>
                <a:gd name="T31" fmla="*/ 9 h 816"/>
                <a:gd name="T32" fmla="*/ 571 w 1366"/>
                <a:gd name="T33" fmla="*/ 9 h 816"/>
                <a:gd name="T34" fmla="*/ 575 w 1366"/>
                <a:gd name="T35" fmla="*/ 53 h 816"/>
                <a:gd name="T36" fmla="*/ 69 w 1366"/>
                <a:gd name="T37" fmla="*/ 88 h 816"/>
                <a:gd name="T38" fmla="*/ 10 w 1366"/>
                <a:gd name="T39" fmla="*/ 229 h 816"/>
                <a:gd name="T40" fmla="*/ 9 w 1366"/>
                <a:gd name="T41" fmla="*/ 472 h 816"/>
                <a:gd name="T42" fmla="*/ 62 w 1366"/>
                <a:gd name="T43" fmla="*/ 608 h 816"/>
                <a:gd name="T44" fmla="*/ 23 w 1366"/>
                <a:gd name="T45" fmla="*/ 688 h 816"/>
                <a:gd name="T46" fmla="*/ 51 w 1366"/>
                <a:gd name="T47" fmla="*/ 732 h 816"/>
                <a:gd name="T48" fmla="*/ 71 w 1366"/>
                <a:gd name="T49" fmla="*/ 788 h 816"/>
                <a:gd name="T50" fmla="*/ 129 w 1366"/>
                <a:gd name="T51" fmla="*/ 808 h 816"/>
                <a:gd name="T52" fmla="*/ 182 w 1366"/>
                <a:gd name="T53" fmla="*/ 762 h 816"/>
                <a:gd name="T54" fmla="*/ 152 w 1366"/>
                <a:gd name="T55" fmla="*/ 779 h 816"/>
                <a:gd name="T56" fmla="*/ 84 w 1366"/>
                <a:gd name="T57" fmla="*/ 775 h 816"/>
                <a:gd name="T58" fmla="*/ 91 w 1366"/>
                <a:gd name="T59" fmla="*/ 698 h 816"/>
                <a:gd name="T60" fmla="*/ 153 w 1366"/>
                <a:gd name="T61" fmla="*/ 702 h 816"/>
                <a:gd name="T62" fmla="*/ 178 w 1366"/>
                <a:gd name="T63" fmla="*/ 704 h 816"/>
                <a:gd name="T64" fmla="*/ 230 w 1366"/>
                <a:gd name="T65" fmla="*/ 712 h 816"/>
                <a:gd name="T66" fmla="*/ 263 w 1366"/>
                <a:gd name="T67" fmla="*/ 694 h 816"/>
                <a:gd name="T68" fmla="*/ 329 w 1366"/>
                <a:gd name="T69" fmla="*/ 712 h 816"/>
                <a:gd name="T70" fmla="*/ 306 w 1366"/>
                <a:gd name="T71" fmla="*/ 787 h 816"/>
                <a:gd name="T72" fmla="*/ 246 w 1366"/>
                <a:gd name="T73" fmla="*/ 768 h 816"/>
                <a:gd name="T74" fmla="*/ 226 w 1366"/>
                <a:gd name="T75" fmla="*/ 769 h 816"/>
                <a:gd name="T76" fmla="*/ 294 w 1366"/>
                <a:gd name="T77" fmla="*/ 809 h 816"/>
                <a:gd name="T78" fmla="*/ 344 w 1366"/>
                <a:gd name="T79" fmla="*/ 779 h 816"/>
                <a:gd name="T80" fmla="*/ 352 w 1366"/>
                <a:gd name="T81" fmla="*/ 718 h 816"/>
                <a:gd name="T82" fmla="*/ 1014 w 1366"/>
                <a:gd name="T83" fmla="*/ 706 h 816"/>
                <a:gd name="T84" fmla="*/ 1010 w 1366"/>
                <a:gd name="T85" fmla="*/ 772 h 816"/>
                <a:gd name="T86" fmla="*/ 1053 w 1366"/>
                <a:gd name="T87" fmla="*/ 813 h 816"/>
                <a:gd name="T88" fmla="*/ 1126 w 1366"/>
                <a:gd name="T89" fmla="*/ 794 h 816"/>
                <a:gd name="T90" fmla="*/ 1123 w 1366"/>
                <a:gd name="T91" fmla="*/ 766 h 816"/>
                <a:gd name="T92" fmla="*/ 1074 w 1366"/>
                <a:gd name="T93" fmla="*/ 798 h 816"/>
                <a:gd name="T94" fmla="*/ 1023 w 1366"/>
                <a:gd name="T95" fmla="*/ 755 h 816"/>
                <a:gd name="T96" fmla="*/ 1064 w 1366"/>
                <a:gd name="T97" fmla="*/ 690 h 816"/>
                <a:gd name="T98" fmla="*/ 1115 w 1366"/>
                <a:gd name="T99" fmla="*/ 712 h 816"/>
                <a:gd name="T100" fmla="*/ 1134 w 1366"/>
                <a:gd name="T101" fmla="*/ 711 h 816"/>
                <a:gd name="T102" fmla="*/ 1185 w 1366"/>
                <a:gd name="T103" fmla="*/ 711 h 816"/>
                <a:gd name="T104" fmla="*/ 1204 w 1366"/>
                <a:gd name="T105" fmla="*/ 710 h 816"/>
                <a:gd name="T106" fmla="*/ 1256 w 1366"/>
                <a:gd name="T107" fmla="*/ 690 h 816"/>
                <a:gd name="T108" fmla="*/ 1297 w 1366"/>
                <a:gd name="T109" fmla="*/ 755 h 816"/>
                <a:gd name="T110" fmla="*/ 1245 w 1366"/>
                <a:gd name="T111" fmla="*/ 798 h 816"/>
                <a:gd name="T112" fmla="*/ 1198 w 1366"/>
                <a:gd name="T113" fmla="*/ 767 h 816"/>
                <a:gd name="T114" fmla="*/ 1194 w 1366"/>
                <a:gd name="T115" fmla="*/ 793 h 816"/>
                <a:gd name="T116" fmla="*/ 1267 w 1366"/>
                <a:gd name="T117" fmla="*/ 813 h 816"/>
                <a:gd name="T118" fmla="*/ 1310 w 1366"/>
                <a:gd name="T119" fmla="*/ 772 h 816"/>
                <a:gd name="T120" fmla="*/ 1306 w 1366"/>
                <a:gd name="T121" fmla="*/ 706 h 816"/>
                <a:gd name="T122" fmla="*/ 1348 w 1366"/>
                <a:gd name="T123" fmla="*/ 617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66" h="816">
                  <a:moveTo>
                    <a:pt x="1331" y="671"/>
                  </a:moveTo>
                  <a:lnTo>
                    <a:pt x="36" y="671"/>
                  </a:lnTo>
                  <a:lnTo>
                    <a:pt x="36" y="625"/>
                  </a:lnTo>
                  <a:lnTo>
                    <a:pt x="1331" y="625"/>
                  </a:lnTo>
                  <a:lnTo>
                    <a:pt x="1331" y="671"/>
                  </a:lnTo>
                  <a:close/>
                  <a:moveTo>
                    <a:pt x="18" y="351"/>
                  </a:moveTo>
                  <a:lnTo>
                    <a:pt x="18" y="320"/>
                  </a:lnTo>
                  <a:lnTo>
                    <a:pt x="20" y="290"/>
                  </a:lnTo>
                  <a:lnTo>
                    <a:pt x="23" y="263"/>
                  </a:lnTo>
                  <a:lnTo>
                    <a:pt x="27" y="238"/>
                  </a:lnTo>
                  <a:lnTo>
                    <a:pt x="31" y="215"/>
                  </a:lnTo>
                  <a:lnTo>
                    <a:pt x="36" y="196"/>
                  </a:lnTo>
                  <a:lnTo>
                    <a:pt x="42" y="177"/>
                  </a:lnTo>
                  <a:lnTo>
                    <a:pt x="48" y="161"/>
                  </a:lnTo>
                  <a:lnTo>
                    <a:pt x="54" y="147"/>
                  </a:lnTo>
                  <a:lnTo>
                    <a:pt x="60" y="134"/>
                  </a:lnTo>
                  <a:lnTo>
                    <a:pt x="65" y="124"/>
                  </a:lnTo>
                  <a:lnTo>
                    <a:pt x="71" y="115"/>
                  </a:lnTo>
                  <a:lnTo>
                    <a:pt x="81" y="103"/>
                  </a:lnTo>
                  <a:lnTo>
                    <a:pt x="87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1280" y="95"/>
                  </a:lnTo>
                  <a:lnTo>
                    <a:pt x="1286" y="103"/>
                  </a:lnTo>
                  <a:lnTo>
                    <a:pt x="1296" y="116"/>
                  </a:lnTo>
                  <a:lnTo>
                    <a:pt x="1302" y="124"/>
                  </a:lnTo>
                  <a:lnTo>
                    <a:pt x="1307" y="135"/>
                  </a:lnTo>
                  <a:lnTo>
                    <a:pt x="1313" y="148"/>
                  </a:lnTo>
                  <a:lnTo>
                    <a:pt x="1319" y="162"/>
                  </a:lnTo>
                  <a:lnTo>
                    <a:pt x="1324" y="178"/>
                  </a:lnTo>
                  <a:lnTo>
                    <a:pt x="1330" y="197"/>
                  </a:lnTo>
                  <a:lnTo>
                    <a:pt x="1335" y="216"/>
                  </a:lnTo>
                  <a:lnTo>
                    <a:pt x="1339" y="239"/>
                  </a:lnTo>
                  <a:lnTo>
                    <a:pt x="1344" y="264"/>
                  </a:lnTo>
                  <a:lnTo>
                    <a:pt x="1346" y="291"/>
                  </a:lnTo>
                  <a:lnTo>
                    <a:pt x="1348" y="320"/>
                  </a:lnTo>
                  <a:lnTo>
                    <a:pt x="1349" y="351"/>
                  </a:lnTo>
                  <a:lnTo>
                    <a:pt x="1348" y="383"/>
                  </a:lnTo>
                  <a:lnTo>
                    <a:pt x="1346" y="414"/>
                  </a:lnTo>
                  <a:lnTo>
                    <a:pt x="1343" y="441"/>
                  </a:lnTo>
                  <a:lnTo>
                    <a:pt x="1339" y="466"/>
                  </a:lnTo>
                  <a:lnTo>
                    <a:pt x="1335" y="488"/>
                  </a:lnTo>
                  <a:lnTo>
                    <a:pt x="1330" y="509"/>
                  </a:lnTo>
                  <a:lnTo>
                    <a:pt x="1324" y="526"/>
                  </a:lnTo>
                  <a:lnTo>
                    <a:pt x="1318" y="542"/>
                  </a:lnTo>
                  <a:lnTo>
                    <a:pt x="1312" y="557"/>
                  </a:lnTo>
                  <a:lnTo>
                    <a:pt x="1306" y="569"/>
                  </a:lnTo>
                  <a:lnTo>
                    <a:pt x="1301" y="580"/>
                  </a:lnTo>
                  <a:lnTo>
                    <a:pt x="1295" y="589"/>
                  </a:lnTo>
                  <a:lnTo>
                    <a:pt x="1285" y="600"/>
                  </a:lnTo>
                  <a:lnTo>
                    <a:pt x="1280" y="608"/>
                  </a:lnTo>
                  <a:lnTo>
                    <a:pt x="86" y="608"/>
                  </a:lnTo>
                  <a:lnTo>
                    <a:pt x="79" y="600"/>
                  </a:lnTo>
                  <a:lnTo>
                    <a:pt x="71" y="588"/>
                  </a:lnTo>
                  <a:lnTo>
                    <a:pt x="65" y="579"/>
                  </a:lnTo>
                  <a:lnTo>
                    <a:pt x="59" y="568"/>
                  </a:lnTo>
                  <a:lnTo>
                    <a:pt x="54" y="555"/>
                  </a:lnTo>
                  <a:lnTo>
                    <a:pt x="47" y="541"/>
                  </a:lnTo>
                  <a:lnTo>
                    <a:pt x="42" y="525"/>
                  </a:lnTo>
                  <a:lnTo>
                    <a:pt x="36" y="507"/>
                  </a:lnTo>
                  <a:lnTo>
                    <a:pt x="31" y="487"/>
                  </a:lnTo>
                  <a:lnTo>
                    <a:pt x="27" y="464"/>
                  </a:lnTo>
                  <a:lnTo>
                    <a:pt x="23" y="440"/>
                  </a:lnTo>
                  <a:lnTo>
                    <a:pt x="20" y="413"/>
                  </a:lnTo>
                  <a:lnTo>
                    <a:pt x="18" y="383"/>
                  </a:lnTo>
                  <a:lnTo>
                    <a:pt x="18" y="351"/>
                  </a:lnTo>
                  <a:close/>
                  <a:moveTo>
                    <a:pt x="608" y="59"/>
                  </a:moveTo>
                  <a:lnTo>
                    <a:pt x="760" y="59"/>
                  </a:lnTo>
                  <a:lnTo>
                    <a:pt x="760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08" y="78"/>
                  </a:lnTo>
                  <a:lnTo>
                    <a:pt x="608" y="59"/>
                  </a:lnTo>
                  <a:close/>
                  <a:moveTo>
                    <a:pt x="580" y="29"/>
                  </a:moveTo>
                  <a:lnTo>
                    <a:pt x="580" y="25"/>
                  </a:lnTo>
                  <a:lnTo>
                    <a:pt x="583" y="22"/>
                  </a:lnTo>
                  <a:lnTo>
                    <a:pt x="587" y="20"/>
                  </a:lnTo>
                  <a:lnTo>
                    <a:pt x="590" y="19"/>
                  </a:lnTo>
                  <a:lnTo>
                    <a:pt x="776" y="19"/>
                  </a:lnTo>
                  <a:lnTo>
                    <a:pt x="780" y="20"/>
                  </a:lnTo>
                  <a:lnTo>
                    <a:pt x="783" y="22"/>
                  </a:lnTo>
                  <a:lnTo>
                    <a:pt x="786" y="25"/>
                  </a:lnTo>
                  <a:lnTo>
                    <a:pt x="787" y="29"/>
                  </a:lnTo>
                  <a:lnTo>
                    <a:pt x="786" y="34"/>
                  </a:lnTo>
                  <a:lnTo>
                    <a:pt x="783" y="37"/>
                  </a:lnTo>
                  <a:lnTo>
                    <a:pt x="780" y="39"/>
                  </a:lnTo>
                  <a:lnTo>
                    <a:pt x="776" y="40"/>
                  </a:lnTo>
                  <a:lnTo>
                    <a:pt x="590" y="40"/>
                  </a:lnTo>
                  <a:lnTo>
                    <a:pt x="587" y="39"/>
                  </a:lnTo>
                  <a:lnTo>
                    <a:pt x="583" y="37"/>
                  </a:lnTo>
                  <a:lnTo>
                    <a:pt x="580" y="34"/>
                  </a:lnTo>
                  <a:lnTo>
                    <a:pt x="580" y="29"/>
                  </a:lnTo>
                  <a:close/>
                  <a:moveTo>
                    <a:pt x="1339" y="608"/>
                  </a:moveTo>
                  <a:lnTo>
                    <a:pt x="1304" y="608"/>
                  </a:lnTo>
                  <a:lnTo>
                    <a:pt x="1312" y="594"/>
                  </a:lnTo>
                  <a:lnTo>
                    <a:pt x="1323" y="577"/>
                  </a:lnTo>
                  <a:lnTo>
                    <a:pt x="1328" y="566"/>
                  </a:lnTo>
                  <a:lnTo>
                    <a:pt x="1333" y="554"/>
                  </a:lnTo>
                  <a:lnTo>
                    <a:pt x="1338" y="541"/>
                  </a:lnTo>
                  <a:lnTo>
                    <a:pt x="1344" y="526"/>
                  </a:lnTo>
                  <a:lnTo>
                    <a:pt x="1348" y="510"/>
                  </a:lnTo>
                  <a:lnTo>
                    <a:pt x="1352" y="493"/>
                  </a:lnTo>
                  <a:lnTo>
                    <a:pt x="1357" y="473"/>
                  </a:lnTo>
                  <a:lnTo>
                    <a:pt x="1360" y="452"/>
                  </a:lnTo>
                  <a:lnTo>
                    <a:pt x="1363" y="430"/>
                  </a:lnTo>
                  <a:lnTo>
                    <a:pt x="1365" y="405"/>
                  </a:lnTo>
                  <a:lnTo>
                    <a:pt x="1366" y="379"/>
                  </a:lnTo>
                  <a:lnTo>
                    <a:pt x="1366" y="351"/>
                  </a:lnTo>
                  <a:lnTo>
                    <a:pt x="1365" y="314"/>
                  </a:lnTo>
                  <a:lnTo>
                    <a:pt x="1363" y="281"/>
                  </a:lnTo>
                  <a:lnTo>
                    <a:pt x="1360" y="251"/>
                  </a:lnTo>
                  <a:lnTo>
                    <a:pt x="1354" y="223"/>
                  </a:lnTo>
                  <a:lnTo>
                    <a:pt x="1349" y="199"/>
                  </a:lnTo>
                  <a:lnTo>
                    <a:pt x="1343" y="176"/>
                  </a:lnTo>
                  <a:lnTo>
                    <a:pt x="1336" y="157"/>
                  </a:lnTo>
                  <a:lnTo>
                    <a:pt x="1330" y="140"/>
                  </a:lnTo>
                  <a:lnTo>
                    <a:pt x="1322" y="125"/>
                  </a:lnTo>
                  <a:lnTo>
                    <a:pt x="1316" y="113"/>
                  </a:lnTo>
                  <a:lnTo>
                    <a:pt x="1309" y="103"/>
                  </a:lnTo>
                  <a:lnTo>
                    <a:pt x="1303" y="94"/>
                  </a:lnTo>
                  <a:lnTo>
                    <a:pt x="1294" y="83"/>
                  </a:lnTo>
                  <a:lnTo>
                    <a:pt x="1290" y="80"/>
                  </a:lnTo>
                  <a:lnTo>
                    <a:pt x="1288" y="78"/>
                  </a:lnTo>
                  <a:lnTo>
                    <a:pt x="1284" y="78"/>
                  </a:lnTo>
                  <a:lnTo>
                    <a:pt x="777" y="78"/>
                  </a:lnTo>
                  <a:lnTo>
                    <a:pt x="777" y="57"/>
                  </a:lnTo>
                  <a:lnTo>
                    <a:pt x="783" y="57"/>
                  </a:lnTo>
                  <a:lnTo>
                    <a:pt x="788" y="55"/>
                  </a:lnTo>
                  <a:lnTo>
                    <a:pt x="793" y="52"/>
                  </a:lnTo>
                  <a:lnTo>
                    <a:pt x="796" y="49"/>
                  </a:lnTo>
                  <a:lnTo>
                    <a:pt x="800" y="44"/>
                  </a:lnTo>
                  <a:lnTo>
                    <a:pt x="803" y="40"/>
                  </a:lnTo>
                  <a:lnTo>
                    <a:pt x="804" y="35"/>
                  </a:lnTo>
                  <a:lnTo>
                    <a:pt x="805" y="29"/>
                  </a:lnTo>
                  <a:lnTo>
                    <a:pt x="804" y="24"/>
                  </a:lnTo>
                  <a:lnTo>
                    <a:pt x="802" y="19"/>
                  </a:lnTo>
                  <a:lnTo>
                    <a:pt x="800" y="13"/>
                  </a:lnTo>
                  <a:lnTo>
                    <a:pt x="796" y="9"/>
                  </a:lnTo>
                  <a:lnTo>
                    <a:pt x="792" y="6"/>
                  </a:lnTo>
                  <a:lnTo>
                    <a:pt x="787" y="2"/>
                  </a:lnTo>
                  <a:lnTo>
                    <a:pt x="781" y="1"/>
                  </a:lnTo>
                  <a:lnTo>
                    <a:pt x="776" y="0"/>
                  </a:lnTo>
                  <a:lnTo>
                    <a:pt x="590" y="0"/>
                  </a:lnTo>
                  <a:lnTo>
                    <a:pt x="585" y="1"/>
                  </a:lnTo>
                  <a:lnTo>
                    <a:pt x="579" y="2"/>
                  </a:lnTo>
                  <a:lnTo>
                    <a:pt x="575" y="6"/>
                  </a:lnTo>
                  <a:lnTo>
                    <a:pt x="571" y="9"/>
                  </a:lnTo>
                  <a:lnTo>
                    <a:pt x="566" y="13"/>
                  </a:lnTo>
                  <a:lnTo>
                    <a:pt x="564" y="19"/>
                  </a:lnTo>
                  <a:lnTo>
                    <a:pt x="562" y="24"/>
                  </a:lnTo>
                  <a:lnTo>
                    <a:pt x="562" y="29"/>
                  </a:lnTo>
                  <a:lnTo>
                    <a:pt x="562" y="35"/>
                  </a:lnTo>
                  <a:lnTo>
                    <a:pt x="564" y="40"/>
                  </a:lnTo>
                  <a:lnTo>
                    <a:pt x="566" y="46"/>
                  </a:lnTo>
                  <a:lnTo>
                    <a:pt x="571" y="50"/>
                  </a:lnTo>
                  <a:lnTo>
                    <a:pt x="575" y="53"/>
                  </a:lnTo>
                  <a:lnTo>
                    <a:pt x="579" y="56"/>
                  </a:lnTo>
                  <a:lnTo>
                    <a:pt x="585" y="57"/>
                  </a:lnTo>
                  <a:lnTo>
                    <a:pt x="590" y="59"/>
                  </a:lnTo>
                  <a:lnTo>
                    <a:pt x="591" y="59"/>
                  </a:lnTo>
                  <a:lnTo>
                    <a:pt x="591" y="78"/>
                  </a:lnTo>
                  <a:lnTo>
                    <a:pt x="83" y="78"/>
                  </a:lnTo>
                  <a:lnTo>
                    <a:pt x="78" y="79"/>
                  </a:lnTo>
                  <a:lnTo>
                    <a:pt x="75" y="81"/>
                  </a:lnTo>
                  <a:lnTo>
                    <a:pt x="69" y="88"/>
                  </a:lnTo>
                  <a:lnTo>
                    <a:pt x="59" y="101"/>
                  </a:lnTo>
                  <a:lnTo>
                    <a:pt x="54" y="109"/>
                  </a:lnTo>
                  <a:lnTo>
                    <a:pt x="47" y="120"/>
                  </a:lnTo>
                  <a:lnTo>
                    <a:pt x="41" y="133"/>
                  </a:lnTo>
                  <a:lnTo>
                    <a:pt x="34" y="148"/>
                  </a:lnTo>
                  <a:lnTo>
                    <a:pt x="27" y="164"/>
                  </a:lnTo>
                  <a:lnTo>
                    <a:pt x="21" y="184"/>
                  </a:lnTo>
                  <a:lnTo>
                    <a:pt x="15" y="205"/>
                  </a:lnTo>
                  <a:lnTo>
                    <a:pt x="10" y="229"/>
                  </a:lnTo>
                  <a:lnTo>
                    <a:pt x="6" y="256"/>
                  </a:lnTo>
                  <a:lnTo>
                    <a:pt x="3" y="285"/>
                  </a:lnTo>
                  <a:lnTo>
                    <a:pt x="1" y="317"/>
                  </a:lnTo>
                  <a:lnTo>
                    <a:pt x="0" y="351"/>
                  </a:lnTo>
                  <a:lnTo>
                    <a:pt x="0" y="379"/>
                  </a:lnTo>
                  <a:lnTo>
                    <a:pt x="2" y="405"/>
                  </a:lnTo>
                  <a:lnTo>
                    <a:pt x="4" y="429"/>
                  </a:lnTo>
                  <a:lnTo>
                    <a:pt x="6" y="452"/>
                  </a:lnTo>
                  <a:lnTo>
                    <a:pt x="9" y="472"/>
                  </a:lnTo>
                  <a:lnTo>
                    <a:pt x="14" y="491"/>
                  </a:lnTo>
                  <a:lnTo>
                    <a:pt x="18" y="509"/>
                  </a:lnTo>
                  <a:lnTo>
                    <a:pt x="22" y="526"/>
                  </a:lnTo>
                  <a:lnTo>
                    <a:pt x="28" y="540"/>
                  </a:lnTo>
                  <a:lnTo>
                    <a:pt x="33" y="554"/>
                  </a:lnTo>
                  <a:lnTo>
                    <a:pt x="38" y="566"/>
                  </a:lnTo>
                  <a:lnTo>
                    <a:pt x="43" y="577"/>
                  </a:lnTo>
                  <a:lnTo>
                    <a:pt x="54" y="594"/>
                  </a:lnTo>
                  <a:lnTo>
                    <a:pt x="62" y="608"/>
                  </a:lnTo>
                  <a:lnTo>
                    <a:pt x="27" y="608"/>
                  </a:lnTo>
                  <a:lnTo>
                    <a:pt x="23" y="608"/>
                  </a:lnTo>
                  <a:lnTo>
                    <a:pt x="20" y="610"/>
                  </a:lnTo>
                  <a:lnTo>
                    <a:pt x="19" y="613"/>
                  </a:lnTo>
                  <a:lnTo>
                    <a:pt x="18" y="617"/>
                  </a:lnTo>
                  <a:lnTo>
                    <a:pt x="18" y="680"/>
                  </a:lnTo>
                  <a:lnTo>
                    <a:pt x="19" y="684"/>
                  </a:lnTo>
                  <a:lnTo>
                    <a:pt x="20" y="686"/>
                  </a:lnTo>
                  <a:lnTo>
                    <a:pt x="23" y="688"/>
                  </a:lnTo>
                  <a:lnTo>
                    <a:pt x="27" y="689"/>
                  </a:lnTo>
                  <a:lnTo>
                    <a:pt x="74" y="689"/>
                  </a:lnTo>
                  <a:lnTo>
                    <a:pt x="69" y="694"/>
                  </a:lnTo>
                  <a:lnTo>
                    <a:pt x="64" y="700"/>
                  </a:lnTo>
                  <a:lnTo>
                    <a:pt x="60" y="705"/>
                  </a:lnTo>
                  <a:lnTo>
                    <a:pt x="57" y="712"/>
                  </a:lnTo>
                  <a:lnTo>
                    <a:pt x="55" y="718"/>
                  </a:lnTo>
                  <a:lnTo>
                    <a:pt x="52" y="725"/>
                  </a:lnTo>
                  <a:lnTo>
                    <a:pt x="51" y="732"/>
                  </a:lnTo>
                  <a:lnTo>
                    <a:pt x="51" y="740"/>
                  </a:lnTo>
                  <a:lnTo>
                    <a:pt x="51" y="747"/>
                  </a:lnTo>
                  <a:lnTo>
                    <a:pt x="52" y="754"/>
                  </a:lnTo>
                  <a:lnTo>
                    <a:pt x="54" y="760"/>
                  </a:lnTo>
                  <a:lnTo>
                    <a:pt x="57" y="767"/>
                  </a:lnTo>
                  <a:lnTo>
                    <a:pt x="59" y="772"/>
                  </a:lnTo>
                  <a:lnTo>
                    <a:pt x="62" y="779"/>
                  </a:lnTo>
                  <a:lnTo>
                    <a:pt x="67" y="784"/>
                  </a:lnTo>
                  <a:lnTo>
                    <a:pt x="71" y="788"/>
                  </a:lnTo>
                  <a:lnTo>
                    <a:pt x="76" y="793"/>
                  </a:lnTo>
                  <a:lnTo>
                    <a:pt x="82" y="797"/>
                  </a:lnTo>
                  <a:lnTo>
                    <a:pt x="87" y="800"/>
                  </a:lnTo>
                  <a:lnTo>
                    <a:pt x="92" y="803"/>
                  </a:lnTo>
                  <a:lnTo>
                    <a:pt x="99" y="806"/>
                  </a:lnTo>
                  <a:lnTo>
                    <a:pt x="105" y="808"/>
                  </a:lnTo>
                  <a:lnTo>
                    <a:pt x="113" y="809"/>
                  </a:lnTo>
                  <a:lnTo>
                    <a:pt x="119" y="809"/>
                  </a:lnTo>
                  <a:lnTo>
                    <a:pt x="129" y="808"/>
                  </a:lnTo>
                  <a:lnTo>
                    <a:pt x="138" y="806"/>
                  </a:lnTo>
                  <a:lnTo>
                    <a:pt x="147" y="802"/>
                  </a:lnTo>
                  <a:lnTo>
                    <a:pt x="155" y="798"/>
                  </a:lnTo>
                  <a:lnTo>
                    <a:pt x="164" y="793"/>
                  </a:lnTo>
                  <a:lnTo>
                    <a:pt x="170" y="786"/>
                  </a:lnTo>
                  <a:lnTo>
                    <a:pt x="177" y="778"/>
                  </a:lnTo>
                  <a:lnTo>
                    <a:pt x="181" y="769"/>
                  </a:lnTo>
                  <a:lnTo>
                    <a:pt x="182" y="766"/>
                  </a:lnTo>
                  <a:lnTo>
                    <a:pt x="182" y="762"/>
                  </a:lnTo>
                  <a:lnTo>
                    <a:pt x="180" y="759"/>
                  </a:lnTo>
                  <a:lnTo>
                    <a:pt x="178" y="757"/>
                  </a:lnTo>
                  <a:lnTo>
                    <a:pt x="174" y="756"/>
                  </a:lnTo>
                  <a:lnTo>
                    <a:pt x="170" y="757"/>
                  </a:lnTo>
                  <a:lnTo>
                    <a:pt x="168" y="758"/>
                  </a:lnTo>
                  <a:lnTo>
                    <a:pt x="166" y="761"/>
                  </a:lnTo>
                  <a:lnTo>
                    <a:pt x="162" y="768"/>
                  </a:lnTo>
                  <a:lnTo>
                    <a:pt x="157" y="773"/>
                  </a:lnTo>
                  <a:lnTo>
                    <a:pt x="152" y="779"/>
                  </a:lnTo>
                  <a:lnTo>
                    <a:pt x="146" y="783"/>
                  </a:lnTo>
                  <a:lnTo>
                    <a:pt x="140" y="786"/>
                  </a:lnTo>
                  <a:lnTo>
                    <a:pt x="133" y="788"/>
                  </a:lnTo>
                  <a:lnTo>
                    <a:pt x="127" y="790"/>
                  </a:lnTo>
                  <a:lnTo>
                    <a:pt x="119" y="790"/>
                  </a:lnTo>
                  <a:lnTo>
                    <a:pt x="110" y="789"/>
                  </a:lnTo>
                  <a:lnTo>
                    <a:pt x="100" y="787"/>
                  </a:lnTo>
                  <a:lnTo>
                    <a:pt x="91" y="782"/>
                  </a:lnTo>
                  <a:lnTo>
                    <a:pt x="84" y="775"/>
                  </a:lnTo>
                  <a:lnTo>
                    <a:pt x="77" y="768"/>
                  </a:lnTo>
                  <a:lnTo>
                    <a:pt x="73" y="759"/>
                  </a:lnTo>
                  <a:lnTo>
                    <a:pt x="70" y="751"/>
                  </a:lnTo>
                  <a:lnTo>
                    <a:pt x="69" y="740"/>
                  </a:lnTo>
                  <a:lnTo>
                    <a:pt x="70" y="730"/>
                  </a:lnTo>
                  <a:lnTo>
                    <a:pt x="73" y="720"/>
                  </a:lnTo>
                  <a:lnTo>
                    <a:pt x="77" y="712"/>
                  </a:lnTo>
                  <a:lnTo>
                    <a:pt x="84" y="704"/>
                  </a:lnTo>
                  <a:lnTo>
                    <a:pt x="91" y="698"/>
                  </a:lnTo>
                  <a:lnTo>
                    <a:pt x="100" y="693"/>
                  </a:lnTo>
                  <a:lnTo>
                    <a:pt x="110" y="690"/>
                  </a:lnTo>
                  <a:lnTo>
                    <a:pt x="119" y="689"/>
                  </a:lnTo>
                  <a:lnTo>
                    <a:pt x="126" y="689"/>
                  </a:lnTo>
                  <a:lnTo>
                    <a:pt x="132" y="690"/>
                  </a:lnTo>
                  <a:lnTo>
                    <a:pt x="138" y="692"/>
                  </a:lnTo>
                  <a:lnTo>
                    <a:pt x="143" y="694"/>
                  </a:lnTo>
                  <a:lnTo>
                    <a:pt x="149" y="698"/>
                  </a:lnTo>
                  <a:lnTo>
                    <a:pt x="153" y="702"/>
                  </a:lnTo>
                  <a:lnTo>
                    <a:pt x="157" y="706"/>
                  </a:lnTo>
                  <a:lnTo>
                    <a:pt x="162" y="712"/>
                  </a:lnTo>
                  <a:lnTo>
                    <a:pt x="164" y="714"/>
                  </a:lnTo>
                  <a:lnTo>
                    <a:pt x="167" y="715"/>
                  </a:lnTo>
                  <a:lnTo>
                    <a:pt x="171" y="715"/>
                  </a:lnTo>
                  <a:lnTo>
                    <a:pt x="174" y="714"/>
                  </a:lnTo>
                  <a:lnTo>
                    <a:pt x="177" y="712"/>
                  </a:lnTo>
                  <a:lnTo>
                    <a:pt x="178" y="708"/>
                  </a:lnTo>
                  <a:lnTo>
                    <a:pt x="178" y="704"/>
                  </a:lnTo>
                  <a:lnTo>
                    <a:pt x="177" y="701"/>
                  </a:lnTo>
                  <a:lnTo>
                    <a:pt x="171" y="694"/>
                  </a:lnTo>
                  <a:lnTo>
                    <a:pt x="166" y="689"/>
                  </a:lnTo>
                  <a:lnTo>
                    <a:pt x="240" y="689"/>
                  </a:lnTo>
                  <a:lnTo>
                    <a:pt x="235" y="694"/>
                  </a:lnTo>
                  <a:lnTo>
                    <a:pt x="230" y="701"/>
                  </a:lnTo>
                  <a:lnTo>
                    <a:pt x="228" y="704"/>
                  </a:lnTo>
                  <a:lnTo>
                    <a:pt x="228" y="708"/>
                  </a:lnTo>
                  <a:lnTo>
                    <a:pt x="230" y="712"/>
                  </a:lnTo>
                  <a:lnTo>
                    <a:pt x="233" y="714"/>
                  </a:lnTo>
                  <a:lnTo>
                    <a:pt x="236" y="715"/>
                  </a:lnTo>
                  <a:lnTo>
                    <a:pt x="239" y="715"/>
                  </a:lnTo>
                  <a:lnTo>
                    <a:pt x="242" y="714"/>
                  </a:lnTo>
                  <a:lnTo>
                    <a:pt x="245" y="712"/>
                  </a:lnTo>
                  <a:lnTo>
                    <a:pt x="249" y="706"/>
                  </a:lnTo>
                  <a:lnTo>
                    <a:pt x="253" y="702"/>
                  </a:lnTo>
                  <a:lnTo>
                    <a:pt x="258" y="698"/>
                  </a:lnTo>
                  <a:lnTo>
                    <a:pt x="263" y="694"/>
                  </a:lnTo>
                  <a:lnTo>
                    <a:pt x="268" y="692"/>
                  </a:lnTo>
                  <a:lnTo>
                    <a:pt x="275" y="690"/>
                  </a:lnTo>
                  <a:lnTo>
                    <a:pt x="280" y="689"/>
                  </a:lnTo>
                  <a:lnTo>
                    <a:pt x="287" y="689"/>
                  </a:lnTo>
                  <a:lnTo>
                    <a:pt x="298" y="690"/>
                  </a:lnTo>
                  <a:lnTo>
                    <a:pt x="306" y="693"/>
                  </a:lnTo>
                  <a:lnTo>
                    <a:pt x="315" y="698"/>
                  </a:lnTo>
                  <a:lnTo>
                    <a:pt x="322" y="704"/>
                  </a:lnTo>
                  <a:lnTo>
                    <a:pt x="329" y="712"/>
                  </a:lnTo>
                  <a:lnTo>
                    <a:pt x="333" y="720"/>
                  </a:lnTo>
                  <a:lnTo>
                    <a:pt x="336" y="730"/>
                  </a:lnTo>
                  <a:lnTo>
                    <a:pt x="337" y="740"/>
                  </a:lnTo>
                  <a:lnTo>
                    <a:pt x="336" y="751"/>
                  </a:lnTo>
                  <a:lnTo>
                    <a:pt x="333" y="759"/>
                  </a:lnTo>
                  <a:lnTo>
                    <a:pt x="329" y="768"/>
                  </a:lnTo>
                  <a:lnTo>
                    <a:pt x="322" y="775"/>
                  </a:lnTo>
                  <a:lnTo>
                    <a:pt x="315" y="782"/>
                  </a:lnTo>
                  <a:lnTo>
                    <a:pt x="306" y="787"/>
                  </a:lnTo>
                  <a:lnTo>
                    <a:pt x="298" y="789"/>
                  </a:lnTo>
                  <a:lnTo>
                    <a:pt x="287" y="790"/>
                  </a:lnTo>
                  <a:lnTo>
                    <a:pt x="279" y="790"/>
                  </a:lnTo>
                  <a:lnTo>
                    <a:pt x="273" y="788"/>
                  </a:lnTo>
                  <a:lnTo>
                    <a:pt x="266" y="786"/>
                  </a:lnTo>
                  <a:lnTo>
                    <a:pt x="260" y="783"/>
                  </a:lnTo>
                  <a:lnTo>
                    <a:pt x="254" y="779"/>
                  </a:lnTo>
                  <a:lnTo>
                    <a:pt x="250" y="773"/>
                  </a:lnTo>
                  <a:lnTo>
                    <a:pt x="246" y="768"/>
                  </a:lnTo>
                  <a:lnTo>
                    <a:pt x="242" y="761"/>
                  </a:lnTo>
                  <a:lnTo>
                    <a:pt x="240" y="759"/>
                  </a:lnTo>
                  <a:lnTo>
                    <a:pt x="238" y="757"/>
                  </a:lnTo>
                  <a:lnTo>
                    <a:pt x="234" y="756"/>
                  </a:lnTo>
                  <a:lnTo>
                    <a:pt x="231" y="757"/>
                  </a:lnTo>
                  <a:lnTo>
                    <a:pt x="227" y="759"/>
                  </a:lnTo>
                  <a:lnTo>
                    <a:pt x="226" y="761"/>
                  </a:lnTo>
                  <a:lnTo>
                    <a:pt x="225" y="766"/>
                  </a:lnTo>
                  <a:lnTo>
                    <a:pt x="226" y="769"/>
                  </a:lnTo>
                  <a:lnTo>
                    <a:pt x="231" y="778"/>
                  </a:lnTo>
                  <a:lnTo>
                    <a:pt x="236" y="785"/>
                  </a:lnTo>
                  <a:lnTo>
                    <a:pt x="242" y="792"/>
                  </a:lnTo>
                  <a:lnTo>
                    <a:pt x="250" y="798"/>
                  </a:lnTo>
                  <a:lnTo>
                    <a:pt x="259" y="802"/>
                  </a:lnTo>
                  <a:lnTo>
                    <a:pt x="267" y="806"/>
                  </a:lnTo>
                  <a:lnTo>
                    <a:pt x="277" y="808"/>
                  </a:lnTo>
                  <a:lnTo>
                    <a:pt x="287" y="809"/>
                  </a:lnTo>
                  <a:lnTo>
                    <a:pt x="294" y="809"/>
                  </a:lnTo>
                  <a:lnTo>
                    <a:pt x="301" y="808"/>
                  </a:lnTo>
                  <a:lnTo>
                    <a:pt x="307" y="806"/>
                  </a:lnTo>
                  <a:lnTo>
                    <a:pt x="314" y="803"/>
                  </a:lnTo>
                  <a:lnTo>
                    <a:pt x="319" y="800"/>
                  </a:lnTo>
                  <a:lnTo>
                    <a:pt x="326" y="797"/>
                  </a:lnTo>
                  <a:lnTo>
                    <a:pt x="331" y="793"/>
                  </a:lnTo>
                  <a:lnTo>
                    <a:pt x="335" y="788"/>
                  </a:lnTo>
                  <a:lnTo>
                    <a:pt x="340" y="784"/>
                  </a:lnTo>
                  <a:lnTo>
                    <a:pt x="344" y="779"/>
                  </a:lnTo>
                  <a:lnTo>
                    <a:pt x="347" y="772"/>
                  </a:lnTo>
                  <a:lnTo>
                    <a:pt x="350" y="767"/>
                  </a:lnTo>
                  <a:lnTo>
                    <a:pt x="353" y="760"/>
                  </a:lnTo>
                  <a:lnTo>
                    <a:pt x="354" y="754"/>
                  </a:lnTo>
                  <a:lnTo>
                    <a:pt x="355" y="747"/>
                  </a:lnTo>
                  <a:lnTo>
                    <a:pt x="356" y="740"/>
                  </a:lnTo>
                  <a:lnTo>
                    <a:pt x="355" y="732"/>
                  </a:lnTo>
                  <a:lnTo>
                    <a:pt x="354" y="725"/>
                  </a:lnTo>
                  <a:lnTo>
                    <a:pt x="352" y="718"/>
                  </a:lnTo>
                  <a:lnTo>
                    <a:pt x="349" y="712"/>
                  </a:lnTo>
                  <a:lnTo>
                    <a:pt x="346" y="705"/>
                  </a:lnTo>
                  <a:lnTo>
                    <a:pt x="342" y="700"/>
                  </a:lnTo>
                  <a:lnTo>
                    <a:pt x="337" y="694"/>
                  </a:lnTo>
                  <a:lnTo>
                    <a:pt x="333" y="689"/>
                  </a:lnTo>
                  <a:lnTo>
                    <a:pt x="1028" y="689"/>
                  </a:lnTo>
                  <a:lnTo>
                    <a:pt x="1023" y="694"/>
                  </a:lnTo>
                  <a:lnTo>
                    <a:pt x="1019" y="700"/>
                  </a:lnTo>
                  <a:lnTo>
                    <a:pt x="1014" y="706"/>
                  </a:lnTo>
                  <a:lnTo>
                    <a:pt x="1011" y="713"/>
                  </a:lnTo>
                  <a:lnTo>
                    <a:pt x="1008" y="720"/>
                  </a:lnTo>
                  <a:lnTo>
                    <a:pt x="1006" y="728"/>
                  </a:lnTo>
                  <a:lnTo>
                    <a:pt x="1005" y="735"/>
                  </a:lnTo>
                  <a:lnTo>
                    <a:pt x="1004" y="744"/>
                  </a:lnTo>
                  <a:lnTo>
                    <a:pt x="1005" y="752"/>
                  </a:lnTo>
                  <a:lnTo>
                    <a:pt x="1006" y="758"/>
                  </a:lnTo>
                  <a:lnTo>
                    <a:pt x="1007" y="766"/>
                  </a:lnTo>
                  <a:lnTo>
                    <a:pt x="1010" y="772"/>
                  </a:lnTo>
                  <a:lnTo>
                    <a:pt x="1012" y="779"/>
                  </a:lnTo>
                  <a:lnTo>
                    <a:pt x="1017" y="784"/>
                  </a:lnTo>
                  <a:lnTo>
                    <a:pt x="1020" y="789"/>
                  </a:lnTo>
                  <a:lnTo>
                    <a:pt x="1025" y="795"/>
                  </a:lnTo>
                  <a:lnTo>
                    <a:pt x="1030" y="800"/>
                  </a:lnTo>
                  <a:lnTo>
                    <a:pt x="1035" y="803"/>
                  </a:lnTo>
                  <a:lnTo>
                    <a:pt x="1040" y="808"/>
                  </a:lnTo>
                  <a:lnTo>
                    <a:pt x="1047" y="811"/>
                  </a:lnTo>
                  <a:lnTo>
                    <a:pt x="1053" y="813"/>
                  </a:lnTo>
                  <a:lnTo>
                    <a:pt x="1060" y="815"/>
                  </a:lnTo>
                  <a:lnTo>
                    <a:pt x="1067" y="816"/>
                  </a:lnTo>
                  <a:lnTo>
                    <a:pt x="1074" y="816"/>
                  </a:lnTo>
                  <a:lnTo>
                    <a:pt x="1085" y="815"/>
                  </a:lnTo>
                  <a:lnTo>
                    <a:pt x="1093" y="814"/>
                  </a:lnTo>
                  <a:lnTo>
                    <a:pt x="1103" y="810"/>
                  </a:lnTo>
                  <a:lnTo>
                    <a:pt x="1112" y="806"/>
                  </a:lnTo>
                  <a:lnTo>
                    <a:pt x="1119" y="800"/>
                  </a:lnTo>
                  <a:lnTo>
                    <a:pt x="1126" y="794"/>
                  </a:lnTo>
                  <a:lnTo>
                    <a:pt x="1132" y="786"/>
                  </a:lnTo>
                  <a:lnTo>
                    <a:pt x="1137" y="776"/>
                  </a:lnTo>
                  <a:lnTo>
                    <a:pt x="1139" y="773"/>
                  </a:lnTo>
                  <a:lnTo>
                    <a:pt x="1137" y="770"/>
                  </a:lnTo>
                  <a:lnTo>
                    <a:pt x="1136" y="767"/>
                  </a:lnTo>
                  <a:lnTo>
                    <a:pt x="1133" y="765"/>
                  </a:lnTo>
                  <a:lnTo>
                    <a:pt x="1130" y="764"/>
                  </a:lnTo>
                  <a:lnTo>
                    <a:pt x="1127" y="765"/>
                  </a:lnTo>
                  <a:lnTo>
                    <a:pt x="1123" y="766"/>
                  </a:lnTo>
                  <a:lnTo>
                    <a:pt x="1121" y="769"/>
                  </a:lnTo>
                  <a:lnTo>
                    <a:pt x="1117" y="775"/>
                  </a:lnTo>
                  <a:lnTo>
                    <a:pt x="1113" y="782"/>
                  </a:lnTo>
                  <a:lnTo>
                    <a:pt x="1107" y="786"/>
                  </a:lnTo>
                  <a:lnTo>
                    <a:pt x="1102" y="790"/>
                  </a:lnTo>
                  <a:lnTo>
                    <a:pt x="1095" y="794"/>
                  </a:lnTo>
                  <a:lnTo>
                    <a:pt x="1089" y="796"/>
                  </a:lnTo>
                  <a:lnTo>
                    <a:pt x="1081" y="798"/>
                  </a:lnTo>
                  <a:lnTo>
                    <a:pt x="1074" y="798"/>
                  </a:lnTo>
                  <a:lnTo>
                    <a:pt x="1068" y="798"/>
                  </a:lnTo>
                  <a:lnTo>
                    <a:pt x="1064" y="797"/>
                  </a:lnTo>
                  <a:lnTo>
                    <a:pt x="1059" y="796"/>
                  </a:lnTo>
                  <a:lnTo>
                    <a:pt x="1054" y="794"/>
                  </a:lnTo>
                  <a:lnTo>
                    <a:pt x="1045" y="789"/>
                  </a:lnTo>
                  <a:lnTo>
                    <a:pt x="1037" y="782"/>
                  </a:lnTo>
                  <a:lnTo>
                    <a:pt x="1031" y="774"/>
                  </a:lnTo>
                  <a:lnTo>
                    <a:pt x="1026" y="765"/>
                  </a:lnTo>
                  <a:lnTo>
                    <a:pt x="1023" y="755"/>
                  </a:lnTo>
                  <a:lnTo>
                    <a:pt x="1022" y="744"/>
                  </a:lnTo>
                  <a:lnTo>
                    <a:pt x="1023" y="732"/>
                  </a:lnTo>
                  <a:lnTo>
                    <a:pt x="1026" y="722"/>
                  </a:lnTo>
                  <a:lnTo>
                    <a:pt x="1031" y="713"/>
                  </a:lnTo>
                  <a:lnTo>
                    <a:pt x="1037" y="705"/>
                  </a:lnTo>
                  <a:lnTo>
                    <a:pt x="1045" y="699"/>
                  </a:lnTo>
                  <a:lnTo>
                    <a:pt x="1054" y="693"/>
                  </a:lnTo>
                  <a:lnTo>
                    <a:pt x="1059" y="691"/>
                  </a:lnTo>
                  <a:lnTo>
                    <a:pt x="1064" y="690"/>
                  </a:lnTo>
                  <a:lnTo>
                    <a:pt x="1068" y="689"/>
                  </a:lnTo>
                  <a:lnTo>
                    <a:pt x="1074" y="689"/>
                  </a:lnTo>
                  <a:lnTo>
                    <a:pt x="1081" y="689"/>
                  </a:lnTo>
                  <a:lnTo>
                    <a:pt x="1088" y="691"/>
                  </a:lnTo>
                  <a:lnTo>
                    <a:pt x="1094" y="693"/>
                  </a:lnTo>
                  <a:lnTo>
                    <a:pt x="1101" y="697"/>
                  </a:lnTo>
                  <a:lnTo>
                    <a:pt x="1106" y="701"/>
                  </a:lnTo>
                  <a:lnTo>
                    <a:pt x="1110" y="706"/>
                  </a:lnTo>
                  <a:lnTo>
                    <a:pt x="1115" y="712"/>
                  </a:lnTo>
                  <a:lnTo>
                    <a:pt x="1118" y="718"/>
                  </a:lnTo>
                  <a:lnTo>
                    <a:pt x="1120" y="721"/>
                  </a:lnTo>
                  <a:lnTo>
                    <a:pt x="1123" y="722"/>
                  </a:lnTo>
                  <a:lnTo>
                    <a:pt x="1127" y="724"/>
                  </a:lnTo>
                  <a:lnTo>
                    <a:pt x="1130" y="722"/>
                  </a:lnTo>
                  <a:lnTo>
                    <a:pt x="1133" y="720"/>
                  </a:lnTo>
                  <a:lnTo>
                    <a:pt x="1135" y="717"/>
                  </a:lnTo>
                  <a:lnTo>
                    <a:pt x="1135" y="714"/>
                  </a:lnTo>
                  <a:lnTo>
                    <a:pt x="1134" y="711"/>
                  </a:lnTo>
                  <a:lnTo>
                    <a:pt x="1132" y="704"/>
                  </a:lnTo>
                  <a:lnTo>
                    <a:pt x="1128" y="699"/>
                  </a:lnTo>
                  <a:lnTo>
                    <a:pt x="1123" y="693"/>
                  </a:lnTo>
                  <a:lnTo>
                    <a:pt x="1119" y="689"/>
                  </a:lnTo>
                  <a:lnTo>
                    <a:pt x="1199" y="689"/>
                  </a:lnTo>
                  <a:lnTo>
                    <a:pt x="1195" y="693"/>
                  </a:lnTo>
                  <a:lnTo>
                    <a:pt x="1190" y="699"/>
                  </a:lnTo>
                  <a:lnTo>
                    <a:pt x="1187" y="704"/>
                  </a:lnTo>
                  <a:lnTo>
                    <a:pt x="1185" y="711"/>
                  </a:lnTo>
                  <a:lnTo>
                    <a:pt x="1184" y="714"/>
                  </a:lnTo>
                  <a:lnTo>
                    <a:pt x="1185" y="717"/>
                  </a:lnTo>
                  <a:lnTo>
                    <a:pt x="1187" y="720"/>
                  </a:lnTo>
                  <a:lnTo>
                    <a:pt x="1189" y="722"/>
                  </a:lnTo>
                  <a:lnTo>
                    <a:pt x="1194" y="722"/>
                  </a:lnTo>
                  <a:lnTo>
                    <a:pt x="1197" y="722"/>
                  </a:lnTo>
                  <a:lnTo>
                    <a:pt x="1199" y="720"/>
                  </a:lnTo>
                  <a:lnTo>
                    <a:pt x="1201" y="717"/>
                  </a:lnTo>
                  <a:lnTo>
                    <a:pt x="1204" y="710"/>
                  </a:lnTo>
                  <a:lnTo>
                    <a:pt x="1210" y="704"/>
                  </a:lnTo>
                  <a:lnTo>
                    <a:pt x="1215" y="699"/>
                  </a:lnTo>
                  <a:lnTo>
                    <a:pt x="1221" y="695"/>
                  </a:lnTo>
                  <a:lnTo>
                    <a:pt x="1227" y="692"/>
                  </a:lnTo>
                  <a:lnTo>
                    <a:pt x="1234" y="690"/>
                  </a:lnTo>
                  <a:lnTo>
                    <a:pt x="1240" y="689"/>
                  </a:lnTo>
                  <a:lnTo>
                    <a:pt x="1245" y="689"/>
                  </a:lnTo>
                  <a:lnTo>
                    <a:pt x="1251" y="689"/>
                  </a:lnTo>
                  <a:lnTo>
                    <a:pt x="1256" y="690"/>
                  </a:lnTo>
                  <a:lnTo>
                    <a:pt x="1262" y="691"/>
                  </a:lnTo>
                  <a:lnTo>
                    <a:pt x="1266" y="693"/>
                  </a:lnTo>
                  <a:lnTo>
                    <a:pt x="1275" y="699"/>
                  </a:lnTo>
                  <a:lnTo>
                    <a:pt x="1282" y="705"/>
                  </a:lnTo>
                  <a:lnTo>
                    <a:pt x="1289" y="713"/>
                  </a:lnTo>
                  <a:lnTo>
                    <a:pt x="1294" y="722"/>
                  </a:lnTo>
                  <a:lnTo>
                    <a:pt x="1297" y="732"/>
                  </a:lnTo>
                  <a:lnTo>
                    <a:pt x="1298" y="744"/>
                  </a:lnTo>
                  <a:lnTo>
                    <a:pt x="1297" y="755"/>
                  </a:lnTo>
                  <a:lnTo>
                    <a:pt x="1294" y="765"/>
                  </a:lnTo>
                  <a:lnTo>
                    <a:pt x="1289" y="774"/>
                  </a:lnTo>
                  <a:lnTo>
                    <a:pt x="1282" y="782"/>
                  </a:lnTo>
                  <a:lnTo>
                    <a:pt x="1275" y="789"/>
                  </a:lnTo>
                  <a:lnTo>
                    <a:pt x="1266" y="794"/>
                  </a:lnTo>
                  <a:lnTo>
                    <a:pt x="1262" y="796"/>
                  </a:lnTo>
                  <a:lnTo>
                    <a:pt x="1256" y="797"/>
                  </a:lnTo>
                  <a:lnTo>
                    <a:pt x="1251" y="798"/>
                  </a:lnTo>
                  <a:lnTo>
                    <a:pt x="1245" y="798"/>
                  </a:lnTo>
                  <a:lnTo>
                    <a:pt x="1239" y="798"/>
                  </a:lnTo>
                  <a:lnTo>
                    <a:pt x="1231" y="796"/>
                  </a:lnTo>
                  <a:lnTo>
                    <a:pt x="1225" y="794"/>
                  </a:lnTo>
                  <a:lnTo>
                    <a:pt x="1218" y="790"/>
                  </a:lnTo>
                  <a:lnTo>
                    <a:pt x="1213" y="786"/>
                  </a:lnTo>
                  <a:lnTo>
                    <a:pt x="1208" y="781"/>
                  </a:lnTo>
                  <a:lnTo>
                    <a:pt x="1203" y="775"/>
                  </a:lnTo>
                  <a:lnTo>
                    <a:pt x="1200" y="769"/>
                  </a:lnTo>
                  <a:lnTo>
                    <a:pt x="1198" y="767"/>
                  </a:lnTo>
                  <a:lnTo>
                    <a:pt x="1196" y="765"/>
                  </a:lnTo>
                  <a:lnTo>
                    <a:pt x="1191" y="764"/>
                  </a:lnTo>
                  <a:lnTo>
                    <a:pt x="1188" y="765"/>
                  </a:lnTo>
                  <a:lnTo>
                    <a:pt x="1185" y="767"/>
                  </a:lnTo>
                  <a:lnTo>
                    <a:pt x="1184" y="770"/>
                  </a:lnTo>
                  <a:lnTo>
                    <a:pt x="1183" y="773"/>
                  </a:lnTo>
                  <a:lnTo>
                    <a:pt x="1184" y="776"/>
                  </a:lnTo>
                  <a:lnTo>
                    <a:pt x="1188" y="785"/>
                  </a:lnTo>
                  <a:lnTo>
                    <a:pt x="1194" y="793"/>
                  </a:lnTo>
                  <a:lnTo>
                    <a:pt x="1201" y="799"/>
                  </a:lnTo>
                  <a:lnTo>
                    <a:pt x="1209" y="806"/>
                  </a:lnTo>
                  <a:lnTo>
                    <a:pt x="1217" y="810"/>
                  </a:lnTo>
                  <a:lnTo>
                    <a:pt x="1226" y="813"/>
                  </a:lnTo>
                  <a:lnTo>
                    <a:pt x="1236" y="815"/>
                  </a:lnTo>
                  <a:lnTo>
                    <a:pt x="1245" y="816"/>
                  </a:lnTo>
                  <a:lnTo>
                    <a:pt x="1253" y="816"/>
                  </a:lnTo>
                  <a:lnTo>
                    <a:pt x="1259" y="815"/>
                  </a:lnTo>
                  <a:lnTo>
                    <a:pt x="1267" y="813"/>
                  </a:lnTo>
                  <a:lnTo>
                    <a:pt x="1274" y="811"/>
                  </a:lnTo>
                  <a:lnTo>
                    <a:pt x="1279" y="808"/>
                  </a:lnTo>
                  <a:lnTo>
                    <a:pt x="1285" y="803"/>
                  </a:lnTo>
                  <a:lnTo>
                    <a:pt x="1291" y="800"/>
                  </a:lnTo>
                  <a:lnTo>
                    <a:pt x="1295" y="795"/>
                  </a:lnTo>
                  <a:lnTo>
                    <a:pt x="1299" y="789"/>
                  </a:lnTo>
                  <a:lnTo>
                    <a:pt x="1304" y="784"/>
                  </a:lnTo>
                  <a:lnTo>
                    <a:pt x="1307" y="779"/>
                  </a:lnTo>
                  <a:lnTo>
                    <a:pt x="1310" y="772"/>
                  </a:lnTo>
                  <a:lnTo>
                    <a:pt x="1312" y="766"/>
                  </a:lnTo>
                  <a:lnTo>
                    <a:pt x="1315" y="758"/>
                  </a:lnTo>
                  <a:lnTo>
                    <a:pt x="1316" y="752"/>
                  </a:lnTo>
                  <a:lnTo>
                    <a:pt x="1316" y="744"/>
                  </a:lnTo>
                  <a:lnTo>
                    <a:pt x="1316" y="735"/>
                  </a:lnTo>
                  <a:lnTo>
                    <a:pt x="1315" y="728"/>
                  </a:lnTo>
                  <a:lnTo>
                    <a:pt x="1312" y="720"/>
                  </a:lnTo>
                  <a:lnTo>
                    <a:pt x="1309" y="713"/>
                  </a:lnTo>
                  <a:lnTo>
                    <a:pt x="1306" y="706"/>
                  </a:lnTo>
                  <a:lnTo>
                    <a:pt x="1302" y="700"/>
                  </a:lnTo>
                  <a:lnTo>
                    <a:pt x="1296" y="694"/>
                  </a:lnTo>
                  <a:lnTo>
                    <a:pt x="1292" y="689"/>
                  </a:lnTo>
                  <a:lnTo>
                    <a:pt x="1339" y="689"/>
                  </a:lnTo>
                  <a:lnTo>
                    <a:pt x="1343" y="688"/>
                  </a:lnTo>
                  <a:lnTo>
                    <a:pt x="1346" y="686"/>
                  </a:lnTo>
                  <a:lnTo>
                    <a:pt x="1348" y="684"/>
                  </a:lnTo>
                  <a:lnTo>
                    <a:pt x="1348" y="680"/>
                  </a:lnTo>
                  <a:lnTo>
                    <a:pt x="1348" y="617"/>
                  </a:lnTo>
                  <a:lnTo>
                    <a:pt x="1348" y="613"/>
                  </a:lnTo>
                  <a:lnTo>
                    <a:pt x="1346" y="610"/>
                  </a:lnTo>
                  <a:lnTo>
                    <a:pt x="1343" y="608"/>
                  </a:lnTo>
                  <a:lnTo>
                    <a:pt x="1339" y="608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49" name="Freeform 13"/>
            <p:cNvSpPr>
              <a:spLocks noEditPoints="1"/>
            </p:cNvSpPr>
            <p:nvPr/>
          </p:nvSpPr>
          <p:spPr bwMode="auto">
            <a:xfrm>
              <a:off x="374651" y="3421063"/>
              <a:ext cx="87313" cy="112713"/>
            </a:xfrm>
            <a:custGeom>
              <a:avLst/>
              <a:gdLst>
                <a:gd name="T0" fmla="*/ 63 w 164"/>
                <a:gd name="T1" fmla="*/ 48 h 213"/>
                <a:gd name="T2" fmla="*/ 32 w 164"/>
                <a:gd name="T3" fmla="*/ 95 h 213"/>
                <a:gd name="T4" fmla="*/ 23 w 164"/>
                <a:gd name="T5" fmla="*/ 116 h 213"/>
                <a:gd name="T6" fmla="*/ 19 w 164"/>
                <a:gd name="T7" fmla="*/ 128 h 213"/>
                <a:gd name="T8" fmla="*/ 18 w 164"/>
                <a:gd name="T9" fmla="*/ 140 h 213"/>
                <a:gd name="T10" fmla="*/ 22 w 164"/>
                <a:gd name="T11" fmla="*/ 152 h 213"/>
                <a:gd name="T12" fmla="*/ 26 w 164"/>
                <a:gd name="T13" fmla="*/ 163 h 213"/>
                <a:gd name="T14" fmla="*/ 33 w 164"/>
                <a:gd name="T15" fmla="*/ 173 h 213"/>
                <a:gd name="T16" fmla="*/ 42 w 164"/>
                <a:gd name="T17" fmla="*/ 181 h 213"/>
                <a:gd name="T18" fmla="*/ 52 w 164"/>
                <a:gd name="T19" fmla="*/ 188 h 213"/>
                <a:gd name="T20" fmla="*/ 64 w 164"/>
                <a:gd name="T21" fmla="*/ 192 h 213"/>
                <a:gd name="T22" fmla="*/ 76 w 164"/>
                <a:gd name="T23" fmla="*/ 194 h 213"/>
                <a:gd name="T24" fmla="*/ 89 w 164"/>
                <a:gd name="T25" fmla="*/ 194 h 213"/>
                <a:gd name="T26" fmla="*/ 101 w 164"/>
                <a:gd name="T27" fmla="*/ 192 h 213"/>
                <a:gd name="T28" fmla="*/ 112 w 164"/>
                <a:gd name="T29" fmla="*/ 188 h 213"/>
                <a:gd name="T30" fmla="*/ 122 w 164"/>
                <a:gd name="T31" fmla="*/ 181 h 213"/>
                <a:gd name="T32" fmla="*/ 131 w 164"/>
                <a:gd name="T33" fmla="*/ 173 h 213"/>
                <a:gd name="T34" fmla="*/ 138 w 164"/>
                <a:gd name="T35" fmla="*/ 163 h 213"/>
                <a:gd name="T36" fmla="*/ 143 w 164"/>
                <a:gd name="T37" fmla="*/ 152 h 213"/>
                <a:gd name="T38" fmla="*/ 146 w 164"/>
                <a:gd name="T39" fmla="*/ 140 h 213"/>
                <a:gd name="T40" fmla="*/ 146 w 164"/>
                <a:gd name="T41" fmla="*/ 128 h 213"/>
                <a:gd name="T42" fmla="*/ 141 w 164"/>
                <a:gd name="T43" fmla="*/ 116 h 213"/>
                <a:gd name="T44" fmla="*/ 132 w 164"/>
                <a:gd name="T45" fmla="*/ 95 h 213"/>
                <a:gd name="T46" fmla="*/ 101 w 164"/>
                <a:gd name="T47" fmla="*/ 48 h 213"/>
                <a:gd name="T48" fmla="*/ 82 w 164"/>
                <a:gd name="T49" fmla="*/ 213 h 213"/>
                <a:gd name="T50" fmla="*/ 66 w 164"/>
                <a:gd name="T51" fmla="*/ 211 h 213"/>
                <a:gd name="T52" fmla="*/ 51 w 164"/>
                <a:gd name="T53" fmla="*/ 207 h 213"/>
                <a:gd name="T54" fmla="*/ 37 w 164"/>
                <a:gd name="T55" fmla="*/ 200 h 213"/>
                <a:gd name="T56" fmla="*/ 25 w 164"/>
                <a:gd name="T57" fmla="*/ 190 h 213"/>
                <a:gd name="T58" fmla="*/ 14 w 164"/>
                <a:gd name="T59" fmla="*/ 178 h 213"/>
                <a:gd name="T60" fmla="*/ 6 w 164"/>
                <a:gd name="T61" fmla="*/ 164 h 213"/>
                <a:gd name="T62" fmla="*/ 2 w 164"/>
                <a:gd name="T63" fmla="*/ 150 h 213"/>
                <a:gd name="T64" fmla="*/ 0 w 164"/>
                <a:gd name="T65" fmla="*/ 134 h 213"/>
                <a:gd name="T66" fmla="*/ 3 w 164"/>
                <a:gd name="T67" fmla="*/ 116 h 213"/>
                <a:gd name="T68" fmla="*/ 11 w 164"/>
                <a:gd name="T69" fmla="*/ 97 h 213"/>
                <a:gd name="T70" fmla="*/ 35 w 164"/>
                <a:gd name="T71" fmla="*/ 56 h 213"/>
                <a:gd name="T72" fmla="*/ 76 w 164"/>
                <a:gd name="T73" fmla="*/ 2 h 213"/>
                <a:gd name="T74" fmla="*/ 82 w 164"/>
                <a:gd name="T75" fmla="*/ 0 h 213"/>
                <a:gd name="T76" fmla="*/ 89 w 164"/>
                <a:gd name="T77" fmla="*/ 2 h 213"/>
                <a:gd name="T78" fmla="*/ 130 w 164"/>
                <a:gd name="T79" fmla="*/ 56 h 213"/>
                <a:gd name="T80" fmla="*/ 153 w 164"/>
                <a:gd name="T81" fmla="*/ 97 h 213"/>
                <a:gd name="T82" fmla="*/ 161 w 164"/>
                <a:gd name="T83" fmla="*/ 116 h 213"/>
                <a:gd name="T84" fmla="*/ 164 w 164"/>
                <a:gd name="T85" fmla="*/ 134 h 213"/>
                <a:gd name="T86" fmla="*/ 162 w 164"/>
                <a:gd name="T87" fmla="*/ 150 h 213"/>
                <a:gd name="T88" fmla="*/ 158 w 164"/>
                <a:gd name="T89" fmla="*/ 164 h 213"/>
                <a:gd name="T90" fmla="*/ 150 w 164"/>
                <a:gd name="T91" fmla="*/ 178 h 213"/>
                <a:gd name="T92" fmla="*/ 139 w 164"/>
                <a:gd name="T93" fmla="*/ 190 h 213"/>
                <a:gd name="T94" fmla="*/ 127 w 164"/>
                <a:gd name="T95" fmla="*/ 200 h 213"/>
                <a:gd name="T96" fmla="*/ 113 w 164"/>
                <a:gd name="T97" fmla="*/ 207 h 213"/>
                <a:gd name="T98" fmla="*/ 98 w 164"/>
                <a:gd name="T99" fmla="*/ 211 h 213"/>
                <a:gd name="T100" fmla="*/ 82 w 164"/>
                <a:gd name="T101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13">
                  <a:moveTo>
                    <a:pt x="82" y="23"/>
                  </a:moveTo>
                  <a:lnTo>
                    <a:pt x="63" y="48"/>
                  </a:lnTo>
                  <a:lnTo>
                    <a:pt x="42" y="79"/>
                  </a:lnTo>
                  <a:lnTo>
                    <a:pt x="32" y="95"/>
                  </a:lnTo>
                  <a:lnTo>
                    <a:pt x="25" y="109"/>
                  </a:lnTo>
                  <a:lnTo>
                    <a:pt x="23" y="116"/>
                  </a:lnTo>
                  <a:lnTo>
                    <a:pt x="21" y="123"/>
                  </a:lnTo>
                  <a:lnTo>
                    <a:pt x="19" y="128"/>
                  </a:lnTo>
                  <a:lnTo>
                    <a:pt x="18" y="134"/>
                  </a:lnTo>
                  <a:lnTo>
                    <a:pt x="18" y="140"/>
                  </a:lnTo>
                  <a:lnTo>
                    <a:pt x="19" y="146"/>
                  </a:lnTo>
                  <a:lnTo>
                    <a:pt x="22" y="152"/>
                  </a:lnTo>
                  <a:lnTo>
                    <a:pt x="24" y="158"/>
                  </a:lnTo>
                  <a:lnTo>
                    <a:pt x="26" y="163"/>
                  </a:lnTo>
                  <a:lnTo>
                    <a:pt x="29" y="168"/>
                  </a:lnTo>
                  <a:lnTo>
                    <a:pt x="33" y="173"/>
                  </a:lnTo>
                  <a:lnTo>
                    <a:pt x="37" y="177"/>
                  </a:lnTo>
                  <a:lnTo>
                    <a:pt x="42" y="181"/>
                  </a:lnTo>
                  <a:lnTo>
                    <a:pt x="46" y="184"/>
                  </a:lnTo>
                  <a:lnTo>
                    <a:pt x="52" y="188"/>
                  </a:lnTo>
                  <a:lnTo>
                    <a:pt x="57" y="190"/>
                  </a:lnTo>
                  <a:lnTo>
                    <a:pt x="64" y="192"/>
                  </a:lnTo>
                  <a:lnTo>
                    <a:pt x="69" y="194"/>
                  </a:lnTo>
                  <a:lnTo>
                    <a:pt x="76" y="194"/>
                  </a:lnTo>
                  <a:lnTo>
                    <a:pt x="82" y="195"/>
                  </a:lnTo>
                  <a:lnTo>
                    <a:pt x="89" y="194"/>
                  </a:lnTo>
                  <a:lnTo>
                    <a:pt x="95" y="194"/>
                  </a:lnTo>
                  <a:lnTo>
                    <a:pt x="101" y="192"/>
                  </a:lnTo>
                  <a:lnTo>
                    <a:pt x="107" y="190"/>
                  </a:lnTo>
                  <a:lnTo>
                    <a:pt x="112" y="188"/>
                  </a:lnTo>
                  <a:lnTo>
                    <a:pt x="118" y="184"/>
                  </a:lnTo>
                  <a:lnTo>
                    <a:pt x="122" y="181"/>
                  </a:lnTo>
                  <a:lnTo>
                    <a:pt x="127" y="177"/>
                  </a:lnTo>
                  <a:lnTo>
                    <a:pt x="131" y="173"/>
                  </a:lnTo>
                  <a:lnTo>
                    <a:pt x="135" y="168"/>
                  </a:lnTo>
                  <a:lnTo>
                    <a:pt x="138" y="163"/>
                  </a:lnTo>
                  <a:lnTo>
                    <a:pt x="140" y="158"/>
                  </a:lnTo>
                  <a:lnTo>
                    <a:pt x="143" y="152"/>
                  </a:lnTo>
                  <a:lnTo>
                    <a:pt x="145" y="146"/>
                  </a:lnTo>
                  <a:lnTo>
                    <a:pt x="146" y="140"/>
                  </a:lnTo>
                  <a:lnTo>
                    <a:pt x="146" y="134"/>
                  </a:lnTo>
                  <a:lnTo>
                    <a:pt x="146" y="128"/>
                  </a:lnTo>
                  <a:lnTo>
                    <a:pt x="144" y="123"/>
                  </a:lnTo>
                  <a:lnTo>
                    <a:pt x="141" y="116"/>
                  </a:lnTo>
                  <a:lnTo>
                    <a:pt x="139" y="109"/>
                  </a:lnTo>
                  <a:lnTo>
                    <a:pt x="132" y="95"/>
                  </a:lnTo>
                  <a:lnTo>
                    <a:pt x="122" y="79"/>
                  </a:lnTo>
                  <a:lnTo>
                    <a:pt x="101" y="48"/>
                  </a:lnTo>
                  <a:lnTo>
                    <a:pt x="82" y="23"/>
                  </a:lnTo>
                  <a:close/>
                  <a:moveTo>
                    <a:pt x="82" y="213"/>
                  </a:moveTo>
                  <a:lnTo>
                    <a:pt x="73" y="213"/>
                  </a:lnTo>
                  <a:lnTo>
                    <a:pt x="66" y="211"/>
                  </a:lnTo>
                  <a:lnTo>
                    <a:pt x="58" y="209"/>
                  </a:lnTo>
                  <a:lnTo>
                    <a:pt x="51" y="207"/>
                  </a:lnTo>
                  <a:lnTo>
                    <a:pt x="43" y="204"/>
                  </a:lnTo>
                  <a:lnTo>
                    <a:pt x="37" y="200"/>
                  </a:lnTo>
                  <a:lnTo>
                    <a:pt x="30" y="195"/>
                  </a:lnTo>
                  <a:lnTo>
                    <a:pt x="25" y="190"/>
                  </a:lnTo>
                  <a:lnTo>
                    <a:pt x="19" y="184"/>
                  </a:lnTo>
                  <a:lnTo>
                    <a:pt x="14" y="178"/>
                  </a:lnTo>
                  <a:lnTo>
                    <a:pt x="11" y="172"/>
                  </a:lnTo>
                  <a:lnTo>
                    <a:pt x="6" y="164"/>
                  </a:lnTo>
                  <a:lnTo>
                    <a:pt x="4" y="158"/>
                  </a:lnTo>
                  <a:lnTo>
                    <a:pt x="2" y="150"/>
                  </a:lnTo>
                  <a:lnTo>
                    <a:pt x="1" y="141"/>
                  </a:lnTo>
                  <a:lnTo>
                    <a:pt x="0" y="134"/>
                  </a:lnTo>
                  <a:lnTo>
                    <a:pt x="1" y="125"/>
                  </a:lnTo>
                  <a:lnTo>
                    <a:pt x="3" y="116"/>
                  </a:lnTo>
                  <a:lnTo>
                    <a:pt x="6" y="107"/>
                  </a:lnTo>
                  <a:lnTo>
                    <a:pt x="11" y="97"/>
                  </a:lnTo>
                  <a:lnTo>
                    <a:pt x="22" y="77"/>
                  </a:lnTo>
                  <a:lnTo>
                    <a:pt x="35" y="56"/>
                  </a:lnTo>
                  <a:lnTo>
                    <a:pt x="60" y="21"/>
                  </a:lnTo>
                  <a:lnTo>
                    <a:pt x="76" y="2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89" y="2"/>
                  </a:lnTo>
                  <a:lnTo>
                    <a:pt x="104" y="21"/>
                  </a:lnTo>
                  <a:lnTo>
                    <a:pt x="130" y="56"/>
                  </a:lnTo>
                  <a:lnTo>
                    <a:pt x="143" y="77"/>
                  </a:lnTo>
                  <a:lnTo>
                    <a:pt x="153" y="97"/>
                  </a:lnTo>
                  <a:lnTo>
                    <a:pt x="158" y="107"/>
                  </a:lnTo>
                  <a:lnTo>
                    <a:pt x="161" y="116"/>
                  </a:lnTo>
                  <a:lnTo>
                    <a:pt x="163" y="125"/>
                  </a:lnTo>
                  <a:lnTo>
                    <a:pt x="164" y="134"/>
                  </a:lnTo>
                  <a:lnTo>
                    <a:pt x="163" y="141"/>
                  </a:lnTo>
                  <a:lnTo>
                    <a:pt x="162" y="150"/>
                  </a:lnTo>
                  <a:lnTo>
                    <a:pt x="160" y="158"/>
                  </a:lnTo>
                  <a:lnTo>
                    <a:pt x="158" y="164"/>
                  </a:lnTo>
                  <a:lnTo>
                    <a:pt x="153" y="172"/>
                  </a:lnTo>
                  <a:lnTo>
                    <a:pt x="150" y="178"/>
                  </a:lnTo>
                  <a:lnTo>
                    <a:pt x="145" y="184"/>
                  </a:lnTo>
                  <a:lnTo>
                    <a:pt x="139" y="190"/>
                  </a:lnTo>
                  <a:lnTo>
                    <a:pt x="134" y="195"/>
                  </a:lnTo>
                  <a:lnTo>
                    <a:pt x="127" y="200"/>
                  </a:lnTo>
                  <a:lnTo>
                    <a:pt x="121" y="204"/>
                  </a:lnTo>
                  <a:lnTo>
                    <a:pt x="113" y="207"/>
                  </a:lnTo>
                  <a:lnTo>
                    <a:pt x="106" y="209"/>
                  </a:lnTo>
                  <a:lnTo>
                    <a:pt x="98" y="211"/>
                  </a:lnTo>
                  <a:lnTo>
                    <a:pt x="91" y="213"/>
                  </a:lnTo>
                  <a:lnTo>
                    <a:pt x="82" y="213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0" name="Freeform 14"/>
            <p:cNvSpPr>
              <a:spLocks noEditPoints="1"/>
            </p:cNvSpPr>
            <p:nvPr/>
          </p:nvSpPr>
          <p:spPr bwMode="auto">
            <a:xfrm>
              <a:off x="107951" y="3635376"/>
              <a:ext cx="111125" cy="39688"/>
            </a:xfrm>
            <a:custGeom>
              <a:avLst/>
              <a:gdLst>
                <a:gd name="T0" fmla="*/ 32 w 208"/>
                <a:gd name="T1" fmla="*/ 18 h 76"/>
                <a:gd name="T2" fmla="*/ 26 w 208"/>
                <a:gd name="T3" fmla="*/ 21 h 76"/>
                <a:gd name="T4" fmla="*/ 21 w 208"/>
                <a:gd name="T5" fmla="*/ 27 h 76"/>
                <a:gd name="T6" fmla="*/ 18 w 208"/>
                <a:gd name="T7" fmla="*/ 34 h 76"/>
                <a:gd name="T8" fmla="*/ 18 w 208"/>
                <a:gd name="T9" fmla="*/ 42 h 76"/>
                <a:gd name="T10" fmla="*/ 21 w 208"/>
                <a:gd name="T11" fmla="*/ 49 h 76"/>
                <a:gd name="T12" fmla="*/ 26 w 208"/>
                <a:gd name="T13" fmla="*/ 55 h 76"/>
                <a:gd name="T14" fmla="*/ 32 w 208"/>
                <a:gd name="T15" fmla="*/ 58 h 76"/>
                <a:gd name="T16" fmla="*/ 173 w 208"/>
                <a:gd name="T17" fmla="*/ 58 h 76"/>
                <a:gd name="T18" fmla="*/ 179 w 208"/>
                <a:gd name="T19" fmla="*/ 57 h 76"/>
                <a:gd name="T20" fmla="*/ 185 w 208"/>
                <a:gd name="T21" fmla="*/ 53 h 76"/>
                <a:gd name="T22" fmla="*/ 189 w 208"/>
                <a:gd name="T23" fmla="*/ 46 h 76"/>
                <a:gd name="T24" fmla="*/ 190 w 208"/>
                <a:gd name="T25" fmla="*/ 39 h 76"/>
                <a:gd name="T26" fmla="*/ 189 w 208"/>
                <a:gd name="T27" fmla="*/ 30 h 76"/>
                <a:gd name="T28" fmla="*/ 185 w 208"/>
                <a:gd name="T29" fmla="*/ 23 h 76"/>
                <a:gd name="T30" fmla="*/ 179 w 208"/>
                <a:gd name="T31" fmla="*/ 19 h 76"/>
                <a:gd name="T32" fmla="*/ 173 w 208"/>
                <a:gd name="T33" fmla="*/ 18 h 76"/>
                <a:gd name="T34" fmla="*/ 173 w 208"/>
                <a:gd name="T35" fmla="*/ 76 h 76"/>
                <a:gd name="T36" fmla="*/ 28 w 208"/>
                <a:gd name="T37" fmla="*/ 75 h 76"/>
                <a:gd name="T38" fmla="*/ 16 w 208"/>
                <a:gd name="T39" fmla="*/ 70 h 76"/>
                <a:gd name="T40" fmla="*/ 6 w 208"/>
                <a:gd name="T41" fmla="*/ 59 h 76"/>
                <a:gd name="T42" fmla="*/ 1 w 208"/>
                <a:gd name="T43" fmla="*/ 46 h 76"/>
                <a:gd name="T44" fmla="*/ 1 w 208"/>
                <a:gd name="T45" fmla="*/ 30 h 76"/>
                <a:gd name="T46" fmla="*/ 6 w 208"/>
                <a:gd name="T47" fmla="*/ 17 h 76"/>
                <a:gd name="T48" fmla="*/ 16 w 208"/>
                <a:gd name="T49" fmla="*/ 6 h 76"/>
                <a:gd name="T50" fmla="*/ 28 w 208"/>
                <a:gd name="T51" fmla="*/ 1 h 76"/>
                <a:gd name="T52" fmla="*/ 173 w 208"/>
                <a:gd name="T53" fmla="*/ 0 h 76"/>
                <a:gd name="T54" fmla="*/ 187 w 208"/>
                <a:gd name="T55" fmla="*/ 3 h 76"/>
                <a:gd name="T56" fmla="*/ 197 w 208"/>
                <a:gd name="T57" fmla="*/ 10 h 76"/>
                <a:gd name="T58" fmla="*/ 205 w 208"/>
                <a:gd name="T59" fmla="*/ 23 h 76"/>
                <a:gd name="T60" fmla="*/ 208 w 208"/>
                <a:gd name="T61" fmla="*/ 39 h 76"/>
                <a:gd name="T62" fmla="*/ 205 w 208"/>
                <a:gd name="T63" fmla="*/ 53 h 76"/>
                <a:gd name="T64" fmla="*/ 197 w 208"/>
                <a:gd name="T65" fmla="*/ 66 h 76"/>
                <a:gd name="T66" fmla="*/ 187 w 208"/>
                <a:gd name="T67" fmla="*/ 73 h 76"/>
                <a:gd name="T68" fmla="*/ 173 w 208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6">
                  <a:moveTo>
                    <a:pt x="36" y="18"/>
                  </a:moveTo>
                  <a:lnTo>
                    <a:pt x="32" y="18"/>
                  </a:lnTo>
                  <a:lnTo>
                    <a:pt x="29" y="19"/>
                  </a:lnTo>
                  <a:lnTo>
                    <a:pt x="26" y="21"/>
                  </a:lnTo>
                  <a:lnTo>
                    <a:pt x="24" y="23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8" y="34"/>
                  </a:lnTo>
                  <a:lnTo>
                    <a:pt x="18" y="39"/>
                  </a:lnTo>
                  <a:lnTo>
                    <a:pt x="18" y="42"/>
                  </a:lnTo>
                  <a:lnTo>
                    <a:pt x="19" y="46"/>
                  </a:lnTo>
                  <a:lnTo>
                    <a:pt x="21" y="49"/>
                  </a:lnTo>
                  <a:lnTo>
                    <a:pt x="24" y="53"/>
                  </a:lnTo>
                  <a:lnTo>
                    <a:pt x="26" y="55"/>
                  </a:lnTo>
                  <a:lnTo>
                    <a:pt x="29" y="57"/>
                  </a:lnTo>
                  <a:lnTo>
                    <a:pt x="32" y="58"/>
                  </a:lnTo>
                  <a:lnTo>
                    <a:pt x="36" y="58"/>
                  </a:lnTo>
                  <a:lnTo>
                    <a:pt x="173" y="58"/>
                  </a:lnTo>
                  <a:lnTo>
                    <a:pt x="177" y="58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49"/>
                  </a:lnTo>
                  <a:lnTo>
                    <a:pt x="189" y="46"/>
                  </a:lnTo>
                  <a:lnTo>
                    <a:pt x="190" y="42"/>
                  </a:lnTo>
                  <a:lnTo>
                    <a:pt x="190" y="39"/>
                  </a:lnTo>
                  <a:lnTo>
                    <a:pt x="190" y="34"/>
                  </a:lnTo>
                  <a:lnTo>
                    <a:pt x="189" y="30"/>
                  </a:lnTo>
                  <a:lnTo>
                    <a:pt x="187" y="27"/>
                  </a:lnTo>
                  <a:lnTo>
                    <a:pt x="185" y="23"/>
                  </a:lnTo>
                  <a:lnTo>
                    <a:pt x="182" y="21"/>
                  </a:lnTo>
                  <a:lnTo>
                    <a:pt x="179" y="19"/>
                  </a:lnTo>
                  <a:lnTo>
                    <a:pt x="177" y="18"/>
                  </a:lnTo>
                  <a:lnTo>
                    <a:pt x="173" y="18"/>
                  </a:lnTo>
                  <a:lnTo>
                    <a:pt x="36" y="18"/>
                  </a:lnTo>
                  <a:close/>
                  <a:moveTo>
                    <a:pt x="173" y="76"/>
                  </a:moveTo>
                  <a:lnTo>
                    <a:pt x="36" y="76"/>
                  </a:lnTo>
                  <a:lnTo>
                    <a:pt x="28" y="75"/>
                  </a:lnTo>
                  <a:lnTo>
                    <a:pt x="21" y="73"/>
                  </a:lnTo>
                  <a:lnTo>
                    <a:pt x="16" y="70"/>
                  </a:lnTo>
                  <a:lnTo>
                    <a:pt x="11" y="66"/>
                  </a:lnTo>
                  <a:lnTo>
                    <a:pt x="6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9"/>
                  </a:lnTo>
                  <a:lnTo>
                    <a:pt x="1" y="30"/>
                  </a:lnTo>
                  <a:lnTo>
                    <a:pt x="3" y="23"/>
                  </a:lnTo>
                  <a:lnTo>
                    <a:pt x="6" y="17"/>
                  </a:lnTo>
                  <a:lnTo>
                    <a:pt x="11" y="10"/>
                  </a:lnTo>
                  <a:lnTo>
                    <a:pt x="16" y="6"/>
                  </a:lnTo>
                  <a:lnTo>
                    <a:pt x="21" y="3"/>
                  </a:lnTo>
                  <a:lnTo>
                    <a:pt x="28" y="1"/>
                  </a:lnTo>
                  <a:lnTo>
                    <a:pt x="36" y="0"/>
                  </a:lnTo>
                  <a:lnTo>
                    <a:pt x="173" y="0"/>
                  </a:lnTo>
                  <a:lnTo>
                    <a:pt x="180" y="1"/>
                  </a:lnTo>
                  <a:lnTo>
                    <a:pt x="187" y="3"/>
                  </a:lnTo>
                  <a:lnTo>
                    <a:pt x="193" y="6"/>
                  </a:lnTo>
                  <a:lnTo>
                    <a:pt x="197" y="10"/>
                  </a:lnTo>
                  <a:lnTo>
                    <a:pt x="202" y="17"/>
                  </a:lnTo>
                  <a:lnTo>
                    <a:pt x="205" y="23"/>
                  </a:lnTo>
                  <a:lnTo>
                    <a:pt x="207" y="30"/>
                  </a:lnTo>
                  <a:lnTo>
                    <a:pt x="208" y="39"/>
                  </a:lnTo>
                  <a:lnTo>
                    <a:pt x="207" y="46"/>
                  </a:lnTo>
                  <a:lnTo>
                    <a:pt x="205" y="53"/>
                  </a:lnTo>
                  <a:lnTo>
                    <a:pt x="202" y="59"/>
                  </a:lnTo>
                  <a:lnTo>
                    <a:pt x="197" y="66"/>
                  </a:lnTo>
                  <a:lnTo>
                    <a:pt x="193" y="70"/>
                  </a:lnTo>
                  <a:lnTo>
                    <a:pt x="187" y="73"/>
                  </a:lnTo>
                  <a:lnTo>
                    <a:pt x="180" y="75"/>
                  </a:lnTo>
                  <a:lnTo>
                    <a:pt x="173" y="76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1" name="Freeform 15"/>
            <p:cNvSpPr>
              <a:spLocks noEditPoints="1"/>
            </p:cNvSpPr>
            <p:nvPr/>
          </p:nvSpPr>
          <p:spPr bwMode="auto">
            <a:xfrm>
              <a:off x="612776" y="3638551"/>
              <a:ext cx="111125" cy="41275"/>
            </a:xfrm>
            <a:custGeom>
              <a:avLst/>
              <a:gdLst>
                <a:gd name="T0" fmla="*/ 32 w 208"/>
                <a:gd name="T1" fmla="*/ 19 h 77"/>
                <a:gd name="T2" fmla="*/ 25 w 208"/>
                <a:gd name="T3" fmla="*/ 22 h 77"/>
                <a:gd name="T4" fmla="*/ 21 w 208"/>
                <a:gd name="T5" fmla="*/ 27 h 77"/>
                <a:gd name="T6" fmla="*/ 19 w 208"/>
                <a:gd name="T7" fmla="*/ 35 h 77"/>
                <a:gd name="T8" fmla="*/ 19 w 208"/>
                <a:gd name="T9" fmla="*/ 42 h 77"/>
                <a:gd name="T10" fmla="*/ 21 w 208"/>
                <a:gd name="T11" fmla="*/ 50 h 77"/>
                <a:gd name="T12" fmla="*/ 25 w 208"/>
                <a:gd name="T13" fmla="*/ 55 h 77"/>
                <a:gd name="T14" fmla="*/ 32 w 208"/>
                <a:gd name="T15" fmla="*/ 59 h 77"/>
                <a:gd name="T16" fmla="*/ 173 w 208"/>
                <a:gd name="T17" fmla="*/ 59 h 77"/>
                <a:gd name="T18" fmla="*/ 179 w 208"/>
                <a:gd name="T19" fmla="*/ 57 h 77"/>
                <a:gd name="T20" fmla="*/ 185 w 208"/>
                <a:gd name="T21" fmla="*/ 53 h 77"/>
                <a:gd name="T22" fmla="*/ 188 w 208"/>
                <a:gd name="T23" fmla="*/ 47 h 77"/>
                <a:gd name="T24" fmla="*/ 189 w 208"/>
                <a:gd name="T25" fmla="*/ 39 h 77"/>
                <a:gd name="T26" fmla="*/ 188 w 208"/>
                <a:gd name="T27" fmla="*/ 30 h 77"/>
                <a:gd name="T28" fmla="*/ 185 w 208"/>
                <a:gd name="T29" fmla="*/ 24 h 77"/>
                <a:gd name="T30" fmla="*/ 179 w 208"/>
                <a:gd name="T31" fmla="*/ 20 h 77"/>
                <a:gd name="T32" fmla="*/ 173 w 208"/>
                <a:gd name="T33" fmla="*/ 19 h 77"/>
                <a:gd name="T34" fmla="*/ 173 w 208"/>
                <a:gd name="T35" fmla="*/ 77 h 77"/>
                <a:gd name="T36" fmla="*/ 27 w 208"/>
                <a:gd name="T37" fmla="*/ 76 h 77"/>
                <a:gd name="T38" fmla="*/ 15 w 208"/>
                <a:gd name="T39" fmla="*/ 70 h 77"/>
                <a:gd name="T40" fmla="*/ 6 w 208"/>
                <a:gd name="T41" fmla="*/ 60 h 77"/>
                <a:gd name="T42" fmla="*/ 0 w 208"/>
                <a:gd name="T43" fmla="*/ 47 h 77"/>
                <a:gd name="T44" fmla="*/ 0 w 208"/>
                <a:gd name="T45" fmla="*/ 32 h 77"/>
                <a:gd name="T46" fmla="*/ 6 w 208"/>
                <a:gd name="T47" fmla="*/ 17 h 77"/>
                <a:gd name="T48" fmla="*/ 15 w 208"/>
                <a:gd name="T49" fmla="*/ 7 h 77"/>
                <a:gd name="T50" fmla="*/ 27 w 208"/>
                <a:gd name="T51" fmla="*/ 1 h 77"/>
                <a:gd name="T52" fmla="*/ 173 w 208"/>
                <a:gd name="T53" fmla="*/ 0 h 77"/>
                <a:gd name="T54" fmla="*/ 186 w 208"/>
                <a:gd name="T55" fmla="*/ 3 h 77"/>
                <a:gd name="T56" fmla="*/ 198 w 208"/>
                <a:gd name="T57" fmla="*/ 12 h 77"/>
                <a:gd name="T58" fmla="*/ 205 w 208"/>
                <a:gd name="T59" fmla="*/ 24 h 77"/>
                <a:gd name="T60" fmla="*/ 208 w 208"/>
                <a:gd name="T61" fmla="*/ 39 h 77"/>
                <a:gd name="T62" fmla="*/ 205 w 208"/>
                <a:gd name="T63" fmla="*/ 53 h 77"/>
                <a:gd name="T64" fmla="*/ 198 w 208"/>
                <a:gd name="T65" fmla="*/ 66 h 77"/>
                <a:gd name="T66" fmla="*/ 186 w 208"/>
                <a:gd name="T67" fmla="*/ 74 h 77"/>
                <a:gd name="T68" fmla="*/ 173 w 208"/>
                <a:gd name="T6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7">
                  <a:moveTo>
                    <a:pt x="35" y="19"/>
                  </a:moveTo>
                  <a:lnTo>
                    <a:pt x="32" y="19"/>
                  </a:lnTo>
                  <a:lnTo>
                    <a:pt x="28" y="20"/>
                  </a:lnTo>
                  <a:lnTo>
                    <a:pt x="25" y="22"/>
                  </a:lnTo>
                  <a:lnTo>
                    <a:pt x="23" y="24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9" y="42"/>
                  </a:lnTo>
                  <a:lnTo>
                    <a:pt x="19" y="47"/>
                  </a:lnTo>
                  <a:lnTo>
                    <a:pt x="21" y="50"/>
                  </a:lnTo>
                  <a:lnTo>
                    <a:pt x="23" y="53"/>
                  </a:lnTo>
                  <a:lnTo>
                    <a:pt x="25" y="55"/>
                  </a:lnTo>
                  <a:lnTo>
                    <a:pt x="28" y="57"/>
                  </a:lnTo>
                  <a:lnTo>
                    <a:pt x="32" y="59"/>
                  </a:lnTo>
                  <a:lnTo>
                    <a:pt x="35" y="59"/>
                  </a:lnTo>
                  <a:lnTo>
                    <a:pt x="173" y="59"/>
                  </a:lnTo>
                  <a:lnTo>
                    <a:pt x="176" y="59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50"/>
                  </a:lnTo>
                  <a:lnTo>
                    <a:pt x="188" y="47"/>
                  </a:lnTo>
                  <a:lnTo>
                    <a:pt x="189" y="42"/>
                  </a:lnTo>
                  <a:lnTo>
                    <a:pt x="189" y="39"/>
                  </a:lnTo>
                  <a:lnTo>
                    <a:pt x="189" y="35"/>
                  </a:lnTo>
                  <a:lnTo>
                    <a:pt x="188" y="30"/>
                  </a:lnTo>
                  <a:lnTo>
                    <a:pt x="187" y="27"/>
                  </a:lnTo>
                  <a:lnTo>
                    <a:pt x="185" y="24"/>
                  </a:lnTo>
                  <a:lnTo>
                    <a:pt x="182" y="22"/>
                  </a:lnTo>
                  <a:lnTo>
                    <a:pt x="179" y="20"/>
                  </a:lnTo>
                  <a:lnTo>
                    <a:pt x="176" y="19"/>
                  </a:lnTo>
                  <a:lnTo>
                    <a:pt x="173" y="19"/>
                  </a:lnTo>
                  <a:lnTo>
                    <a:pt x="35" y="19"/>
                  </a:lnTo>
                  <a:close/>
                  <a:moveTo>
                    <a:pt x="173" y="77"/>
                  </a:moveTo>
                  <a:lnTo>
                    <a:pt x="35" y="77"/>
                  </a:lnTo>
                  <a:lnTo>
                    <a:pt x="27" y="76"/>
                  </a:lnTo>
                  <a:lnTo>
                    <a:pt x="21" y="74"/>
                  </a:lnTo>
                  <a:lnTo>
                    <a:pt x="15" y="70"/>
                  </a:lnTo>
                  <a:lnTo>
                    <a:pt x="10" y="66"/>
                  </a:lnTo>
                  <a:lnTo>
                    <a:pt x="6" y="60"/>
                  </a:lnTo>
                  <a:lnTo>
                    <a:pt x="2" y="53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6" y="17"/>
                  </a:lnTo>
                  <a:lnTo>
                    <a:pt x="10" y="12"/>
                  </a:lnTo>
                  <a:lnTo>
                    <a:pt x="15" y="7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5" y="0"/>
                  </a:lnTo>
                  <a:lnTo>
                    <a:pt x="173" y="0"/>
                  </a:lnTo>
                  <a:lnTo>
                    <a:pt x="179" y="1"/>
                  </a:lnTo>
                  <a:lnTo>
                    <a:pt x="186" y="3"/>
                  </a:lnTo>
                  <a:lnTo>
                    <a:pt x="192" y="7"/>
                  </a:lnTo>
                  <a:lnTo>
                    <a:pt x="198" y="12"/>
                  </a:lnTo>
                  <a:lnTo>
                    <a:pt x="202" y="17"/>
                  </a:lnTo>
                  <a:lnTo>
                    <a:pt x="205" y="24"/>
                  </a:lnTo>
                  <a:lnTo>
                    <a:pt x="206" y="32"/>
                  </a:lnTo>
                  <a:lnTo>
                    <a:pt x="208" y="39"/>
                  </a:lnTo>
                  <a:lnTo>
                    <a:pt x="206" y="47"/>
                  </a:lnTo>
                  <a:lnTo>
                    <a:pt x="205" y="53"/>
                  </a:lnTo>
                  <a:lnTo>
                    <a:pt x="202" y="60"/>
                  </a:lnTo>
                  <a:lnTo>
                    <a:pt x="198" y="66"/>
                  </a:lnTo>
                  <a:lnTo>
                    <a:pt x="192" y="70"/>
                  </a:lnTo>
                  <a:lnTo>
                    <a:pt x="186" y="74"/>
                  </a:lnTo>
                  <a:lnTo>
                    <a:pt x="179" y="76"/>
                  </a:lnTo>
                  <a:lnTo>
                    <a:pt x="173" y="77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252" name="opt_marketing"/>
          <p:cNvGrpSpPr>
            <a:grpSpLocks noChangeAspect="1"/>
          </p:cNvGrpSpPr>
          <p:nvPr/>
        </p:nvGrpSpPr>
        <p:grpSpPr>
          <a:xfrm>
            <a:off x="3279808" y="3294451"/>
            <a:ext cx="240352" cy="161925"/>
            <a:chOff x="55563" y="3265488"/>
            <a:chExt cx="723900" cy="431800"/>
          </a:xfrm>
          <a:solidFill>
            <a:srgbClr val="7030A0"/>
          </a:solidFill>
        </p:grpSpPr>
        <p:sp>
          <p:nvSpPr>
            <p:cNvPr id="253" name="Freeform 12"/>
            <p:cNvSpPr>
              <a:spLocks noEditPoints="1"/>
            </p:cNvSpPr>
            <p:nvPr/>
          </p:nvSpPr>
          <p:spPr bwMode="auto">
            <a:xfrm>
              <a:off x="55563" y="3265488"/>
              <a:ext cx="723900" cy="431800"/>
            </a:xfrm>
            <a:custGeom>
              <a:avLst/>
              <a:gdLst>
                <a:gd name="T0" fmla="*/ 23 w 1366"/>
                <a:gd name="T1" fmla="*/ 263 h 816"/>
                <a:gd name="T2" fmla="*/ 71 w 1366"/>
                <a:gd name="T3" fmla="*/ 115 h 816"/>
                <a:gd name="T4" fmla="*/ 1286 w 1366"/>
                <a:gd name="T5" fmla="*/ 103 h 816"/>
                <a:gd name="T6" fmla="*/ 1339 w 1366"/>
                <a:gd name="T7" fmla="*/ 239 h 816"/>
                <a:gd name="T8" fmla="*/ 1335 w 1366"/>
                <a:gd name="T9" fmla="*/ 488 h 816"/>
                <a:gd name="T10" fmla="*/ 1280 w 1366"/>
                <a:gd name="T11" fmla="*/ 608 h 816"/>
                <a:gd name="T12" fmla="*/ 36 w 1366"/>
                <a:gd name="T13" fmla="*/ 507 h 816"/>
                <a:gd name="T14" fmla="*/ 760 w 1366"/>
                <a:gd name="T15" fmla="*/ 78 h 816"/>
                <a:gd name="T16" fmla="*/ 580 w 1366"/>
                <a:gd name="T17" fmla="*/ 25 h 816"/>
                <a:gd name="T18" fmla="*/ 786 w 1366"/>
                <a:gd name="T19" fmla="*/ 34 h 816"/>
                <a:gd name="T20" fmla="*/ 1339 w 1366"/>
                <a:gd name="T21" fmla="*/ 608 h 816"/>
                <a:gd name="T22" fmla="*/ 1352 w 1366"/>
                <a:gd name="T23" fmla="*/ 493 h 816"/>
                <a:gd name="T24" fmla="*/ 1360 w 1366"/>
                <a:gd name="T25" fmla="*/ 251 h 816"/>
                <a:gd name="T26" fmla="*/ 1303 w 1366"/>
                <a:gd name="T27" fmla="*/ 94 h 816"/>
                <a:gd name="T28" fmla="*/ 793 w 1366"/>
                <a:gd name="T29" fmla="*/ 52 h 816"/>
                <a:gd name="T30" fmla="*/ 796 w 1366"/>
                <a:gd name="T31" fmla="*/ 9 h 816"/>
                <a:gd name="T32" fmla="*/ 571 w 1366"/>
                <a:gd name="T33" fmla="*/ 9 h 816"/>
                <a:gd name="T34" fmla="*/ 575 w 1366"/>
                <a:gd name="T35" fmla="*/ 53 h 816"/>
                <a:gd name="T36" fmla="*/ 69 w 1366"/>
                <a:gd name="T37" fmla="*/ 88 h 816"/>
                <a:gd name="T38" fmla="*/ 10 w 1366"/>
                <a:gd name="T39" fmla="*/ 229 h 816"/>
                <a:gd name="T40" fmla="*/ 9 w 1366"/>
                <a:gd name="T41" fmla="*/ 472 h 816"/>
                <a:gd name="T42" fmla="*/ 62 w 1366"/>
                <a:gd name="T43" fmla="*/ 608 h 816"/>
                <a:gd name="T44" fmla="*/ 23 w 1366"/>
                <a:gd name="T45" fmla="*/ 688 h 816"/>
                <a:gd name="T46" fmla="*/ 51 w 1366"/>
                <a:gd name="T47" fmla="*/ 732 h 816"/>
                <a:gd name="T48" fmla="*/ 71 w 1366"/>
                <a:gd name="T49" fmla="*/ 788 h 816"/>
                <a:gd name="T50" fmla="*/ 129 w 1366"/>
                <a:gd name="T51" fmla="*/ 808 h 816"/>
                <a:gd name="T52" fmla="*/ 182 w 1366"/>
                <a:gd name="T53" fmla="*/ 762 h 816"/>
                <a:gd name="T54" fmla="*/ 152 w 1366"/>
                <a:gd name="T55" fmla="*/ 779 h 816"/>
                <a:gd name="T56" fmla="*/ 84 w 1366"/>
                <a:gd name="T57" fmla="*/ 775 h 816"/>
                <a:gd name="T58" fmla="*/ 91 w 1366"/>
                <a:gd name="T59" fmla="*/ 698 h 816"/>
                <a:gd name="T60" fmla="*/ 153 w 1366"/>
                <a:gd name="T61" fmla="*/ 702 h 816"/>
                <a:gd name="T62" fmla="*/ 178 w 1366"/>
                <a:gd name="T63" fmla="*/ 704 h 816"/>
                <a:gd name="T64" fmla="*/ 230 w 1366"/>
                <a:gd name="T65" fmla="*/ 712 h 816"/>
                <a:gd name="T66" fmla="*/ 263 w 1366"/>
                <a:gd name="T67" fmla="*/ 694 h 816"/>
                <a:gd name="T68" fmla="*/ 329 w 1366"/>
                <a:gd name="T69" fmla="*/ 712 h 816"/>
                <a:gd name="T70" fmla="*/ 306 w 1366"/>
                <a:gd name="T71" fmla="*/ 787 h 816"/>
                <a:gd name="T72" fmla="*/ 246 w 1366"/>
                <a:gd name="T73" fmla="*/ 768 h 816"/>
                <a:gd name="T74" fmla="*/ 226 w 1366"/>
                <a:gd name="T75" fmla="*/ 769 h 816"/>
                <a:gd name="T76" fmla="*/ 294 w 1366"/>
                <a:gd name="T77" fmla="*/ 809 h 816"/>
                <a:gd name="T78" fmla="*/ 344 w 1366"/>
                <a:gd name="T79" fmla="*/ 779 h 816"/>
                <a:gd name="T80" fmla="*/ 352 w 1366"/>
                <a:gd name="T81" fmla="*/ 718 h 816"/>
                <a:gd name="T82" fmla="*/ 1014 w 1366"/>
                <a:gd name="T83" fmla="*/ 706 h 816"/>
                <a:gd name="T84" fmla="*/ 1010 w 1366"/>
                <a:gd name="T85" fmla="*/ 772 h 816"/>
                <a:gd name="T86" fmla="*/ 1053 w 1366"/>
                <a:gd name="T87" fmla="*/ 813 h 816"/>
                <a:gd name="T88" fmla="*/ 1126 w 1366"/>
                <a:gd name="T89" fmla="*/ 794 h 816"/>
                <a:gd name="T90" fmla="*/ 1123 w 1366"/>
                <a:gd name="T91" fmla="*/ 766 h 816"/>
                <a:gd name="T92" fmla="*/ 1074 w 1366"/>
                <a:gd name="T93" fmla="*/ 798 h 816"/>
                <a:gd name="T94" fmla="*/ 1023 w 1366"/>
                <a:gd name="T95" fmla="*/ 755 h 816"/>
                <a:gd name="T96" fmla="*/ 1064 w 1366"/>
                <a:gd name="T97" fmla="*/ 690 h 816"/>
                <a:gd name="T98" fmla="*/ 1115 w 1366"/>
                <a:gd name="T99" fmla="*/ 712 h 816"/>
                <a:gd name="T100" fmla="*/ 1134 w 1366"/>
                <a:gd name="T101" fmla="*/ 711 h 816"/>
                <a:gd name="T102" fmla="*/ 1185 w 1366"/>
                <a:gd name="T103" fmla="*/ 711 h 816"/>
                <a:gd name="T104" fmla="*/ 1204 w 1366"/>
                <a:gd name="T105" fmla="*/ 710 h 816"/>
                <a:gd name="T106" fmla="*/ 1256 w 1366"/>
                <a:gd name="T107" fmla="*/ 690 h 816"/>
                <a:gd name="T108" fmla="*/ 1297 w 1366"/>
                <a:gd name="T109" fmla="*/ 755 h 816"/>
                <a:gd name="T110" fmla="*/ 1245 w 1366"/>
                <a:gd name="T111" fmla="*/ 798 h 816"/>
                <a:gd name="T112" fmla="*/ 1198 w 1366"/>
                <a:gd name="T113" fmla="*/ 767 h 816"/>
                <a:gd name="T114" fmla="*/ 1194 w 1366"/>
                <a:gd name="T115" fmla="*/ 793 h 816"/>
                <a:gd name="T116" fmla="*/ 1267 w 1366"/>
                <a:gd name="T117" fmla="*/ 813 h 816"/>
                <a:gd name="T118" fmla="*/ 1310 w 1366"/>
                <a:gd name="T119" fmla="*/ 772 h 816"/>
                <a:gd name="T120" fmla="*/ 1306 w 1366"/>
                <a:gd name="T121" fmla="*/ 706 h 816"/>
                <a:gd name="T122" fmla="*/ 1348 w 1366"/>
                <a:gd name="T123" fmla="*/ 617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66" h="816">
                  <a:moveTo>
                    <a:pt x="1331" y="671"/>
                  </a:moveTo>
                  <a:lnTo>
                    <a:pt x="36" y="671"/>
                  </a:lnTo>
                  <a:lnTo>
                    <a:pt x="36" y="625"/>
                  </a:lnTo>
                  <a:lnTo>
                    <a:pt x="1331" y="625"/>
                  </a:lnTo>
                  <a:lnTo>
                    <a:pt x="1331" y="671"/>
                  </a:lnTo>
                  <a:close/>
                  <a:moveTo>
                    <a:pt x="18" y="351"/>
                  </a:moveTo>
                  <a:lnTo>
                    <a:pt x="18" y="320"/>
                  </a:lnTo>
                  <a:lnTo>
                    <a:pt x="20" y="290"/>
                  </a:lnTo>
                  <a:lnTo>
                    <a:pt x="23" y="263"/>
                  </a:lnTo>
                  <a:lnTo>
                    <a:pt x="27" y="238"/>
                  </a:lnTo>
                  <a:lnTo>
                    <a:pt x="31" y="215"/>
                  </a:lnTo>
                  <a:lnTo>
                    <a:pt x="36" y="196"/>
                  </a:lnTo>
                  <a:lnTo>
                    <a:pt x="42" y="177"/>
                  </a:lnTo>
                  <a:lnTo>
                    <a:pt x="48" y="161"/>
                  </a:lnTo>
                  <a:lnTo>
                    <a:pt x="54" y="147"/>
                  </a:lnTo>
                  <a:lnTo>
                    <a:pt x="60" y="134"/>
                  </a:lnTo>
                  <a:lnTo>
                    <a:pt x="65" y="124"/>
                  </a:lnTo>
                  <a:lnTo>
                    <a:pt x="71" y="115"/>
                  </a:lnTo>
                  <a:lnTo>
                    <a:pt x="81" y="103"/>
                  </a:lnTo>
                  <a:lnTo>
                    <a:pt x="87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1280" y="95"/>
                  </a:lnTo>
                  <a:lnTo>
                    <a:pt x="1286" y="103"/>
                  </a:lnTo>
                  <a:lnTo>
                    <a:pt x="1296" y="116"/>
                  </a:lnTo>
                  <a:lnTo>
                    <a:pt x="1302" y="124"/>
                  </a:lnTo>
                  <a:lnTo>
                    <a:pt x="1307" y="135"/>
                  </a:lnTo>
                  <a:lnTo>
                    <a:pt x="1313" y="148"/>
                  </a:lnTo>
                  <a:lnTo>
                    <a:pt x="1319" y="162"/>
                  </a:lnTo>
                  <a:lnTo>
                    <a:pt x="1324" y="178"/>
                  </a:lnTo>
                  <a:lnTo>
                    <a:pt x="1330" y="197"/>
                  </a:lnTo>
                  <a:lnTo>
                    <a:pt x="1335" y="216"/>
                  </a:lnTo>
                  <a:lnTo>
                    <a:pt x="1339" y="239"/>
                  </a:lnTo>
                  <a:lnTo>
                    <a:pt x="1344" y="264"/>
                  </a:lnTo>
                  <a:lnTo>
                    <a:pt x="1346" y="291"/>
                  </a:lnTo>
                  <a:lnTo>
                    <a:pt x="1348" y="320"/>
                  </a:lnTo>
                  <a:lnTo>
                    <a:pt x="1349" y="351"/>
                  </a:lnTo>
                  <a:lnTo>
                    <a:pt x="1348" y="383"/>
                  </a:lnTo>
                  <a:lnTo>
                    <a:pt x="1346" y="414"/>
                  </a:lnTo>
                  <a:lnTo>
                    <a:pt x="1343" y="441"/>
                  </a:lnTo>
                  <a:lnTo>
                    <a:pt x="1339" y="466"/>
                  </a:lnTo>
                  <a:lnTo>
                    <a:pt x="1335" y="488"/>
                  </a:lnTo>
                  <a:lnTo>
                    <a:pt x="1330" y="509"/>
                  </a:lnTo>
                  <a:lnTo>
                    <a:pt x="1324" y="526"/>
                  </a:lnTo>
                  <a:lnTo>
                    <a:pt x="1318" y="542"/>
                  </a:lnTo>
                  <a:lnTo>
                    <a:pt x="1312" y="557"/>
                  </a:lnTo>
                  <a:lnTo>
                    <a:pt x="1306" y="569"/>
                  </a:lnTo>
                  <a:lnTo>
                    <a:pt x="1301" y="580"/>
                  </a:lnTo>
                  <a:lnTo>
                    <a:pt x="1295" y="589"/>
                  </a:lnTo>
                  <a:lnTo>
                    <a:pt x="1285" y="600"/>
                  </a:lnTo>
                  <a:lnTo>
                    <a:pt x="1280" y="608"/>
                  </a:lnTo>
                  <a:lnTo>
                    <a:pt x="86" y="608"/>
                  </a:lnTo>
                  <a:lnTo>
                    <a:pt x="79" y="600"/>
                  </a:lnTo>
                  <a:lnTo>
                    <a:pt x="71" y="588"/>
                  </a:lnTo>
                  <a:lnTo>
                    <a:pt x="65" y="579"/>
                  </a:lnTo>
                  <a:lnTo>
                    <a:pt x="59" y="568"/>
                  </a:lnTo>
                  <a:lnTo>
                    <a:pt x="54" y="555"/>
                  </a:lnTo>
                  <a:lnTo>
                    <a:pt x="47" y="541"/>
                  </a:lnTo>
                  <a:lnTo>
                    <a:pt x="42" y="525"/>
                  </a:lnTo>
                  <a:lnTo>
                    <a:pt x="36" y="507"/>
                  </a:lnTo>
                  <a:lnTo>
                    <a:pt x="31" y="487"/>
                  </a:lnTo>
                  <a:lnTo>
                    <a:pt x="27" y="464"/>
                  </a:lnTo>
                  <a:lnTo>
                    <a:pt x="23" y="440"/>
                  </a:lnTo>
                  <a:lnTo>
                    <a:pt x="20" y="413"/>
                  </a:lnTo>
                  <a:lnTo>
                    <a:pt x="18" y="383"/>
                  </a:lnTo>
                  <a:lnTo>
                    <a:pt x="18" y="351"/>
                  </a:lnTo>
                  <a:close/>
                  <a:moveTo>
                    <a:pt x="608" y="59"/>
                  </a:moveTo>
                  <a:lnTo>
                    <a:pt x="760" y="59"/>
                  </a:lnTo>
                  <a:lnTo>
                    <a:pt x="760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08" y="78"/>
                  </a:lnTo>
                  <a:lnTo>
                    <a:pt x="608" y="59"/>
                  </a:lnTo>
                  <a:close/>
                  <a:moveTo>
                    <a:pt x="580" y="29"/>
                  </a:moveTo>
                  <a:lnTo>
                    <a:pt x="580" y="25"/>
                  </a:lnTo>
                  <a:lnTo>
                    <a:pt x="583" y="22"/>
                  </a:lnTo>
                  <a:lnTo>
                    <a:pt x="587" y="20"/>
                  </a:lnTo>
                  <a:lnTo>
                    <a:pt x="590" y="19"/>
                  </a:lnTo>
                  <a:lnTo>
                    <a:pt x="776" y="19"/>
                  </a:lnTo>
                  <a:lnTo>
                    <a:pt x="780" y="20"/>
                  </a:lnTo>
                  <a:lnTo>
                    <a:pt x="783" y="22"/>
                  </a:lnTo>
                  <a:lnTo>
                    <a:pt x="786" y="25"/>
                  </a:lnTo>
                  <a:lnTo>
                    <a:pt x="787" y="29"/>
                  </a:lnTo>
                  <a:lnTo>
                    <a:pt x="786" y="34"/>
                  </a:lnTo>
                  <a:lnTo>
                    <a:pt x="783" y="37"/>
                  </a:lnTo>
                  <a:lnTo>
                    <a:pt x="780" y="39"/>
                  </a:lnTo>
                  <a:lnTo>
                    <a:pt x="776" y="40"/>
                  </a:lnTo>
                  <a:lnTo>
                    <a:pt x="590" y="40"/>
                  </a:lnTo>
                  <a:lnTo>
                    <a:pt x="587" y="39"/>
                  </a:lnTo>
                  <a:lnTo>
                    <a:pt x="583" y="37"/>
                  </a:lnTo>
                  <a:lnTo>
                    <a:pt x="580" y="34"/>
                  </a:lnTo>
                  <a:lnTo>
                    <a:pt x="580" y="29"/>
                  </a:lnTo>
                  <a:close/>
                  <a:moveTo>
                    <a:pt x="1339" y="608"/>
                  </a:moveTo>
                  <a:lnTo>
                    <a:pt x="1304" y="608"/>
                  </a:lnTo>
                  <a:lnTo>
                    <a:pt x="1312" y="594"/>
                  </a:lnTo>
                  <a:lnTo>
                    <a:pt x="1323" y="577"/>
                  </a:lnTo>
                  <a:lnTo>
                    <a:pt x="1328" y="566"/>
                  </a:lnTo>
                  <a:lnTo>
                    <a:pt x="1333" y="554"/>
                  </a:lnTo>
                  <a:lnTo>
                    <a:pt x="1338" y="541"/>
                  </a:lnTo>
                  <a:lnTo>
                    <a:pt x="1344" y="526"/>
                  </a:lnTo>
                  <a:lnTo>
                    <a:pt x="1348" y="510"/>
                  </a:lnTo>
                  <a:lnTo>
                    <a:pt x="1352" y="493"/>
                  </a:lnTo>
                  <a:lnTo>
                    <a:pt x="1357" y="473"/>
                  </a:lnTo>
                  <a:lnTo>
                    <a:pt x="1360" y="452"/>
                  </a:lnTo>
                  <a:lnTo>
                    <a:pt x="1363" y="430"/>
                  </a:lnTo>
                  <a:lnTo>
                    <a:pt x="1365" y="405"/>
                  </a:lnTo>
                  <a:lnTo>
                    <a:pt x="1366" y="379"/>
                  </a:lnTo>
                  <a:lnTo>
                    <a:pt x="1366" y="351"/>
                  </a:lnTo>
                  <a:lnTo>
                    <a:pt x="1365" y="314"/>
                  </a:lnTo>
                  <a:lnTo>
                    <a:pt x="1363" y="281"/>
                  </a:lnTo>
                  <a:lnTo>
                    <a:pt x="1360" y="251"/>
                  </a:lnTo>
                  <a:lnTo>
                    <a:pt x="1354" y="223"/>
                  </a:lnTo>
                  <a:lnTo>
                    <a:pt x="1349" y="199"/>
                  </a:lnTo>
                  <a:lnTo>
                    <a:pt x="1343" y="176"/>
                  </a:lnTo>
                  <a:lnTo>
                    <a:pt x="1336" y="157"/>
                  </a:lnTo>
                  <a:lnTo>
                    <a:pt x="1330" y="140"/>
                  </a:lnTo>
                  <a:lnTo>
                    <a:pt x="1322" y="125"/>
                  </a:lnTo>
                  <a:lnTo>
                    <a:pt x="1316" y="113"/>
                  </a:lnTo>
                  <a:lnTo>
                    <a:pt x="1309" y="103"/>
                  </a:lnTo>
                  <a:lnTo>
                    <a:pt x="1303" y="94"/>
                  </a:lnTo>
                  <a:lnTo>
                    <a:pt x="1294" y="83"/>
                  </a:lnTo>
                  <a:lnTo>
                    <a:pt x="1290" y="80"/>
                  </a:lnTo>
                  <a:lnTo>
                    <a:pt x="1288" y="78"/>
                  </a:lnTo>
                  <a:lnTo>
                    <a:pt x="1284" y="78"/>
                  </a:lnTo>
                  <a:lnTo>
                    <a:pt x="777" y="78"/>
                  </a:lnTo>
                  <a:lnTo>
                    <a:pt x="777" y="57"/>
                  </a:lnTo>
                  <a:lnTo>
                    <a:pt x="783" y="57"/>
                  </a:lnTo>
                  <a:lnTo>
                    <a:pt x="788" y="55"/>
                  </a:lnTo>
                  <a:lnTo>
                    <a:pt x="793" y="52"/>
                  </a:lnTo>
                  <a:lnTo>
                    <a:pt x="796" y="49"/>
                  </a:lnTo>
                  <a:lnTo>
                    <a:pt x="800" y="44"/>
                  </a:lnTo>
                  <a:lnTo>
                    <a:pt x="803" y="40"/>
                  </a:lnTo>
                  <a:lnTo>
                    <a:pt x="804" y="35"/>
                  </a:lnTo>
                  <a:lnTo>
                    <a:pt x="805" y="29"/>
                  </a:lnTo>
                  <a:lnTo>
                    <a:pt x="804" y="24"/>
                  </a:lnTo>
                  <a:lnTo>
                    <a:pt x="802" y="19"/>
                  </a:lnTo>
                  <a:lnTo>
                    <a:pt x="800" y="13"/>
                  </a:lnTo>
                  <a:lnTo>
                    <a:pt x="796" y="9"/>
                  </a:lnTo>
                  <a:lnTo>
                    <a:pt x="792" y="6"/>
                  </a:lnTo>
                  <a:lnTo>
                    <a:pt x="787" y="2"/>
                  </a:lnTo>
                  <a:lnTo>
                    <a:pt x="781" y="1"/>
                  </a:lnTo>
                  <a:lnTo>
                    <a:pt x="776" y="0"/>
                  </a:lnTo>
                  <a:lnTo>
                    <a:pt x="590" y="0"/>
                  </a:lnTo>
                  <a:lnTo>
                    <a:pt x="585" y="1"/>
                  </a:lnTo>
                  <a:lnTo>
                    <a:pt x="579" y="2"/>
                  </a:lnTo>
                  <a:lnTo>
                    <a:pt x="575" y="6"/>
                  </a:lnTo>
                  <a:lnTo>
                    <a:pt x="571" y="9"/>
                  </a:lnTo>
                  <a:lnTo>
                    <a:pt x="566" y="13"/>
                  </a:lnTo>
                  <a:lnTo>
                    <a:pt x="564" y="19"/>
                  </a:lnTo>
                  <a:lnTo>
                    <a:pt x="562" y="24"/>
                  </a:lnTo>
                  <a:lnTo>
                    <a:pt x="562" y="29"/>
                  </a:lnTo>
                  <a:lnTo>
                    <a:pt x="562" y="35"/>
                  </a:lnTo>
                  <a:lnTo>
                    <a:pt x="564" y="40"/>
                  </a:lnTo>
                  <a:lnTo>
                    <a:pt x="566" y="46"/>
                  </a:lnTo>
                  <a:lnTo>
                    <a:pt x="571" y="50"/>
                  </a:lnTo>
                  <a:lnTo>
                    <a:pt x="575" y="53"/>
                  </a:lnTo>
                  <a:lnTo>
                    <a:pt x="579" y="56"/>
                  </a:lnTo>
                  <a:lnTo>
                    <a:pt x="585" y="57"/>
                  </a:lnTo>
                  <a:lnTo>
                    <a:pt x="590" y="59"/>
                  </a:lnTo>
                  <a:lnTo>
                    <a:pt x="591" y="59"/>
                  </a:lnTo>
                  <a:lnTo>
                    <a:pt x="591" y="78"/>
                  </a:lnTo>
                  <a:lnTo>
                    <a:pt x="83" y="78"/>
                  </a:lnTo>
                  <a:lnTo>
                    <a:pt x="78" y="79"/>
                  </a:lnTo>
                  <a:lnTo>
                    <a:pt x="75" y="81"/>
                  </a:lnTo>
                  <a:lnTo>
                    <a:pt x="69" y="88"/>
                  </a:lnTo>
                  <a:lnTo>
                    <a:pt x="59" y="101"/>
                  </a:lnTo>
                  <a:lnTo>
                    <a:pt x="54" y="109"/>
                  </a:lnTo>
                  <a:lnTo>
                    <a:pt x="47" y="120"/>
                  </a:lnTo>
                  <a:lnTo>
                    <a:pt x="41" y="133"/>
                  </a:lnTo>
                  <a:lnTo>
                    <a:pt x="34" y="148"/>
                  </a:lnTo>
                  <a:lnTo>
                    <a:pt x="27" y="164"/>
                  </a:lnTo>
                  <a:lnTo>
                    <a:pt x="21" y="184"/>
                  </a:lnTo>
                  <a:lnTo>
                    <a:pt x="15" y="205"/>
                  </a:lnTo>
                  <a:lnTo>
                    <a:pt x="10" y="229"/>
                  </a:lnTo>
                  <a:lnTo>
                    <a:pt x="6" y="256"/>
                  </a:lnTo>
                  <a:lnTo>
                    <a:pt x="3" y="285"/>
                  </a:lnTo>
                  <a:lnTo>
                    <a:pt x="1" y="317"/>
                  </a:lnTo>
                  <a:lnTo>
                    <a:pt x="0" y="351"/>
                  </a:lnTo>
                  <a:lnTo>
                    <a:pt x="0" y="379"/>
                  </a:lnTo>
                  <a:lnTo>
                    <a:pt x="2" y="405"/>
                  </a:lnTo>
                  <a:lnTo>
                    <a:pt x="4" y="429"/>
                  </a:lnTo>
                  <a:lnTo>
                    <a:pt x="6" y="452"/>
                  </a:lnTo>
                  <a:lnTo>
                    <a:pt x="9" y="472"/>
                  </a:lnTo>
                  <a:lnTo>
                    <a:pt x="14" y="491"/>
                  </a:lnTo>
                  <a:lnTo>
                    <a:pt x="18" y="509"/>
                  </a:lnTo>
                  <a:lnTo>
                    <a:pt x="22" y="526"/>
                  </a:lnTo>
                  <a:lnTo>
                    <a:pt x="28" y="540"/>
                  </a:lnTo>
                  <a:lnTo>
                    <a:pt x="33" y="554"/>
                  </a:lnTo>
                  <a:lnTo>
                    <a:pt x="38" y="566"/>
                  </a:lnTo>
                  <a:lnTo>
                    <a:pt x="43" y="577"/>
                  </a:lnTo>
                  <a:lnTo>
                    <a:pt x="54" y="594"/>
                  </a:lnTo>
                  <a:lnTo>
                    <a:pt x="62" y="608"/>
                  </a:lnTo>
                  <a:lnTo>
                    <a:pt x="27" y="608"/>
                  </a:lnTo>
                  <a:lnTo>
                    <a:pt x="23" y="608"/>
                  </a:lnTo>
                  <a:lnTo>
                    <a:pt x="20" y="610"/>
                  </a:lnTo>
                  <a:lnTo>
                    <a:pt x="19" y="613"/>
                  </a:lnTo>
                  <a:lnTo>
                    <a:pt x="18" y="617"/>
                  </a:lnTo>
                  <a:lnTo>
                    <a:pt x="18" y="680"/>
                  </a:lnTo>
                  <a:lnTo>
                    <a:pt x="19" y="684"/>
                  </a:lnTo>
                  <a:lnTo>
                    <a:pt x="20" y="686"/>
                  </a:lnTo>
                  <a:lnTo>
                    <a:pt x="23" y="688"/>
                  </a:lnTo>
                  <a:lnTo>
                    <a:pt x="27" y="689"/>
                  </a:lnTo>
                  <a:lnTo>
                    <a:pt x="74" y="689"/>
                  </a:lnTo>
                  <a:lnTo>
                    <a:pt x="69" y="694"/>
                  </a:lnTo>
                  <a:lnTo>
                    <a:pt x="64" y="700"/>
                  </a:lnTo>
                  <a:lnTo>
                    <a:pt x="60" y="705"/>
                  </a:lnTo>
                  <a:lnTo>
                    <a:pt x="57" y="712"/>
                  </a:lnTo>
                  <a:lnTo>
                    <a:pt x="55" y="718"/>
                  </a:lnTo>
                  <a:lnTo>
                    <a:pt x="52" y="725"/>
                  </a:lnTo>
                  <a:lnTo>
                    <a:pt x="51" y="732"/>
                  </a:lnTo>
                  <a:lnTo>
                    <a:pt x="51" y="740"/>
                  </a:lnTo>
                  <a:lnTo>
                    <a:pt x="51" y="747"/>
                  </a:lnTo>
                  <a:lnTo>
                    <a:pt x="52" y="754"/>
                  </a:lnTo>
                  <a:lnTo>
                    <a:pt x="54" y="760"/>
                  </a:lnTo>
                  <a:lnTo>
                    <a:pt x="57" y="767"/>
                  </a:lnTo>
                  <a:lnTo>
                    <a:pt x="59" y="772"/>
                  </a:lnTo>
                  <a:lnTo>
                    <a:pt x="62" y="779"/>
                  </a:lnTo>
                  <a:lnTo>
                    <a:pt x="67" y="784"/>
                  </a:lnTo>
                  <a:lnTo>
                    <a:pt x="71" y="788"/>
                  </a:lnTo>
                  <a:lnTo>
                    <a:pt x="76" y="793"/>
                  </a:lnTo>
                  <a:lnTo>
                    <a:pt x="82" y="797"/>
                  </a:lnTo>
                  <a:lnTo>
                    <a:pt x="87" y="800"/>
                  </a:lnTo>
                  <a:lnTo>
                    <a:pt x="92" y="803"/>
                  </a:lnTo>
                  <a:lnTo>
                    <a:pt x="99" y="806"/>
                  </a:lnTo>
                  <a:lnTo>
                    <a:pt x="105" y="808"/>
                  </a:lnTo>
                  <a:lnTo>
                    <a:pt x="113" y="809"/>
                  </a:lnTo>
                  <a:lnTo>
                    <a:pt x="119" y="809"/>
                  </a:lnTo>
                  <a:lnTo>
                    <a:pt x="129" y="808"/>
                  </a:lnTo>
                  <a:lnTo>
                    <a:pt x="138" y="806"/>
                  </a:lnTo>
                  <a:lnTo>
                    <a:pt x="147" y="802"/>
                  </a:lnTo>
                  <a:lnTo>
                    <a:pt x="155" y="798"/>
                  </a:lnTo>
                  <a:lnTo>
                    <a:pt x="164" y="793"/>
                  </a:lnTo>
                  <a:lnTo>
                    <a:pt x="170" y="786"/>
                  </a:lnTo>
                  <a:lnTo>
                    <a:pt x="177" y="778"/>
                  </a:lnTo>
                  <a:lnTo>
                    <a:pt x="181" y="769"/>
                  </a:lnTo>
                  <a:lnTo>
                    <a:pt x="182" y="766"/>
                  </a:lnTo>
                  <a:lnTo>
                    <a:pt x="182" y="762"/>
                  </a:lnTo>
                  <a:lnTo>
                    <a:pt x="180" y="759"/>
                  </a:lnTo>
                  <a:lnTo>
                    <a:pt x="178" y="757"/>
                  </a:lnTo>
                  <a:lnTo>
                    <a:pt x="174" y="756"/>
                  </a:lnTo>
                  <a:lnTo>
                    <a:pt x="170" y="757"/>
                  </a:lnTo>
                  <a:lnTo>
                    <a:pt x="168" y="758"/>
                  </a:lnTo>
                  <a:lnTo>
                    <a:pt x="166" y="761"/>
                  </a:lnTo>
                  <a:lnTo>
                    <a:pt x="162" y="768"/>
                  </a:lnTo>
                  <a:lnTo>
                    <a:pt x="157" y="773"/>
                  </a:lnTo>
                  <a:lnTo>
                    <a:pt x="152" y="779"/>
                  </a:lnTo>
                  <a:lnTo>
                    <a:pt x="146" y="783"/>
                  </a:lnTo>
                  <a:lnTo>
                    <a:pt x="140" y="786"/>
                  </a:lnTo>
                  <a:lnTo>
                    <a:pt x="133" y="788"/>
                  </a:lnTo>
                  <a:lnTo>
                    <a:pt x="127" y="790"/>
                  </a:lnTo>
                  <a:lnTo>
                    <a:pt x="119" y="790"/>
                  </a:lnTo>
                  <a:lnTo>
                    <a:pt x="110" y="789"/>
                  </a:lnTo>
                  <a:lnTo>
                    <a:pt x="100" y="787"/>
                  </a:lnTo>
                  <a:lnTo>
                    <a:pt x="91" y="782"/>
                  </a:lnTo>
                  <a:lnTo>
                    <a:pt x="84" y="775"/>
                  </a:lnTo>
                  <a:lnTo>
                    <a:pt x="77" y="768"/>
                  </a:lnTo>
                  <a:lnTo>
                    <a:pt x="73" y="759"/>
                  </a:lnTo>
                  <a:lnTo>
                    <a:pt x="70" y="751"/>
                  </a:lnTo>
                  <a:lnTo>
                    <a:pt x="69" y="740"/>
                  </a:lnTo>
                  <a:lnTo>
                    <a:pt x="70" y="730"/>
                  </a:lnTo>
                  <a:lnTo>
                    <a:pt x="73" y="720"/>
                  </a:lnTo>
                  <a:lnTo>
                    <a:pt x="77" y="712"/>
                  </a:lnTo>
                  <a:lnTo>
                    <a:pt x="84" y="704"/>
                  </a:lnTo>
                  <a:lnTo>
                    <a:pt x="91" y="698"/>
                  </a:lnTo>
                  <a:lnTo>
                    <a:pt x="100" y="693"/>
                  </a:lnTo>
                  <a:lnTo>
                    <a:pt x="110" y="690"/>
                  </a:lnTo>
                  <a:lnTo>
                    <a:pt x="119" y="689"/>
                  </a:lnTo>
                  <a:lnTo>
                    <a:pt x="126" y="689"/>
                  </a:lnTo>
                  <a:lnTo>
                    <a:pt x="132" y="690"/>
                  </a:lnTo>
                  <a:lnTo>
                    <a:pt x="138" y="692"/>
                  </a:lnTo>
                  <a:lnTo>
                    <a:pt x="143" y="694"/>
                  </a:lnTo>
                  <a:lnTo>
                    <a:pt x="149" y="698"/>
                  </a:lnTo>
                  <a:lnTo>
                    <a:pt x="153" y="702"/>
                  </a:lnTo>
                  <a:lnTo>
                    <a:pt x="157" y="706"/>
                  </a:lnTo>
                  <a:lnTo>
                    <a:pt x="162" y="712"/>
                  </a:lnTo>
                  <a:lnTo>
                    <a:pt x="164" y="714"/>
                  </a:lnTo>
                  <a:lnTo>
                    <a:pt x="167" y="715"/>
                  </a:lnTo>
                  <a:lnTo>
                    <a:pt x="171" y="715"/>
                  </a:lnTo>
                  <a:lnTo>
                    <a:pt x="174" y="714"/>
                  </a:lnTo>
                  <a:lnTo>
                    <a:pt x="177" y="712"/>
                  </a:lnTo>
                  <a:lnTo>
                    <a:pt x="178" y="708"/>
                  </a:lnTo>
                  <a:lnTo>
                    <a:pt x="178" y="704"/>
                  </a:lnTo>
                  <a:lnTo>
                    <a:pt x="177" y="701"/>
                  </a:lnTo>
                  <a:lnTo>
                    <a:pt x="171" y="694"/>
                  </a:lnTo>
                  <a:lnTo>
                    <a:pt x="166" y="689"/>
                  </a:lnTo>
                  <a:lnTo>
                    <a:pt x="240" y="689"/>
                  </a:lnTo>
                  <a:lnTo>
                    <a:pt x="235" y="694"/>
                  </a:lnTo>
                  <a:lnTo>
                    <a:pt x="230" y="701"/>
                  </a:lnTo>
                  <a:lnTo>
                    <a:pt x="228" y="704"/>
                  </a:lnTo>
                  <a:lnTo>
                    <a:pt x="228" y="708"/>
                  </a:lnTo>
                  <a:lnTo>
                    <a:pt x="230" y="712"/>
                  </a:lnTo>
                  <a:lnTo>
                    <a:pt x="233" y="714"/>
                  </a:lnTo>
                  <a:lnTo>
                    <a:pt x="236" y="715"/>
                  </a:lnTo>
                  <a:lnTo>
                    <a:pt x="239" y="715"/>
                  </a:lnTo>
                  <a:lnTo>
                    <a:pt x="242" y="714"/>
                  </a:lnTo>
                  <a:lnTo>
                    <a:pt x="245" y="712"/>
                  </a:lnTo>
                  <a:lnTo>
                    <a:pt x="249" y="706"/>
                  </a:lnTo>
                  <a:lnTo>
                    <a:pt x="253" y="702"/>
                  </a:lnTo>
                  <a:lnTo>
                    <a:pt x="258" y="698"/>
                  </a:lnTo>
                  <a:lnTo>
                    <a:pt x="263" y="694"/>
                  </a:lnTo>
                  <a:lnTo>
                    <a:pt x="268" y="692"/>
                  </a:lnTo>
                  <a:lnTo>
                    <a:pt x="275" y="690"/>
                  </a:lnTo>
                  <a:lnTo>
                    <a:pt x="280" y="689"/>
                  </a:lnTo>
                  <a:lnTo>
                    <a:pt x="287" y="689"/>
                  </a:lnTo>
                  <a:lnTo>
                    <a:pt x="298" y="690"/>
                  </a:lnTo>
                  <a:lnTo>
                    <a:pt x="306" y="693"/>
                  </a:lnTo>
                  <a:lnTo>
                    <a:pt x="315" y="698"/>
                  </a:lnTo>
                  <a:lnTo>
                    <a:pt x="322" y="704"/>
                  </a:lnTo>
                  <a:lnTo>
                    <a:pt x="329" y="712"/>
                  </a:lnTo>
                  <a:lnTo>
                    <a:pt x="333" y="720"/>
                  </a:lnTo>
                  <a:lnTo>
                    <a:pt x="336" y="730"/>
                  </a:lnTo>
                  <a:lnTo>
                    <a:pt x="337" y="740"/>
                  </a:lnTo>
                  <a:lnTo>
                    <a:pt x="336" y="751"/>
                  </a:lnTo>
                  <a:lnTo>
                    <a:pt x="333" y="759"/>
                  </a:lnTo>
                  <a:lnTo>
                    <a:pt x="329" y="768"/>
                  </a:lnTo>
                  <a:lnTo>
                    <a:pt x="322" y="775"/>
                  </a:lnTo>
                  <a:lnTo>
                    <a:pt x="315" y="782"/>
                  </a:lnTo>
                  <a:lnTo>
                    <a:pt x="306" y="787"/>
                  </a:lnTo>
                  <a:lnTo>
                    <a:pt x="298" y="789"/>
                  </a:lnTo>
                  <a:lnTo>
                    <a:pt x="287" y="790"/>
                  </a:lnTo>
                  <a:lnTo>
                    <a:pt x="279" y="790"/>
                  </a:lnTo>
                  <a:lnTo>
                    <a:pt x="273" y="788"/>
                  </a:lnTo>
                  <a:lnTo>
                    <a:pt x="266" y="786"/>
                  </a:lnTo>
                  <a:lnTo>
                    <a:pt x="260" y="783"/>
                  </a:lnTo>
                  <a:lnTo>
                    <a:pt x="254" y="779"/>
                  </a:lnTo>
                  <a:lnTo>
                    <a:pt x="250" y="773"/>
                  </a:lnTo>
                  <a:lnTo>
                    <a:pt x="246" y="768"/>
                  </a:lnTo>
                  <a:lnTo>
                    <a:pt x="242" y="761"/>
                  </a:lnTo>
                  <a:lnTo>
                    <a:pt x="240" y="759"/>
                  </a:lnTo>
                  <a:lnTo>
                    <a:pt x="238" y="757"/>
                  </a:lnTo>
                  <a:lnTo>
                    <a:pt x="234" y="756"/>
                  </a:lnTo>
                  <a:lnTo>
                    <a:pt x="231" y="757"/>
                  </a:lnTo>
                  <a:lnTo>
                    <a:pt x="227" y="759"/>
                  </a:lnTo>
                  <a:lnTo>
                    <a:pt x="226" y="761"/>
                  </a:lnTo>
                  <a:lnTo>
                    <a:pt x="225" y="766"/>
                  </a:lnTo>
                  <a:lnTo>
                    <a:pt x="226" y="769"/>
                  </a:lnTo>
                  <a:lnTo>
                    <a:pt x="231" y="778"/>
                  </a:lnTo>
                  <a:lnTo>
                    <a:pt x="236" y="785"/>
                  </a:lnTo>
                  <a:lnTo>
                    <a:pt x="242" y="792"/>
                  </a:lnTo>
                  <a:lnTo>
                    <a:pt x="250" y="798"/>
                  </a:lnTo>
                  <a:lnTo>
                    <a:pt x="259" y="802"/>
                  </a:lnTo>
                  <a:lnTo>
                    <a:pt x="267" y="806"/>
                  </a:lnTo>
                  <a:lnTo>
                    <a:pt x="277" y="808"/>
                  </a:lnTo>
                  <a:lnTo>
                    <a:pt x="287" y="809"/>
                  </a:lnTo>
                  <a:lnTo>
                    <a:pt x="294" y="809"/>
                  </a:lnTo>
                  <a:lnTo>
                    <a:pt x="301" y="808"/>
                  </a:lnTo>
                  <a:lnTo>
                    <a:pt x="307" y="806"/>
                  </a:lnTo>
                  <a:lnTo>
                    <a:pt x="314" y="803"/>
                  </a:lnTo>
                  <a:lnTo>
                    <a:pt x="319" y="800"/>
                  </a:lnTo>
                  <a:lnTo>
                    <a:pt x="326" y="797"/>
                  </a:lnTo>
                  <a:lnTo>
                    <a:pt x="331" y="793"/>
                  </a:lnTo>
                  <a:lnTo>
                    <a:pt x="335" y="788"/>
                  </a:lnTo>
                  <a:lnTo>
                    <a:pt x="340" y="784"/>
                  </a:lnTo>
                  <a:lnTo>
                    <a:pt x="344" y="779"/>
                  </a:lnTo>
                  <a:lnTo>
                    <a:pt x="347" y="772"/>
                  </a:lnTo>
                  <a:lnTo>
                    <a:pt x="350" y="767"/>
                  </a:lnTo>
                  <a:lnTo>
                    <a:pt x="353" y="760"/>
                  </a:lnTo>
                  <a:lnTo>
                    <a:pt x="354" y="754"/>
                  </a:lnTo>
                  <a:lnTo>
                    <a:pt x="355" y="747"/>
                  </a:lnTo>
                  <a:lnTo>
                    <a:pt x="356" y="740"/>
                  </a:lnTo>
                  <a:lnTo>
                    <a:pt x="355" y="732"/>
                  </a:lnTo>
                  <a:lnTo>
                    <a:pt x="354" y="725"/>
                  </a:lnTo>
                  <a:lnTo>
                    <a:pt x="352" y="718"/>
                  </a:lnTo>
                  <a:lnTo>
                    <a:pt x="349" y="712"/>
                  </a:lnTo>
                  <a:lnTo>
                    <a:pt x="346" y="705"/>
                  </a:lnTo>
                  <a:lnTo>
                    <a:pt x="342" y="700"/>
                  </a:lnTo>
                  <a:lnTo>
                    <a:pt x="337" y="694"/>
                  </a:lnTo>
                  <a:lnTo>
                    <a:pt x="333" y="689"/>
                  </a:lnTo>
                  <a:lnTo>
                    <a:pt x="1028" y="689"/>
                  </a:lnTo>
                  <a:lnTo>
                    <a:pt x="1023" y="694"/>
                  </a:lnTo>
                  <a:lnTo>
                    <a:pt x="1019" y="700"/>
                  </a:lnTo>
                  <a:lnTo>
                    <a:pt x="1014" y="706"/>
                  </a:lnTo>
                  <a:lnTo>
                    <a:pt x="1011" y="713"/>
                  </a:lnTo>
                  <a:lnTo>
                    <a:pt x="1008" y="720"/>
                  </a:lnTo>
                  <a:lnTo>
                    <a:pt x="1006" y="728"/>
                  </a:lnTo>
                  <a:lnTo>
                    <a:pt x="1005" y="735"/>
                  </a:lnTo>
                  <a:lnTo>
                    <a:pt x="1004" y="744"/>
                  </a:lnTo>
                  <a:lnTo>
                    <a:pt x="1005" y="752"/>
                  </a:lnTo>
                  <a:lnTo>
                    <a:pt x="1006" y="758"/>
                  </a:lnTo>
                  <a:lnTo>
                    <a:pt x="1007" y="766"/>
                  </a:lnTo>
                  <a:lnTo>
                    <a:pt x="1010" y="772"/>
                  </a:lnTo>
                  <a:lnTo>
                    <a:pt x="1012" y="779"/>
                  </a:lnTo>
                  <a:lnTo>
                    <a:pt x="1017" y="784"/>
                  </a:lnTo>
                  <a:lnTo>
                    <a:pt x="1020" y="789"/>
                  </a:lnTo>
                  <a:lnTo>
                    <a:pt x="1025" y="795"/>
                  </a:lnTo>
                  <a:lnTo>
                    <a:pt x="1030" y="800"/>
                  </a:lnTo>
                  <a:lnTo>
                    <a:pt x="1035" y="803"/>
                  </a:lnTo>
                  <a:lnTo>
                    <a:pt x="1040" y="808"/>
                  </a:lnTo>
                  <a:lnTo>
                    <a:pt x="1047" y="811"/>
                  </a:lnTo>
                  <a:lnTo>
                    <a:pt x="1053" y="813"/>
                  </a:lnTo>
                  <a:lnTo>
                    <a:pt x="1060" y="815"/>
                  </a:lnTo>
                  <a:lnTo>
                    <a:pt x="1067" y="816"/>
                  </a:lnTo>
                  <a:lnTo>
                    <a:pt x="1074" y="816"/>
                  </a:lnTo>
                  <a:lnTo>
                    <a:pt x="1085" y="815"/>
                  </a:lnTo>
                  <a:lnTo>
                    <a:pt x="1093" y="814"/>
                  </a:lnTo>
                  <a:lnTo>
                    <a:pt x="1103" y="810"/>
                  </a:lnTo>
                  <a:lnTo>
                    <a:pt x="1112" y="806"/>
                  </a:lnTo>
                  <a:lnTo>
                    <a:pt x="1119" y="800"/>
                  </a:lnTo>
                  <a:lnTo>
                    <a:pt x="1126" y="794"/>
                  </a:lnTo>
                  <a:lnTo>
                    <a:pt x="1132" y="786"/>
                  </a:lnTo>
                  <a:lnTo>
                    <a:pt x="1137" y="776"/>
                  </a:lnTo>
                  <a:lnTo>
                    <a:pt x="1139" y="773"/>
                  </a:lnTo>
                  <a:lnTo>
                    <a:pt x="1137" y="770"/>
                  </a:lnTo>
                  <a:lnTo>
                    <a:pt x="1136" y="767"/>
                  </a:lnTo>
                  <a:lnTo>
                    <a:pt x="1133" y="765"/>
                  </a:lnTo>
                  <a:lnTo>
                    <a:pt x="1130" y="764"/>
                  </a:lnTo>
                  <a:lnTo>
                    <a:pt x="1127" y="765"/>
                  </a:lnTo>
                  <a:lnTo>
                    <a:pt x="1123" y="766"/>
                  </a:lnTo>
                  <a:lnTo>
                    <a:pt x="1121" y="769"/>
                  </a:lnTo>
                  <a:lnTo>
                    <a:pt x="1117" y="775"/>
                  </a:lnTo>
                  <a:lnTo>
                    <a:pt x="1113" y="782"/>
                  </a:lnTo>
                  <a:lnTo>
                    <a:pt x="1107" y="786"/>
                  </a:lnTo>
                  <a:lnTo>
                    <a:pt x="1102" y="790"/>
                  </a:lnTo>
                  <a:lnTo>
                    <a:pt x="1095" y="794"/>
                  </a:lnTo>
                  <a:lnTo>
                    <a:pt x="1089" y="796"/>
                  </a:lnTo>
                  <a:lnTo>
                    <a:pt x="1081" y="798"/>
                  </a:lnTo>
                  <a:lnTo>
                    <a:pt x="1074" y="798"/>
                  </a:lnTo>
                  <a:lnTo>
                    <a:pt x="1068" y="798"/>
                  </a:lnTo>
                  <a:lnTo>
                    <a:pt x="1064" y="797"/>
                  </a:lnTo>
                  <a:lnTo>
                    <a:pt x="1059" y="796"/>
                  </a:lnTo>
                  <a:lnTo>
                    <a:pt x="1054" y="794"/>
                  </a:lnTo>
                  <a:lnTo>
                    <a:pt x="1045" y="789"/>
                  </a:lnTo>
                  <a:lnTo>
                    <a:pt x="1037" y="782"/>
                  </a:lnTo>
                  <a:lnTo>
                    <a:pt x="1031" y="774"/>
                  </a:lnTo>
                  <a:lnTo>
                    <a:pt x="1026" y="765"/>
                  </a:lnTo>
                  <a:lnTo>
                    <a:pt x="1023" y="755"/>
                  </a:lnTo>
                  <a:lnTo>
                    <a:pt x="1022" y="744"/>
                  </a:lnTo>
                  <a:lnTo>
                    <a:pt x="1023" y="732"/>
                  </a:lnTo>
                  <a:lnTo>
                    <a:pt x="1026" y="722"/>
                  </a:lnTo>
                  <a:lnTo>
                    <a:pt x="1031" y="713"/>
                  </a:lnTo>
                  <a:lnTo>
                    <a:pt x="1037" y="705"/>
                  </a:lnTo>
                  <a:lnTo>
                    <a:pt x="1045" y="699"/>
                  </a:lnTo>
                  <a:lnTo>
                    <a:pt x="1054" y="693"/>
                  </a:lnTo>
                  <a:lnTo>
                    <a:pt x="1059" y="691"/>
                  </a:lnTo>
                  <a:lnTo>
                    <a:pt x="1064" y="690"/>
                  </a:lnTo>
                  <a:lnTo>
                    <a:pt x="1068" y="689"/>
                  </a:lnTo>
                  <a:lnTo>
                    <a:pt x="1074" y="689"/>
                  </a:lnTo>
                  <a:lnTo>
                    <a:pt x="1081" y="689"/>
                  </a:lnTo>
                  <a:lnTo>
                    <a:pt x="1088" y="691"/>
                  </a:lnTo>
                  <a:lnTo>
                    <a:pt x="1094" y="693"/>
                  </a:lnTo>
                  <a:lnTo>
                    <a:pt x="1101" y="697"/>
                  </a:lnTo>
                  <a:lnTo>
                    <a:pt x="1106" y="701"/>
                  </a:lnTo>
                  <a:lnTo>
                    <a:pt x="1110" y="706"/>
                  </a:lnTo>
                  <a:lnTo>
                    <a:pt x="1115" y="712"/>
                  </a:lnTo>
                  <a:lnTo>
                    <a:pt x="1118" y="718"/>
                  </a:lnTo>
                  <a:lnTo>
                    <a:pt x="1120" y="721"/>
                  </a:lnTo>
                  <a:lnTo>
                    <a:pt x="1123" y="722"/>
                  </a:lnTo>
                  <a:lnTo>
                    <a:pt x="1127" y="724"/>
                  </a:lnTo>
                  <a:lnTo>
                    <a:pt x="1130" y="722"/>
                  </a:lnTo>
                  <a:lnTo>
                    <a:pt x="1133" y="720"/>
                  </a:lnTo>
                  <a:lnTo>
                    <a:pt x="1135" y="717"/>
                  </a:lnTo>
                  <a:lnTo>
                    <a:pt x="1135" y="714"/>
                  </a:lnTo>
                  <a:lnTo>
                    <a:pt x="1134" y="711"/>
                  </a:lnTo>
                  <a:lnTo>
                    <a:pt x="1132" y="704"/>
                  </a:lnTo>
                  <a:lnTo>
                    <a:pt x="1128" y="699"/>
                  </a:lnTo>
                  <a:lnTo>
                    <a:pt x="1123" y="693"/>
                  </a:lnTo>
                  <a:lnTo>
                    <a:pt x="1119" y="689"/>
                  </a:lnTo>
                  <a:lnTo>
                    <a:pt x="1199" y="689"/>
                  </a:lnTo>
                  <a:lnTo>
                    <a:pt x="1195" y="693"/>
                  </a:lnTo>
                  <a:lnTo>
                    <a:pt x="1190" y="699"/>
                  </a:lnTo>
                  <a:lnTo>
                    <a:pt x="1187" y="704"/>
                  </a:lnTo>
                  <a:lnTo>
                    <a:pt x="1185" y="711"/>
                  </a:lnTo>
                  <a:lnTo>
                    <a:pt x="1184" y="714"/>
                  </a:lnTo>
                  <a:lnTo>
                    <a:pt x="1185" y="717"/>
                  </a:lnTo>
                  <a:lnTo>
                    <a:pt x="1187" y="720"/>
                  </a:lnTo>
                  <a:lnTo>
                    <a:pt x="1189" y="722"/>
                  </a:lnTo>
                  <a:lnTo>
                    <a:pt x="1194" y="722"/>
                  </a:lnTo>
                  <a:lnTo>
                    <a:pt x="1197" y="722"/>
                  </a:lnTo>
                  <a:lnTo>
                    <a:pt x="1199" y="720"/>
                  </a:lnTo>
                  <a:lnTo>
                    <a:pt x="1201" y="717"/>
                  </a:lnTo>
                  <a:lnTo>
                    <a:pt x="1204" y="710"/>
                  </a:lnTo>
                  <a:lnTo>
                    <a:pt x="1210" y="704"/>
                  </a:lnTo>
                  <a:lnTo>
                    <a:pt x="1215" y="699"/>
                  </a:lnTo>
                  <a:lnTo>
                    <a:pt x="1221" y="695"/>
                  </a:lnTo>
                  <a:lnTo>
                    <a:pt x="1227" y="692"/>
                  </a:lnTo>
                  <a:lnTo>
                    <a:pt x="1234" y="690"/>
                  </a:lnTo>
                  <a:lnTo>
                    <a:pt x="1240" y="689"/>
                  </a:lnTo>
                  <a:lnTo>
                    <a:pt x="1245" y="689"/>
                  </a:lnTo>
                  <a:lnTo>
                    <a:pt x="1251" y="689"/>
                  </a:lnTo>
                  <a:lnTo>
                    <a:pt x="1256" y="690"/>
                  </a:lnTo>
                  <a:lnTo>
                    <a:pt x="1262" y="691"/>
                  </a:lnTo>
                  <a:lnTo>
                    <a:pt x="1266" y="693"/>
                  </a:lnTo>
                  <a:lnTo>
                    <a:pt x="1275" y="699"/>
                  </a:lnTo>
                  <a:lnTo>
                    <a:pt x="1282" y="705"/>
                  </a:lnTo>
                  <a:lnTo>
                    <a:pt x="1289" y="713"/>
                  </a:lnTo>
                  <a:lnTo>
                    <a:pt x="1294" y="722"/>
                  </a:lnTo>
                  <a:lnTo>
                    <a:pt x="1297" y="732"/>
                  </a:lnTo>
                  <a:lnTo>
                    <a:pt x="1298" y="744"/>
                  </a:lnTo>
                  <a:lnTo>
                    <a:pt x="1297" y="755"/>
                  </a:lnTo>
                  <a:lnTo>
                    <a:pt x="1294" y="765"/>
                  </a:lnTo>
                  <a:lnTo>
                    <a:pt x="1289" y="774"/>
                  </a:lnTo>
                  <a:lnTo>
                    <a:pt x="1282" y="782"/>
                  </a:lnTo>
                  <a:lnTo>
                    <a:pt x="1275" y="789"/>
                  </a:lnTo>
                  <a:lnTo>
                    <a:pt x="1266" y="794"/>
                  </a:lnTo>
                  <a:lnTo>
                    <a:pt x="1262" y="796"/>
                  </a:lnTo>
                  <a:lnTo>
                    <a:pt x="1256" y="797"/>
                  </a:lnTo>
                  <a:lnTo>
                    <a:pt x="1251" y="798"/>
                  </a:lnTo>
                  <a:lnTo>
                    <a:pt x="1245" y="798"/>
                  </a:lnTo>
                  <a:lnTo>
                    <a:pt x="1239" y="798"/>
                  </a:lnTo>
                  <a:lnTo>
                    <a:pt x="1231" y="796"/>
                  </a:lnTo>
                  <a:lnTo>
                    <a:pt x="1225" y="794"/>
                  </a:lnTo>
                  <a:lnTo>
                    <a:pt x="1218" y="790"/>
                  </a:lnTo>
                  <a:lnTo>
                    <a:pt x="1213" y="786"/>
                  </a:lnTo>
                  <a:lnTo>
                    <a:pt x="1208" y="781"/>
                  </a:lnTo>
                  <a:lnTo>
                    <a:pt x="1203" y="775"/>
                  </a:lnTo>
                  <a:lnTo>
                    <a:pt x="1200" y="769"/>
                  </a:lnTo>
                  <a:lnTo>
                    <a:pt x="1198" y="767"/>
                  </a:lnTo>
                  <a:lnTo>
                    <a:pt x="1196" y="765"/>
                  </a:lnTo>
                  <a:lnTo>
                    <a:pt x="1191" y="764"/>
                  </a:lnTo>
                  <a:lnTo>
                    <a:pt x="1188" y="765"/>
                  </a:lnTo>
                  <a:lnTo>
                    <a:pt x="1185" y="767"/>
                  </a:lnTo>
                  <a:lnTo>
                    <a:pt x="1184" y="770"/>
                  </a:lnTo>
                  <a:lnTo>
                    <a:pt x="1183" y="773"/>
                  </a:lnTo>
                  <a:lnTo>
                    <a:pt x="1184" y="776"/>
                  </a:lnTo>
                  <a:lnTo>
                    <a:pt x="1188" y="785"/>
                  </a:lnTo>
                  <a:lnTo>
                    <a:pt x="1194" y="793"/>
                  </a:lnTo>
                  <a:lnTo>
                    <a:pt x="1201" y="799"/>
                  </a:lnTo>
                  <a:lnTo>
                    <a:pt x="1209" y="806"/>
                  </a:lnTo>
                  <a:lnTo>
                    <a:pt x="1217" y="810"/>
                  </a:lnTo>
                  <a:lnTo>
                    <a:pt x="1226" y="813"/>
                  </a:lnTo>
                  <a:lnTo>
                    <a:pt x="1236" y="815"/>
                  </a:lnTo>
                  <a:lnTo>
                    <a:pt x="1245" y="816"/>
                  </a:lnTo>
                  <a:lnTo>
                    <a:pt x="1253" y="816"/>
                  </a:lnTo>
                  <a:lnTo>
                    <a:pt x="1259" y="815"/>
                  </a:lnTo>
                  <a:lnTo>
                    <a:pt x="1267" y="813"/>
                  </a:lnTo>
                  <a:lnTo>
                    <a:pt x="1274" y="811"/>
                  </a:lnTo>
                  <a:lnTo>
                    <a:pt x="1279" y="808"/>
                  </a:lnTo>
                  <a:lnTo>
                    <a:pt x="1285" y="803"/>
                  </a:lnTo>
                  <a:lnTo>
                    <a:pt x="1291" y="800"/>
                  </a:lnTo>
                  <a:lnTo>
                    <a:pt x="1295" y="795"/>
                  </a:lnTo>
                  <a:lnTo>
                    <a:pt x="1299" y="789"/>
                  </a:lnTo>
                  <a:lnTo>
                    <a:pt x="1304" y="784"/>
                  </a:lnTo>
                  <a:lnTo>
                    <a:pt x="1307" y="779"/>
                  </a:lnTo>
                  <a:lnTo>
                    <a:pt x="1310" y="772"/>
                  </a:lnTo>
                  <a:lnTo>
                    <a:pt x="1312" y="766"/>
                  </a:lnTo>
                  <a:lnTo>
                    <a:pt x="1315" y="758"/>
                  </a:lnTo>
                  <a:lnTo>
                    <a:pt x="1316" y="752"/>
                  </a:lnTo>
                  <a:lnTo>
                    <a:pt x="1316" y="744"/>
                  </a:lnTo>
                  <a:lnTo>
                    <a:pt x="1316" y="735"/>
                  </a:lnTo>
                  <a:lnTo>
                    <a:pt x="1315" y="728"/>
                  </a:lnTo>
                  <a:lnTo>
                    <a:pt x="1312" y="720"/>
                  </a:lnTo>
                  <a:lnTo>
                    <a:pt x="1309" y="713"/>
                  </a:lnTo>
                  <a:lnTo>
                    <a:pt x="1306" y="706"/>
                  </a:lnTo>
                  <a:lnTo>
                    <a:pt x="1302" y="700"/>
                  </a:lnTo>
                  <a:lnTo>
                    <a:pt x="1296" y="694"/>
                  </a:lnTo>
                  <a:lnTo>
                    <a:pt x="1292" y="689"/>
                  </a:lnTo>
                  <a:lnTo>
                    <a:pt x="1339" y="689"/>
                  </a:lnTo>
                  <a:lnTo>
                    <a:pt x="1343" y="688"/>
                  </a:lnTo>
                  <a:lnTo>
                    <a:pt x="1346" y="686"/>
                  </a:lnTo>
                  <a:lnTo>
                    <a:pt x="1348" y="684"/>
                  </a:lnTo>
                  <a:lnTo>
                    <a:pt x="1348" y="680"/>
                  </a:lnTo>
                  <a:lnTo>
                    <a:pt x="1348" y="617"/>
                  </a:lnTo>
                  <a:lnTo>
                    <a:pt x="1348" y="613"/>
                  </a:lnTo>
                  <a:lnTo>
                    <a:pt x="1346" y="610"/>
                  </a:lnTo>
                  <a:lnTo>
                    <a:pt x="1343" y="608"/>
                  </a:lnTo>
                  <a:lnTo>
                    <a:pt x="1339" y="608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4" name="Freeform 13"/>
            <p:cNvSpPr>
              <a:spLocks noEditPoints="1"/>
            </p:cNvSpPr>
            <p:nvPr/>
          </p:nvSpPr>
          <p:spPr bwMode="auto">
            <a:xfrm>
              <a:off x="374651" y="3421063"/>
              <a:ext cx="87313" cy="112713"/>
            </a:xfrm>
            <a:custGeom>
              <a:avLst/>
              <a:gdLst>
                <a:gd name="T0" fmla="*/ 63 w 164"/>
                <a:gd name="T1" fmla="*/ 48 h 213"/>
                <a:gd name="T2" fmla="*/ 32 w 164"/>
                <a:gd name="T3" fmla="*/ 95 h 213"/>
                <a:gd name="T4" fmla="*/ 23 w 164"/>
                <a:gd name="T5" fmla="*/ 116 h 213"/>
                <a:gd name="T6" fmla="*/ 19 w 164"/>
                <a:gd name="T7" fmla="*/ 128 h 213"/>
                <a:gd name="T8" fmla="*/ 18 w 164"/>
                <a:gd name="T9" fmla="*/ 140 h 213"/>
                <a:gd name="T10" fmla="*/ 22 w 164"/>
                <a:gd name="T11" fmla="*/ 152 h 213"/>
                <a:gd name="T12" fmla="*/ 26 w 164"/>
                <a:gd name="T13" fmla="*/ 163 h 213"/>
                <a:gd name="T14" fmla="*/ 33 w 164"/>
                <a:gd name="T15" fmla="*/ 173 h 213"/>
                <a:gd name="T16" fmla="*/ 42 w 164"/>
                <a:gd name="T17" fmla="*/ 181 h 213"/>
                <a:gd name="T18" fmla="*/ 52 w 164"/>
                <a:gd name="T19" fmla="*/ 188 h 213"/>
                <a:gd name="T20" fmla="*/ 64 w 164"/>
                <a:gd name="T21" fmla="*/ 192 h 213"/>
                <a:gd name="T22" fmla="*/ 76 w 164"/>
                <a:gd name="T23" fmla="*/ 194 h 213"/>
                <a:gd name="T24" fmla="*/ 89 w 164"/>
                <a:gd name="T25" fmla="*/ 194 h 213"/>
                <a:gd name="T26" fmla="*/ 101 w 164"/>
                <a:gd name="T27" fmla="*/ 192 h 213"/>
                <a:gd name="T28" fmla="*/ 112 w 164"/>
                <a:gd name="T29" fmla="*/ 188 h 213"/>
                <a:gd name="T30" fmla="*/ 122 w 164"/>
                <a:gd name="T31" fmla="*/ 181 h 213"/>
                <a:gd name="T32" fmla="*/ 131 w 164"/>
                <a:gd name="T33" fmla="*/ 173 h 213"/>
                <a:gd name="T34" fmla="*/ 138 w 164"/>
                <a:gd name="T35" fmla="*/ 163 h 213"/>
                <a:gd name="T36" fmla="*/ 143 w 164"/>
                <a:gd name="T37" fmla="*/ 152 h 213"/>
                <a:gd name="T38" fmla="*/ 146 w 164"/>
                <a:gd name="T39" fmla="*/ 140 h 213"/>
                <a:gd name="T40" fmla="*/ 146 w 164"/>
                <a:gd name="T41" fmla="*/ 128 h 213"/>
                <a:gd name="T42" fmla="*/ 141 w 164"/>
                <a:gd name="T43" fmla="*/ 116 h 213"/>
                <a:gd name="T44" fmla="*/ 132 w 164"/>
                <a:gd name="T45" fmla="*/ 95 h 213"/>
                <a:gd name="T46" fmla="*/ 101 w 164"/>
                <a:gd name="T47" fmla="*/ 48 h 213"/>
                <a:gd name="T48" fmla="*/ 82 w 164"/>
                <a:gd name="T49" fmla="*/ 213 h 213"/>
                <a:gd name="T50" fmla="*/ 66 w 164"/>
                <a:gd name="T51" fmla="*/ 211 h 213"/>
                <a:gd name="T52" fmla="*/ 51 w 164"/>
                <a:gd name="T53" fmla="*/ 207 h 213"/>
                <a:gd name="T54" fmla="*/ 37 w 164"/>
                <a:gd name="T55" fmla="*/ 200 h 213"/>
                <a:gd name="T56" fmla="*/ 25 w 164"/>
                <a:gd name="T57" fmla="*/ 190 h 213"/>
                <a:gd name="T58" fmla="*/ 14 w 164"/>
                <a:gd name="T59" fmla="*/ 178 h 213"/>
                <a:gd name="T60" fmla="*/ 6 w 164"/>
                <a:gd name="T61" fmla="*/ 164 h 213"/>
                <a:gd name="T62" fmla="*/ 2 w 164"/>
                <a:gd name="T63" fmla="*/ 150 h 213"/>
                <a:gd name="T64" fmla="*/ 0 w 164"/>
                <a:gd name="T65" fmla="*/ 134 h 213"/>
                <a:gd name="T66" fmla="*/ 3 w 164"/>
                <a:gd name="T67" fmla="*/ 116 h 213"/>
                <a:gd name="T68" fmla="*/ 11 w 164"/>
                <a:gd name="T69" fmla="*/ 97 h 213"/>
                <a:gd name="T70" fmla="*/ 35 w 164"/>
                <a:gd name="T71" fmla="*/ 56 h 213"/>
                <a:gd name="T72" fmla="*/ 76 w 164"/>
                <a:gd name="T73" fmla="*/ 2 h 213"/>
                <a:gd name="T74" fmla="*/ 82 w 164"/>
                <a:gd name="T75" fmla="*/ 0 h 213"/>
                <a:gd name="T76" fmla="*/ 89 w 164"/>
                <a:gd name="T77" fmla="*/ 2 h 213"/>
                <a:gd name="T78" fmla="*/ 130 w 164"/>
                <a:gd name="T79" fmla="*/ 56 h 213"/>
                <a:gd name="T80" fmla="*/ 153 w 164"/>
                <a:gd name="T81" fmla="*/ 97 h 213"/>
                <a:gd name="T82" fmla="*/ 161 w 164"/>
                <a:gd name="T83" fmla="*/ 116 h 213"/>
                <a:gd name="T84" fmla="*/ 164 w 164"/>
                <a:gd name="T85" fmla="*/ 134 h 213"/>
                <a:gd name="T86" fmla="*/ 162 w 164"/>
                <a:gd name="T87" fmla="*/ 150 h 213"/>
                <a:gd name="T88" fmla="*/ 158 w 164"/>
                <a:gd name="T89" fmla="*/ 164 h 213"/>
                <a:gd name="T90" fmla="*/ 150 w 164"/>
                <a:gd name="T91" fmla="*/ 178 h 213"/>
                <a:gd name="T92" fmla="*/ 139 w 164"/>
                <a:gd name="T93" fmla="*/ 190 h 213"/>
                <a:gd name="T94" fmla="*/ 127 w 164"/>
                <a:gd name="T95" fmla="*/ 200 h 213"/>
                <a:gd name="T96" fmla="*/ 113 w 164"/>
                <a:gd name="T97" fmla="*/ 207 h 213"/>
                <a:gd name="T98" fmla="*/ 98 w 164"/>
                <a:gd name="T99" fmla="*/ 211 h 213"/>
                <a:gd name="T100" fmla="*/ 82 w 164"/>
                <a:gd name="T101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13">
                  <a:moveTo>
                    <a:pt x="82" y="23"/>
                  </a:moveTo>
                  <a:lnTo>
                    <a:pt x="63" y="48"/>
                  </a:lnTo>
                  <a:lnTo>
                    <a:pt x="42" y="79"/>
                  </a:lnTo>
                  <a:lnTo>
                    <a:pt x="32" y="95"/>
                  </a:lnTo>
                  <a:lnTo>
                    <a:pt x="25" y="109"/>
                  </a:lnTo>
                  <a:lnTo>
                    <a:pt x="23" y="116"/>
                  </a:lnTo>
                  <a:lnTo>
                    <a:pt x="21" y="123"/>
                  </a:lnTo>
                  <a:lnTo>
                    <a:pt x="19" y="128"/>
                  </a:lnTo>
                  <a:lnTo>
                    <a:pt x="18" y="134"/>
                  </a:lnTo>
                  <a:lnTo>
                    <a:pt x="18" y="140"/>
                  </a:lnTo>
                  <a:lnTo>
                    <a:pt x="19" y="146"/>
                  </a:lnTo>
                  <a:lnTo>
                    <a:pt x="22" y="152"/>
                  </a:lnTo>
                  <a:lnTo>
                    <a:pt x="24" y="158"/>
                  </a:lnTo>
                  <a:lnTo>
                    <a:pt x="26" y="163"/>
                  </a:lnTo>
                  <a:lnTo>
                    <a:pt x="29" y="168"/>
                  </a:lnTo>
                  <a:lnTo>
                    <a:pt x="33" y="173"/>
                  </a:lnTo>
                  <a:lnTo>
                    <a:pt x="37" y="177"/>
                  </a:lnTo>
                  <a:lnTo>
                    <a:pt x="42" y="181"/>
                  </a:lnTo>
                  <a:lnTo>
                    <a:pt x="46" y="184"/>
                  </a:lnTo>
                  <a:lnTo>
                    <a:pt x="52" y="188"/>
                  </a:lnTo>
                  <a:lnTo>
                    <a:pt x="57" y="190"/>
                  </a:lnTo>
                  <a:lnTo>
                    <a:pt x="64" y="192"/>
                  </a:lnTo>
                  <a:lnTo>
                    <a:pt x="69" y="194"/>
                  </a:lnTo>
                  <a:lnTo>
                    <a:pt x="76" y="194"/>
                  </a:lnTo>
                  <a:lnTo>
                    <a:pt x="82" y="195"/>
                  </a:lnTo>
                  <a:lnTo>
                    <a:pt x="89" y="194"/>
                  </a:lnTo>
                  <a:lnTo>
                    <a:pt x="95" y="194"/>
                  </a:lnTo>
                  <a:lnTo>
                    <a:pt x="101" y="192"/>
                  </a:lnTo>
                  <a:lnTo>
                    <a:pt x="107" y="190"/>
                  </a:lnTo>
                  <a:lnTo>
                    <a:pt x="112" y="188"/>
                  </a:lnTo>
                  <a:lnTo>
                    <a:pt x="118" y="184"/>
                  </a:lnTo>
                  <a:lnTo>
                    <a:pt x="122" y="181"/>
                  </a:lnTo>
                  <a:lnTo>
                    <a:pt x="127" y="177"/>
                  </a:lnTo>
                  <a:lnTo>
                    <a:pt x="131" y="173"/>
                  </a:lnTo>
                  <a:lnTo>
                    <a:pt x="135" y="168"/>
                  </a:lnTo>
                  <a:lnTo>
                    <a:pt x="138" y="163"/>
                  </a:lnTo>
                  <a:lnTo>
                    <a:pt x="140" y="158"/>
                  </a:lnTo>
                  <a:lnTo>
                    <a:pt x="143" y="152"/>
                  </a:lnTo>
                  <a:lnTo>
                    <a:pt x="145" y="146"/>
                  </a:lnTo>
                  <a:lnTo>
                    <a:pt x="146" y="140"/>
                  </a:lnTo>
                  <a:lnTo>
                    <a:pt x="146" y="134"/>
                  </a:lnTo>
                  <a:lnTo>
                    <a:pt x="146" y="128"/>
                  </a:lnTo>
                  <a:lnTo>
                    <a:pt x="144" y="123"/>
                  </a:lnTo>
                  <a:lnTo>
                    <a:pt x="141" y="116"/>
                  </a:lnTo>
                  <a:lnTo>
                    <a:pt x="139" y="109"/>
                  </a:lnTo>
                  <a:lnTo>
                    <a:pt x="132" y="95"/>
                  </a:lnTo>
                  <a:lnTo>
                    <a:pt x="122" y="79"/>
                  </a:lnTo>
                  <a:lnTo>
                    <a:pt x="101" y="48"/>
                  </a:lnTo>
                  <a:lnTo>
                    <a:pt x="82" y="23"/>
                  </a:lnTo>
                  <a:close/>
                  <a:moveTo>
                    <a:pt x="82" y="213"/>
                  </a:moveTo>
                  <a:lnTo>
                    <a:pt x="73" y="213"/>
                  </a:lnTo>
                  <a:lnTo>
                    <a:pt x="66" y="211"/>
                  </a:lnTo>
                  <a:lnTo>
                    <a:pt x="58" y="209"/>
                  </a:lnTo>
                  <a:lnTo>
                    <a:pt x="51" y="207"/>
                  </a:lnTo>
                  <a:lnTo>
                    <a:pt x="43" y="204"/>
                  </a:lnTo>
                  <a:lnTo>
                    <a:pt x="37" y="200"/>
                  </a:lnTo>
                  <a:lnTo>
                    <a:pt x="30" y="195"/>
                  </a:lnTo>
                  <a:lnTo>
                    <a:pt x="25" y="190"/>
                  </a:lnTo>
                  <a:lnTo>
                    <a:pt x="19" y="184"/>
                  </a:lnTo>
                  <a:lnTo>
                    <a:pt x="14" y="178"/>
                  </a:lnTo>
                  <a:lnTo>
                    <a:pt x="11" y="172"/>
                  </a:lnTo>
                  <a:lnTo>
                    <a:pt x="6" y="164"/>
                  </a:lnTo>
                  <a:lnTo>
                    <a:pt x="4" y="158"/>
                  </a:lnTo>
                  <a:lnTo>
                    <a:pt x="2" y="150"/>
                  </a:lnTo>
                  <a:lnTo>
                    <a:pt x="1" y="141"/>
                  </a:lnTo>
                  <a:lnTo>
                    <a:pt x="0" y="134"/>
                  </a:lnTo>
                  <a:lnTo>
                    <a:pt x="1" y="125"/>
                  </a:lnTo>
                  <a:lnTo>
                    <a:pt x="3" y="116"/>
                  </a:lnTo>
                  <a:lnTo>
                    <a:pt x="6" y="107"/>
                  </a:lnTo>
                  <a:lnTo>
                    <a:pt x="11" y="97"/>
                  </a:lnTo>
                  <a:lnTo>
                    <a:pt x="22" y="77"/>
                  </a:lnTo>
                  <a:lnTo>
                    <a:pt x="35" y="56"/>
                  </a:lnTo>
                  <a:lnTo>
                    <a:pt x="60" y="21"/>
                  </a:lnTo>
                  <a:lnTo>
                    <a:pt x="76" y="2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89" y="2"/>
                  </a:lnTo>
                  <a:lnTo>
                    <a:pt x="104" y="21"/>
                  </a:lnTo>
                  <a:lnTo>
                    <a:pt x="130" y="56"/>
                  </a:lnTo>
                  <a:lnTo>
                    <a:pt x="143" y="77"/>
                  </a:lnTo>
                  <a:lnTo>
                    <a:pt x="153" y="97"/>
                  </a:lnTo>
                  <a:lnTo>
                    <a:pt x="158" y="107"/>
                  </a:lnTo>
                  <a:lnTo>
                    <a:pt x="161" y="116"/>
                  </a:lnTo>
                  <a:lnTo>
                    <a:pt x="163" y="125"/>
                  </a:lnTo>
                  <a:lnTo>
                    <a:pt x="164" y="134"/>
                  </a:lnTo>
                  <a:lnTo>
                    <a:pt x="163" y="141"/>
                  </a:lnTo>
                  <a:lnTo>
                    <a:pt x="162" y="150"/>
                  </a:lnTo>
                  <a:lnTo>
                    <a:pt x="160" y="158"/>
                  </a:lnTo>
                  <a:lnTo>
                    <a:pt x="158" y="164"/>
                  </a:lnTo>
                  <a:lnTo>
                    <a:pt x="153" y="172"/>
                  </a:lnTo>
                  <a:lnTo>
                    <a:pt x="150" y="178"/>
                  </a:lnTo>
                  <a:lnTo>
                    <a:pt x="145" y="184"/>
                  </a:lnTo>
                  <a:lnTo>
                    <a:pt x="139" y="190"/>
                  </a:lnTo>
                  <a:lnTo>
                    <a:pt x="134" y="195"/>
                  </a:lnTo>
                  <a:lnTo>
                    <a:pt x="127" y="200"/>
                  </a:lnTo>
                  <a:lnTo>
                    <a:pt x="121" y="204"/>
                  </a:lnTo>
                  <a:lnTo>
                    <a:pt x="113" y="207"/>
                  </a:lnTo>
                  <a:lnTo>
                    <a:pt x="106" y="209"/>
                  </a:lnTo>
                  <a:lnTo>
                    <a:pt x="98" y="211"/>
                  </a:lnTo>
                  <a:lnTo>
                    <a:pt x="91" y="213"/>
                  </a:lnTo>
                  <a:lnTo>
                    <a:pt x="82" y="213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5" name="Freeform 14"/>
            <p:cNvSpPr>
              <a:spLocks noEditPoints="1"/>
            </p:cNvSpPr>
            <p:nvPr/>
          </p:nvSpPr>
          <p:spPr bwMode="auto">
            <a:xfrm>
              <a:off x="107951" y="3635376"/>
              <a:ext cx="111125" cy="39688"/>
            </a:xfrm>
            <a:custGeom>
              <a:avLst/>
              <a:gdLst>
                <a:gd name="T0" fmla="*/ 32 w 208"/>
                <a:gd name="T1" fmla="*/ 18 h 76"/>
                <a:gd name="T2" fmla="*/ 26 w 208"/>
                <a:gd name="T3" fmla="*/ 21 h 76"/>
                <a:gd name="T4" fmla="*/ 21 w 208"/>
                <a:gd name="T5" fmla="*/ 27 h 76"/>
                <a:gd name="T6" fmla="*/ 18 w 208"/>
                <a:gd name="T7" fmla="*/ 34 h 76"/>
                <a:gd name="T8" fmla="*/ 18 w 208"/>
                <a:gd name="T9" fmla="*/ 42 h 76"/>
                <a:gd name="T10" fmla="*/ 21 w 208"/>
                <a:gd name="T11" fmla="*/ 49 h 76"/>
                <a:gd name="T12" fmla="*/ 26 w 208"/>
                <a:gd name="T13" fmla="*/ 55 h 76"/>
                <a:gd name="T14" fmla="*/ 32 w 208"/>
                <a:gd name="T15" fmla="*/ 58 h 76"/>
                <a:gd name="T16" fmla="*/ 173 w 208"/>
                <a:gd name="T17" fmla="*/ 58 h 76"/>
                <a:gd name="T18" fmla="*/ 179 w 208"/>
                <a:gd name="T19" fmla="*/ 57 h 76"/>
                <a:gd name="T20" fmla="*/ 185 w 208"/>
                <a:gd name="T21" fmla="*/ 53 h 76"/>
                <a:gd name="T22" fmla="*/ 189 w 208"/>
                <a:gd name="T23" fmla="*/ 46 h 76"/>
                <a:gd name="T24" fmla="*/ 190 w 208"/>
                <a:gd name="T25" fmla="*/ 39 h 76"/>
                <a:gd name="T26" fmla="*/ 189 w 208"/>
                <a:gd name="T27" fmla="*/ 30 h 76"/>
                <a:gd name="T28" fmla="*/ 185 w 208"/>
                <a:gd name="T29" fmla="*/ 23 h 76"/>
                <a:gd name="T30" fmla="*/ 179 w 208"/>
                <a:gd name="T31" fmla="*/ 19 h 76"/>
                <a:gd name="T32" fmla="*/ 173 w 208"/>
                <a:gd name="T33" fmla="*/ 18 h 76"/>
                <a:gd name="T34" fmla="*/ 173 w 208"/>
                <a:gd name="T35" fmla="*/ 76 h 76"/>
                <a:gd name="T36" fmla="*/ 28 w 208"/>
                <a:gd name="T37" fmla="*/ 75 h 76"/>
                <a:gd name="T38" fmla="*/ 16 w 208"/>
                <a:gd name="T39" fmla="*/ 70 h 76"/>
                <a:gd name="T40" fmla="*/ 6 w 208"/>
                <a:gd name="T41" fmla="*/ 59 h 76"/>
                <a:gd name="T42" fmla="*/ 1 w 208"/>
                <a:gd name="T43" fmla="*/ 46 h 76"/>
                <a:gd name="T44" fmla="*/ 1 w 208"/>
                <a:gd name="T45" fmla="*/ 30 h 76"/>
                <a:gd name="T46" fmla="*/ 6 w 208"/>
                <a:gd name="T47" fmla="*/ 17 h 76"/>
                <a:gd name="T48" fmla="*/ 16 w 208"/>
                <a:gd name="T49" fmla="*/ 6 h 76"/>
                <a:gd name="T50" fmla="*/ 28 w 208"/>
                <a:gd name="T51" fmla="*/ 1 h 76"/>
                <a:gd name="T52" fmla="*/ 173 w 208"/>
                <a:gd name="T53" fmla="*/ 0 h 76"/>
                <a:gd name="T54" fmla="*/ 187 w 208"/>
                <a:gd name="T55" fmla="*/ 3 h 76"/>
                <a:gd name="T56" fmla="*/ 197 w 208"/>
                <a:gd name="T57" fmla="*/ 10 h 76"/>
                <a:gd name="T58" fmla="*/ 205 w 208"/>
                <a:gd name="T59" fmla="*/ 23 h 76"/>
                <a:gd name="T60" fmla="*/ 208 w 208"/>
                <a:gd name="T61" fmla="*/ 39 h 76"/>
                <a:gd name="T62" fmla="*/ 205 w 208"/>
                <a:gd name="T63" fmla="*/ 53 h 76"/>
                <a:gd name="T64" fmla="*/ 197 w 208"/>
                <a:gd name="T65" fmla="*/ 66 h 76"/>
                <a:gd name="T66" fmla="*/ 187 w 208"/>
                <a:gd name="T67" fmla="*/ 73 h 76"/>
                <a:gd name="T68" fmla="*/ 173 w 208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6">
                  <a:moveTo>
                    <a:pt x="36" y="18"/>
                  </a:moveTo>
                  <a:lnTo>
                    <a:pt x="32" y="18"/>
                  </a:lnTo>
                  <a:lnTo>
                    <a:pt x="29" y="19"/>
                  </a:lnTo>
                  <a:lnTo>
                    <a:pt x="26" y="21"/>
                  </a:lnTo>
                  <a:lnTo>
                    <a:pt x="24" y="23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8" y="34"/>
                  </a:lnTo>
                  <a:lnTo>
                    <a:pt x="18" y="39"/>
                  </a:lnTo>
                  <a:lnTo>
                    <a:pt x="18" y="42"/>
                  </a:lnTo>
                  <a:lnTo>
                    <a:pt x="19" y="46"/>
                  </a:lnTo>
                  <a:lnTo>
                    <a:pt x="21" y="49"/>
                  </a:lnTo>
                  <a:lnTo>
                    <a:pt x="24" y="53"/>
                  </a:lnTo>
                  <a:lnTo>
                    <a:pt x="26" y="55"/>
                  </a:lnTo>
                  <a:lnTo>
                    <a:pt x="29" y="57"/>
                  </a:lnTo>
                  <a:lnTo>
                    <a:pt x="32" y="58"/>
                  </a:lnTo>
                  <a:lnTo>
                    <a:pt x="36" y="58"/>
                  </a:lnTo>
                  <a:lnTo>
                    <a:pt x="173" y="58"/>
                  </a:lnTo>
                  <a:lnTo>
                    <a:pt x="177" y="58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49"/>
                  </a:lnTo>
                  <a:lnTo>
                    <a:pt x="189" y="46"/>
                  </a:lnTo>
                  <a:lnTo>
                    <a:pt x="190" y="42"/>
                  </a:lnTo>
                  <a:lnTo>
                    <a:pt x="190" y="39"/>
                  </a:lnTo>
                  <a:lnTo>
                    <a:pt x="190" y="34"/>
                  </a:lnTo>
                  <a:lnTo>
                    <a:pt x="189" y="30"/>
                  </a:lnTo>
                  <a:lnTo>
                    <a:pt x="187" y="27"/>
                  </a:lnTo>
                  <a:lnTo>
                    <a:pt x="185" y="23"/>
                  </a:lnTo>
                  <a:lnTo>
                    <a:pt x="182" y="21"/>
                  </a:lnTo>
                  <a:lnTo>
                    <a:pt x="179" y="19"/>
                  </a:lnTo>
                  <a:lnTo>
                    <a:pt x="177" y="18"/>
                  </a:lnTo>
                  <a:lnTo>
                    <a:pt x="173" y="18"/>
                  </a:lnTo>
                  <a:lnTo>
                    <a:pt x="36" y="18"/>
                  </a:lnTo>
                  <a:close/>
                  <a:moveTo>
                    <a:pt x="173" y="76"/>
                  </a:moveTo>
                  <a:lnTo>
                    <a:pt x="36" y="76"/>
                  </a:lnTo>
                  <a:lnTo>
                    <a:pt x="28" y="75"/>
                  </a:lnTo>
                  <a:lnTo>
                    <a:pt x="21" y="73"/>
                  </a:lnTo>
                  <a:lnTo>
                    <a:pt x="16" y="70"/>
                  </a:lnTo>
                  <a:lnTo>
                    <a:pt x="11" y="66"/>
                  </a:lnTo>
                  <a:lnTo>
                    <a:pt x="6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9"/>
                  </a:lnTo>
                  <a:lnTo>
                    <a:pt x="1" y="30"/>
                  </a:lnTo>
                  <a:lnTo>
                    <a:pt x="3" y="23"/>
                  </a:lnTo>
                  <a:lnTo>
                    <a:pt x="6" y="17"/>
                  </a:lnTo>
                  <a:lnTo>
                    <a:pt x="11" y="10"/>
                  </a:lnTo>
                  <a:lnTo>
                    <a:pt x="16" y="6"/>
                  </a:lnTo>
                  <a:lnTo>
                    <a:pt x="21" y="3"/>
                  </a:lnTo>
                  <a:lnTo>
                    <a:pt x="28" y="1"/>
                  </a:lnTo>
                  <a:lnTo>
                    <a:pt x="36" y="0"/>
                  </a:lnTo>
                  <a:lnTo>
                    <a:pt x="173" y="0"/>
                  </a:lnTo>
                  <a:lnTo>
                    <a:pt x="180" y="1"/>
                  </a:lnTo>
                  <a:lnTo>
                    <a:pt x="187" y="3"/>
                  </a:lnTo>
                  <a:lnTo>
                    <a:pt x="193" y="6"/>
                  </a:lnTo>
                  <a:lnTo>
                    <a:pt x="197" y="10"/>
                  </a:lnTo>
                  <a:lnTo>
                    <a:pt x="202" y="17"/>
                  </a:lnTo>
                  <a:lnTo>
                    <a:pt x="205" y="23"/>
                  </a:lnTo>
                  <a:lnTo>
                    <a:pt x="207" y="30"/>
                  </a:lnTo>
                  <a:lnTo>
                    <a:pt x="208" y="39"/>
                  </a:lnTo>
                  <a:lnTo>
                    <a:pt x="207" y="46"/>
                  </a:lnTo>
                  <a:lnTo>
                    <a:pt x="205" y="53"/>
                  </a:lnTo>
                  <a:lnTo>
                    <a:pt x="202" y="59"/>
                  </a:lnTo>
                  <a:lnTo>
                    <a:pt x="197" y="66"/>
                  </a:lnTo>
                  <a:lnTo>
                    <a:pt x="193" y="70"/>
                  </a:lnTo>
                  <a:lnTo>
                    <a:pt x="187" y="73"/>
                  </a:lnTo>
                  <a:lnTo>
                    <a:pt x="180" y="75"/>
                  </a:lnTo>
                  <a:lnTo>
                    <a:pt x="173" y="76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6" name="Freeform 15"/>
            <p:cNvSpPr>
              <a:spLocks noEditPoints="1"/>
            </p:cNvSpPr>
            <p:nvPr/>
          </p:nvSpPr>
          <p:spPr bwMode="auto">
            <a:xfrm>
              <a:off x="612776" y="3638551"/>
              <a:ext cx="111125" cy="41275"/>
            </a:xfrm>
            <a:custGeom>
              <a:avLst/>
              <a:gdLst>
                <a:gd name="T0" fmla="*/ 32 w 208"/>
                <a:gd name="T1" fmla="*/ 19 h 77"/>
                <a:gd name="T2" fmla="*/ 25 w 208"/>
                <a:gd name="T3" fmla="*/ 22 h 77"/>
                <a:gd name="T4" fmla="*/ 21 w 208"/>
                <a:gd name="T5" fmla="*/ 27 h 77"/>
                <a:gd name="T6" fmla="*/ 19 w 208"/>
                <a:gd name="T7" fmla="*/ 35 h 77"/>
                <a:gd name="T8" fmla="*/ 19 w 208"/>
                <a:gd name="T9" fmla="*/ 42 h 77"/>
                <a:gd name="T10" fmla="*/ 21 w 208"/>
                <a:gd name="T11" fmla="*/ 50 h 77"/>
                <a:gd name="T12" fmla="*/ 25 w 208"/>
                <a:gd name="T13" fmla="*/ 55 h 77"/>
                <a:gd name="T14" fmla="*/ 32 w 208"/>
                <a:gd name="T15" fmla="*/ 59 h 77"/>
                <a:gd name="T16" fmla="*/ 173 w 208"/>
                <a:gd name="T17" fmla="*/ 59 h 77"/>
                <a:gd name="T18" fmla="*/ 179 w 208"/>
                <a:gd name="T19" fmla="*/ 57 h 77"/>
                <a:gd name="T20" fmla="*/ 185 w 208"/>
                <a:gd name="T21" fmla="*/ 53 h 77"/>
                <a:gd name="T22" fmla="*/ 188 w 208"/>
                <a:gd name="T23" fmla="*/ 47 h 77"/>
                <a:gd name="T24" fmla="*/ 189 w 208"/>
                <a:gd name="T25" fmla="*/ 39 h 77"/>
                <a:gd name="T26" fmla="*/ 188 w 208"/>
                <a:gd name="T27" fmla="*/ 30 h 77"/>
                <a:gd name="T28" fmla="*/ 185 w 208"/>
                <a:gd name="T29" fmla="*/ 24 h 77"/>
                <a:gd name="T30" fmla="*/ 179 w 208"/>
                <a:gd name="T31" fmla="*/ 20 h 77"/>
                <a:gd name="T32" fmla="*/ 173 w 208"/>
                <a:gd name="T33" fmla="*/ 19 h 77"/>
                <a:gd name="T34" fmla="*/ 173 w 208"/>
                <a:gd name="T35" fmla="*/ 77 h 77"/>
                <a:gd name="T36" fmla="*/ 27 w 208"/>
                <a:gd name="T37" fmla="*/ 76 h 77"/>
                <a:gd name="T38" fmla="*/ 15 w 208"/>
                <a:gd name="T39" fmla="*/ 70 h 77"/>
                <a:gd name="T40" fmla="*/ 6 w 208"/>
                <a:gd name="T41" fmla="*/ 60 h 77"/>
                <a:gd name="T42" fmla="*/ 0 w 208"/>
                <a:gd name="T43" fmla="*/ 47 h 77"/>
                <a:gd name="T44" fmla="*/ 0 w 208"/>
                <a:gd name="T45" fmla="*/ 32 h 77"/>
                <a:gd name="T46" fmla="*/ 6 w 208"/>
                <a:gd name="T47" fmla="*/ 17 h 77"/>
                <a:gd name="T48" fmla="*/ 15 w 208"/>
                <a:gd name="T49" fmla="*/ 7 h 77"/>
                <a:gd name="T50" fmla="*/ 27 w 208"/>
                <a:gd name="T51" fmla="*/ 1 h 77"/>
                <a:gd name="T52" fmla="*/ 173 w 208"/>
                <a:gd name="T53" fmla="*/ 0 h 77"/>
                <a:gd name="T54" fmla="*/ 186 w 208"/>
                <a:gd name="T55" fmla="*/ 3 h 77"/>
                <a:gd name="T56" fmla="*/ 198 w 208"/>
                <a:gd name="T57" fmla="*/ 12 h 77"/>
                <a:gd name="T58" fmla="*/ 205 w 208"/>
                <a:gd name="T59" fmla="*/ 24 h 77"/>
                <a:gd name="T60" fmla="*/ 208 w 208"/>
                <a:gd name="T61" fmla="*/ 39 h 77"/>
                <a:gd name="T62" fmla="*/ 205 w 208"/>
                <a:gd name="T63" fmla="*/ 53 h 77"/>
                <a:gd name="T64" fmla="*/ 198 w 208"/>
                <a:gd name="T65" fmla="*/ 66 h 77"/>
                <a:gd name="T66" fmla="*/ 186 w 208"/>
                <a:gd name="T67" fmla="*/ 74 h 77"/>
                <a:gd name="T68" fmla="*/ 173 w 208"/>
                <a:gd name="T6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7">
                  <a:moveTo>
                    <a:pt x="35" y="19"/>
                  </a:moveTo>
                  <a:lnTo>
                    <a:pt x="32" y="19"/>
                  </a:lnTo>
                  <a:lnTo>
                    <a:pt x="28" y="20"/>
                  </a:lnTo>
                  <a:lnTo>
                    <a:pt x="25" y="22"/>
                  </a:lnTo>
                  <a:lnTo>
                    <a:pt x="23" y="24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9" y="42"/>
                  </a:lnTo>
                  <a:lnTo>
                    <a:pt x="19" y="47"/>
                  </a:lnTo>
                  <a:lnTo>
                    <a:pt x="21" y="50"/>
                  </a:lnTo>
                  <a:lnTo>
                    <a:pt x="23" y="53"/>
                  </a:lnTo>
                  <a:lnTo>
                    <a:pt x="25" y="55"/>
                  </a:lnTo>
                  <a:lnTo>
                    <a:pt x="28" y="57"/>
                  </a:lnTo>
                  <a:lnTo>
                    <a:pt x="32" y="59"/>
                  </a:lnTo>
                  <a:lnTo>
                    <a:pt x="35" y="59"/>
                  </a:lnTo>
                  <a:lnTo>
                    <a:pt x="173" y="59"/>
                  </a:lnTo>
                  <a:lnTo>
                    <a:pt x="176" y="59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50"/>
                  </a:lnTo>
                  <a:lnTo>
                    <a:pt x="188" y="47"/>
                  </a:lnTo>
                  <a:lnTo>
                    <a:pt x="189" y="42"/>
                  </a:lnTo>
                  <a:lnTo>
                    <a:pt x="189" y="39"/>
                  </a:lnTo>
                  <a:lnTo>
                    <a:pt x="189" y="35"/>
                  </a:lnTo>
                  <a:lnTo>
                    <a:pt x="188" y="30"/>
                  </a:lnTo>
                  <a:lnTo>
                    <a:pt x="187" y="27"/>
                  </a:lnTo>
                  <a:lnTo>
                    <a:pt x="185" y="24"/>
                  </a:lnTo>
                  <a:lnTo>
                    <a:pt x="182" y="22"/>
                  </a:lnTo>
                  <a:lnTo>
                    <a:pt x="179" y="20"/>
                  </a:lnTo>
                  <a:lnTo>
                    <a:pt x="176" y="19"/>
                  </a:lnTo>
                  <a:lnTo>
                    <a:pt x="173" y="19"/>
                  </a:lnTo>
                  <a:lnTo>
                    <a:pt x="35" y="19"/>
                  </a:lnTo>
                  <a:close/>
                  <a:moveTo>
                    <a:pt x="173" y="77"/>
                  </a:moveTo>
                  <a:lnTo>
                    <a:pt x="35" y="77"/>
                  </a:lnTo>
                  <a:lnTo>
                    <a:pt x="27" y="76"/>
                  </a:lnTo>
                  <a:lnTo>
                    <a:pt x="21" y="74"/>
                  </a:lnTo>
                  <a:lnTo>
                    <a:pt x="15" y="70"/>
                  </a:lnTo>
                  <a:lnTo>
                    <a:pt x="10" y="66"/>
                  </a:lnTo>
                  <a:lnTo>
                    <a:pt x="6" y="60"/>
                  </a:lnTo>
                  <a:lnTo>
                    <a:pt x="2" y="53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6" y="17"/>
                  </a:lnTo>
                  <a:lnTo>
                    <a:pt x="10" y="12"/>
                  </a:lnTo>
                  <a:lnTo>
                    <a:pt x="15" y="7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5" y="0"/>
                  </a:lnTo>
                  <a:lnTo>
                    <a:pt x="173" y="0"/>
                  </a:lnTo>
                  <a:lnTo>
                    <a:pt x="179" y="1"/>
                  </a:lnTo>
                  <a:lnTo>
                    <a:pt x="186" y="3"/>
                  </a:lnTo>
                  <a:lnTo>
                    <a:pt x="192" y="7"/>
                  </a:lnTo>
                  <a:lnTo>
                    <a:pt x="198" y="12"/>
                  </a:lnTo>
                  <a:lnTo>
                    <a:pt x="202" y="17"/>
                  </a:lnTo>
                  <a:lnTo>
                    <a:pt x="205" y="24"/>
                  </a:lnTo>
                  <a:lnTo>
                    <a:pt x="206" y="32"/>
                  </a:lnTo>
                  <a:lnTo>
                    <a:pt x="208" y="39"/>
                  </a:lnTo>
                  <a:lnTo>
                    <a:pt x="206" y="47"/>
                  </a:lnTo>
                  <a:lnTo>
                    <a:pt x="205" y="53"/>
                  </a:lnTo>
                  <a:lnTo>
                    <a:pt x="202" y="60"/>
                  </a:lnTo>
                  <a:lnTo>
                    <a:pt x="198" y="66"/>
                  </a:lnTo>
                  <a:lnTo>
                    <a:pt x="192" y="70"/>
                  </a:lnTo>
                  <a:lnTo>
                    <a:pt x="186" y="74"/>
                  </a:lnTo>
                  <a:lnTo>
                    <a:pt x="179" y="76"/>
                  </a:lnTo>
                  <a:lnTo>
                    <a:pt x="173" y="77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257" name="opt_marketing"/>
          <p:cNvGrpSpPr>
            <a:grpSpLocks noChangeAspect="1"/>
          </p:cNvGrpSpPr>
          <p:nvPr/>
        </p:nvGrpSpPr>
        <p:grpSpPr>
          <a:xfrm>
            <a:off x="3902842" y="3294451"/>
            <a:ext cx="240352" cy="161925"/>
            <a:chOff x="55563" y="3265488"/>
            <a:chExt cx="723900" cy="431800"/>
          </a:xfrm>
          <a:solidFill>
            <a:srgbClr val="7030A0"/>
          </a:solidFill>
        </p:grpSpPr>
        <p:sp>
          <p:nvSpPr>
            <p:cNvPr id="258" name="Freeform 12"/>
            <p:cNvSpPr>
              <a:spLocks noEditPoints="1"/>
            </p:cNvSpPr>
            <p:nvPr/>
          </p:nvSpPr>
          <p:spPr bwMode="auto">
            <a:xfrm>
              <a:off x="55563" y="3265488"/>
              <a:ext cx="723900" cy="431800"/>
            </a:xfrm>
            <a:custGeom>
              <a:avLst/>
              <a:gdLst>
                <a:gd name="T0" fmla="*/ 23 w 1366"/>
                <a:gd name="T1" fmla="*/ 263 h 816"/>
                <a:gd name="T2" fmla="*/ 71 w 1366"/>
                <a:gd name="T3" fmla="*/ 115 h 816"/>
                <a:gd name="T4" fmla="*/ 1286 w 1366"/>
                <a:gd name="T5" fmla="*/ 103 h 816"/>
                <a:gd name="T6" fmla="*/ 1339 w 1366"/>
                <a:gd name="T7" fmla="*/ 239 h 816"/>
                <a:gd name="T8" fmla="*/ 1335 w 1366"/>
                <a:gd name="T9" fmla="*/ 488 h 816"/>
                <a:gd name="T10" fmla="*/ 1280 w 1366"/>
                <a:gd name="T11" fmla="*/ 608 h 816"/>
                <a:gd name="T12" fmla="*/ 36 w 1366"/>
                <a:gd name="T13" fmla="*/ 507 h 816"/>
                <a:gd name="T14" fmla="*/ 760 w 1366"/>
                <a:gd name="T15" fmla="*/ 78 h 816"/>
                <a:gd name="T16" fmla="*/ 580 w 1366"/>
                <a:gd name="T17" fmla="*/ 25 h 816"/>
                <a:gd name="T18" fmla="*/ 786 w 1366"/>
                <a:gd name="T19" fmla="*/ 34 h 816"/>
                <a:gd name="T20" fmla="*/ 1339 w 1366"/>
                <a:gd name="T21" fmla="*/ 608 h 816"/>
                <a:gd name="T22" fmla="*/ 1352 w 1366"/>
                <a:gd name="T23" fmla="*/ 493 h 816"/>
                <a:gd name="T24" fmla="*/ 1360 w 1366"/>
                <a:gd name="T25" fmla="*/ 251 h 816"/>
                <a:gd name="T26" fmla="*/ 1303 w 1366"/>
                <a:gd name="T27" fmla="*/ 94 h 816"/>
                <a:gd name="T28" fmla="*/ 793 w 1366"/>
                <a:gd name="T29" fmla="*/ 52 h 816"/>
                <a:gd name="T30" fmla="*/ 796 w 1366"/>
                <a:gd name="T31" fmla="*/ 9 h 816"/>
                <a:gd name="T32" fmla="*/ 571 w 1366"/>
                <a:gd name="T33" fmla="*/ 9 h 816"/>
                <a:gd name="T34" fmla="*/ 575 w 1366"/>
                <a:gd name="T35" fmla="*/ 53 h 816"/>
                <a:gd name="T36" fmla="*/ 69 w 1366"/>
                <a:gd name="T37" fmla="*/ 88 h 816"/>
                <a:gd name="T38" fmla="*/ 10 w 1366"/>
                <a:gd name="T39" fmla="*/ 229 h 816"/>
                <a:gd name="T40" fmla="*/ 9 w 1366"/>
                <a:gd name="T41" fmla="*/ 472 h 816"/>
                <a:gd name="T42" fmla="*/ 62 w 1366"/>
                <a:gd name="T43" fmla="*/ 608 h 816"/>
                <a:gd name="T44" fmla="*/ 23 w 1366"/>
                <a:gd name="T45" fmla="*/ 688 h 816"/>
                <a:gd name="T46" fmla="*/ 51 w 1366"/>
                <a:gd name="T47" fmla="*/ 732 h 816"/>
                <a:gd name="T48" fmla="*/ 71 w 1366"/>
                <a:gd name="T49" fmla="*/ 788 h 816"/>
                <a:gd name="T50" fmla="*/ 129 w 1366"/>
                <a:gd name="T51" fmla="*/ 808 h 816"/>
                <a:gd name="T52" fmla="*/ 182 w 1366"/>
                <a:gd name="T53" fmla="*/ 762 h 816"/>
                <a:gd name="T54" fmla="*/ 152 w 1366"/>
                <a:gd name="T55" fmla="*/ 779 h 816"/>
                <a:gd name="T56" fmla="*/ 84 w 1366"/>
                <a:gd name="T57" fmla="*/ 775 h 816"/>
                <a:gd name="T58" fmla="*/ 91 w 1366"/>
                <a:gd name="T59" fmla="*/ 698 h 816"/>
                <a:gd name="T60" fmla="*/ 153 w 1366"/>
                <a:gd name="T61" fmla="*/ 702 h 816"/>
                <a:gd name="T62" fmla="*/ 178 w 1366"/>
                <a:gd name="T63" fmla="*/ 704 h 816"/>
                <a:gd name="T64" fmla="*/ 230 w 1366"/>
                <a:gd name="T65" fmla="*/ 712 h 816"/>
                <a:gd name="T66" fmla="*/ 263 w 1366"/>
                <a:gd name="T67" fmla="*/ 694 h 816"/>
                <a:gd name="T68" fmla="*/ 329 w 1366"/>
                <a:gd name="T69" fmla="*/ 712 h 816"/>
                <a:gd name="T70" fmla="*/ 306 w 1366"/>
                <a:gd name="T71" fmla="*/ 787 h 816"/>
                <a:gd name="T72" fmla="*/ 246 w 1366"/>
                <a:gd name="T73" fmla="*/ 768 h 816"/>
                <a:gd name="T74" fmla="*/ 226 w 1366"/>
                <a:gd name="T75" fmla="*/ 769 h 816"/>
                <a:gd name="T76" fmla="*/ 294 w 1366"/>
                <a:gd name="T77" fmla="*/ 809 h 816"/>
                <a:gd name="T78" fmla="*/ 344 w 1366"/>
                <a:gd name="T79" fmla="*/ 779 h 816"/>
                <a:gd name="T80" fmla="*/ 352 w 1366"/>
                <a:gd name="T81" fmla="*/ 718 h 816"/>
                <a:gd name="T82" fmla="*/ 1014 w 1366"/>
                <a:gd name="T83" fmla="*/ 706 h 816"/>
                <a:gd name="T84" fmla="*/ 1010 w 1366"/>
                <a:gd name="T85" fmla="*/ 772 h 816"/>
                <a:gd name="T86" fmla="*/ 1053 w 1366"/>
                <a:gd name="T87" fmla="*/ 813 h 816"/>
                <a:gd name="T88" fmla="*/ 1126 w 1366"/>
                <a:gd name="T89" fmla="*/ 794 h 816"/>
                <a:gd name="T90" fmla="*/ 1123 w 1366"/>
                <a:gd name="T91" fmla="*/ 766 h 816"/>
                <a:gd name="T92" fmla="*/ 1074 w 1366"/>
                <a:gd name="T93" fmla="*/ 798 h 816"/>
                <a:gd name="T94" fmla="*/ 1023 w 1366"/>
                <a:gd name="T95" fmla="*/ 755 h 816"/>
                <a:gd name="T96" fmla="*/ 1064 w 1366"/>
                <a:gd name="T97" fmla="*/ 690 h 816"/>
                <a:gd name="T98" fmla="*/ 1115 w 1366"/>
                <a:gd name="T99" fmla="*/ 712 h 816"/>
                <a:gd name="T100" fmla="*/ 1134 w 1366"/>
                <a:gd name="T101" fmla="*/ 711 h 816"/>
                <a:gd name="T102" fmla="*/ 1185 w 1366"/>
                <a:gd name="T103" fmla="*/ 711 h 816"/>
                <a:gd name="T104" fmla="*/ 1204 w 1366"/>
                <a:gd name="T105" fmla="*/ 710 h 816"/>
                <a:gd name="T106" fmla="*/ 1256 w 1366"/>
                <a:gd name="T107" fmla="*/ 690 h 816"/>
                <a:gd name="T108" fmla="*/ 1297 w 1366"/>
                <a:gd name="T109" fmla="*/ 755 h 816"/>
                <a:gd name="T110" fmla="*/ 1245 w 1366"/>
                <a:gd name="T111" fmla="*/ 798 h 816"/>
                <a:gd name="T112" fmla="*/ 1198 w 1366"/>
                <a:gd name="T113" fmla="*/ 767 h 816"/>
                <a:gd name="T114" fmla="*/ 1194 w 1366"/>
                <a:gd name="T115" fmla="*/ 793 h 816"/>
                <a:gd name="T116" fmla="*/ 1267 w 1366"/>
                <a:gd name="T117" fmla="*/ 813 h 816"/>
                <a:gd name="T118" fmla="*/ 1310 w 1366"/>
                <a:gd name="T119" fmla="*/ 772 h 816"/>
                <a:gd name="T120" fmla="*/ 1306 w 1366"/>
                <a:gd name="T121" fmla="*/ 706 h 816"/>
                <a:gd name="T122" fmla="*/ 1348 w 1366"/>
                <a:gd name="T123" fmla="*/ 617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66" h="816">
                  <a:moveTo>
                    <a:pt x="1331" y="671"/>
                  </a:moveTo>
                  <a:lnTo>
                    <a:pt x="36" y="671"/>
                  </a:lnTo>
                  <a:lnTo>
                    <a:pt x="36" y="625"/>
                  </a:lnTo>
                  <a:lnTo>
                    <a:pt x="1331" y="625"/>
                  </a:lnTo>
                  <a:lnTo>
                    <a:pt x="1331" y="671"/>
                  </a:lnTo>
                  <a:close/>
                  <a:moveTo>
                    <a:pt x="18" y="351"/>
                  </a:moveTo>
                  <a:lnTo>
                    <a:pt x="18" y="320"/>
                  </a:lnTo>
                  <a:lnTo>
                    <a:pt x="20" y="290"/>
                  </a:lnTo>
                  <a:lnTo>
                    <a:pt x="23" y="263"/>
                  </a:lnTo>
                  <a:lnTo>
                    <a:pt x="27" y="238"/>
                  </a:lnTo>
                  <a:lnTo>
                    <a:pt x="31" y="215"/>
                  </a:lnTo>
                  <a:lnTo>
                    <a:pt x="36" y="196"/>
                  </a:lnTo>
                  <a:lnTo>
                    <a:pt x="42" y="177"/>
                  </a:lnTo>
                  <a:lnTo>
                    <a:pt x="48" y="161"/>
                  </a:lnTo>
                  <a:lnTo>
                    <a:pt x="54" y="147"/>
                  </a:lnTo>
                  <a:lnTo>
                    <a:pt x="60" y="134"/>
                  </a:lnTo>
                  <a:lnTo>
                    <a:pt x="65" y="124"/>
                  </a:lnTo>
                  <a:lnTo>
                    <a:pt x="71" y="115"/>
                  </a:lnTo>
                  <a:lnTo>
                    <a:pt x="81" y="103"/>
                  </a:lnTo>
                  <a:lnTo>
                    <a:pt x="87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691" y="95"/>
                  </a:lnTo>
                  <a:lnTo>
                    <a:pt x="1280" y="95"/>
                  </a:lnTo>
                  <a:lnTo>
                    <a:pt x="1286" y="103"/>
                  </a:lnTo>
                  <a:lnTo>
                    <a:pt x="1296" y="116"/>
                  </a:lnTo>
                  <a:lnTo>
                    <a:pt x="1302" y="124"/>
                  </a:lnTo>
                  <a:lnTo>
                    <a:pt x="1307" y="135"/>
                  </a:lnTo>
                  <a:lnTo>
                    <a:pt x="1313" y="148"/>
                  </a:lnTo>
                  <a:lnTo>
                    <a:pt x="1319" y="162"/>
                  </a:lnTo>
                  <a:lnTo>
                    <a:pt x="1324" y="178"/>
                  </a:lnTo>
                  <a:lnTo>
                    <a:pt x="1330" y="197"/>
                  </a:lnTo>
                  <a:lnTo>
                    <a:pt x="1335" y="216"/>
                  </a:lnTo>
                  <a:lnTo>
                    <a:pt x="1339" y="239"/>
                  </a:lnTo>
                  <a:lnTo>
                    <a:pt x="1344" y="264"/>
                  </a:lnTo>
                  <a:lnTo>
                    <a:pt x="1346" y="291"/>
                  </a:lnTo>
                  <a:lnTo>
                    <a:pt x="1348" y="320"/>
                  </a:lnTo>
                  <a:lnTo>
                    <a:pt x="1349" y="351"/>
                  </a:lnTo>
                  <a:lnTo>
                    <a:pt x="1348" y="383"/>
                  </a:lnTo>
                  <a:lnTo>
                    <a:pt x="1346" y="414"/>
                  </a:lnTo>
                  <a:lnTo>
                    <a:pt x="1343" y="441"/>
                  </a:lnTo>
                  <a:lnTo>
                    <a:pt x="1339" y="466"/>
                  </a:lnTo>
                  <a:lnTo>
                    <a:pt x="1335" y="488"/>
                  </a:lnTo>
                  <a:lnTo>
                    <a:pt x="1330" y="509"/>
                  </a:lnTo>
                  <a:lnTo>
                    <a:pt x="1324" y="526"/>
                  </a:lnTo>
                  <a:lnTo>
                    <a:pt x="1318" y="542"/>
                  </a:lnTo>
                  <a:lnTo>
                    <a:pt x="1312" y="557"/>
                  </a:lnTo>
                  <a:lnTo>
                    <a:pt x="1306" y="569"/>
                  </a:lnTo>
                  <a:lnTo>
                    <a:pt x="1301" y="580"/>
                  </a:lnTo>
                  <a:lnTo>
                    <a:pt x="1295" y="589"/>
                  </a:lnTo>
                  <a:lnTo>
                    <a:pt x="1285" y="600"/>
                  </a:lnTo>
                  <a:lnTo>
                    <a:pt x="1280" y="608"/>
                  </a:lnTo>
                  <a:lnTo>
                    <a:pt x="86" y="608"/>
                  </a:lnTo>
                  <a:lnTo>
                    <a:pt x="79" y="600"/>
                  </a:lnTo>
                  <a:lnTo>
                    <a:pt x="71" y="588"/>
                  </a:lnTo>
                  <a:lnTo>
                    <a:pt x="65" y="579"/>
                  </a:lnTo>
                  <a:lnTo>
                    <a:pt x="59" y="568"/>
                  </a:lnTo>
                  <a:lnTo>
                    <a:pt x="54" y="555"/>
                  </a:lnTo>
                  <a:lnTo>
                    <a:pt x="47" y="541"/>
                  </a:lnTo>
                  <a:lnTo>
                    <a:pt x="42" y="525"/>
                  </a:lnTo>
                  <a:lnTo>
                    <a:pt x="36" y="507"/>
                  </a:lnTo>
                  <a:lnTo>
                    <a:pt x="31" y="487"/>
                  </a:lnTo>
                  <a:lnTo>
                    <a:pt x="27" y="464"/>
                  </a:lnTo>
                  <a:lnTo>
                    <a:pt x="23" y="440"/>
                  </a:lnTo>
                  <a:lnTo>
                    <a:pt x="20" y="413"/>
                  </a:lnTo>
                  <a:lnTo>
                    <a:pt x="18" y="383"/>
                  </a:lnTo>
                  <a:lnTo>
                    <a:pt x="18" y="351"/>
                  </a:lnTo>
                  <a:close/>
                  <a:moveTo>
                    <a:pt x="608" y="59"/>
                  </a:moveTo>
                  <a:lnTo>
                    <a:pt x="760" y="59"/>
                  </a:lnTo>
                  <a:lnTo>
                    <a:pt x="760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91" y="78"/>
                  </a:lnTo>
                  <a:lnTo>
                    <a:pt x="608" y="78"/>
                  </a:lnTo>
                  <a:lnTo>
                    <a:pt x="608" y="59"/>
                  </a:lnTo>
                  <a:close/>
                  <a:moveTo>
                    <a:pt x="580" y="29"/>
                  </a:moveTo>
                  <a:lnTo>
                    <a:pt x="580" y="25"/>
                  </a:lnTo>
                  <a:lnTo>
                    <a:pt x="583" y="22"/>
                  </a:lnTo>
                  <a:lnTo>
                    <a:pt x="587" y="20"/>
                  </a:lnTo>
                  <a:lnTo>
                    <a:pt x="590" y="19"/>
                  </a:lnTo>
                  <a:lnTo>
                    <a:pt x="776" y="19"/>
                  </a:lnTo>
                  <a:lnTo>
                    <a:pt x="780" y="20"/>
                  </a:lnTo>
                  <a:lnTo>
                    <a:pt x="783" y="22"/>
                  </a:lnTo>
                  <a:lnTo>
                    <a:pt x="786" y="25"/>
                  </a:lnTo>
                  <a:lnTo>
                    <a:pt x="787" y="29"/>
                  </a:lnTo>
                  <a:lnTo>
                    <a:pt x="786" y="34"/>
                  </a:lnTo>
                  <a:lnTo>
                    <a:pt x="783" y="37"/>
                  </a:lnTo>
                  <a:lnTo>
                    <a:pt x="780" y="39"/>
                  </a:lnTo>
                  <a:lnTo>
                    <a:pt x="776" y="40"/>
                  </a:lnTo>
                  <a:lnTo>
                    <a:pt x="590" y="40"/>
                  </a:lnTo>
                  <a:lnTo>
                    <a:pt x="587" y="39"/>
                  </a:lnTo>
                  <a:lnTo>
                    <a:pt x="583" y="37"/>
                  </a:lnTo>
                  <a:lnTo>
                    <a:pt x="580" y="34"/>
                  </a:lnTo>
                  <a:lnTo>
                    <a:pt x="580" y="29"/>
                  </a:lnTo>
                  <a:close/>
                  <a:moveTo>
                    <a:pt x="1339" y="608"/>
                  </a:moveTo>
                  <a:lnTo>
                    <a:pt x="1304" y="608"/>
                  </a:lnTo>
                  <a:lnTo>
                    <a:pt x="1312" y="594"/>
                  </a:lnTo>
                  <a:lnTo>
                    <a:pt x="1323" y="577"/>
                  </a:lnTo>
                  <a:lnTo>
                    <a:pt x="1328" y="566"/>
                  </a:lnTo>
                  <a:lnTo>
                    <a:pt x="1333" y="554"/>
                  </a:lnTo>
                  <a:lnTo>
                    <a:pt x="1338" y="541"/>
                  </a:lnTo>
                  <a:lnTo>
                    <a:pt x="1344" y="526"/>
                  </a:lnTo>
                  <a:lnTo>
                    <a:pt x="1348" y="510"/>
                  </a:lnTo>
                  <a:lnTo>
                    <a:pt x="1352" y="493"/>
                  </a:lnTo>
                  <a:lnTo>
                    <a:pt x="1357" y="473"/>
                  </a:lnTo>
                  <a:lnTo>
                    <a:pt x="1360" y="452"/>
                  </a:lnTo>
                  <a:lnTo>
                    <a:pt x="1363" y="430"/>
                  </a:lnTo>
                  <a:lnTo>
                    <a:pt x="1365" y="405"/>
                  </a:lnTo>
                  <a:lnTo>
                    <a:pt x="1366" y="379"/>
                  </a:lnTo>
                  <a:lnTo>
                    <a:pt x="1366" y="351"/>
                  </a:lnTo>
                  <a:lnTo>
                    <a:pt x="1365" y="314"/>
                  </a:lnTo>
                  <a:lnTo>
                    <a:pt x="1363" y="281"/>
                  </a:lnTo>
                  <a:lnTo>
                    <a:pt x="1360" y="251"/>
                  </a:lnTo>
                  <a:lnTo>
                    <a:pt x="1354" y="223"/>
                  </a:lnTo>
                  <a:lnTo>
                    <a:pt x="1349" y="199"/>
                  </a:lnTo>
                  <a:lnTo>
                    <a:pt x="1343" y="176"/>
                  </a:lnTo>
                  <a:lnTo>
                    <a:pt x="1336" y="157"/>
                  </a:lnTo>
                  <a:lnTo>
                    <a:pt x="1330" y="140"/>
                  </a:lnTo>
                  <a:lnTo>
                    <a:pt x="1322" y="125"/>
                  </a:lnTo>
                  <a:lnTo>
                    <a:pt x="1316" y="113"/>
                  </a:lnTo>
                  <a:lnTo>
                    <a:pt x="1309" y="103"/>
                  </a:lnTo>
                  <a:lnTo>
                    <a:pt x="1303" y="94"/>
                  </a:lnTo>
                  <a:lnTo>
                    <a:pt x="1294" y="83"/>
                  </a:lnTo>
                  <a:lnTo>
                    <a:pt x="1290" y="80"/>
                  </a:lnTo>
                  <a:lnTo>
                    <a:pt x="1288" y="78"/>
                  </a:lnTo>
                  <a:lnTo>
                    <a:pt x="1284" y="78"/>
                  </a:lnTo>
                  <a:lnTo>
                    <a:pt x="777" y="78"/>
                  </a:lnTo>
                  <a:lnTo>
                    <a:pt x="777" y="57"/>
                  </a:lnTo>
                  <a:lnTo>
                    <a:pt x="783" y="57"/>
                  </a:lnTo>
                  <a:lnTo>
                    <a:pt x="788" y="55"/>
                  </a:lnTo>
                  <a:lnTo>
                    <a:pt x="793" y="52"/>
                  </a:lnTo>
                  <a:lnTo>
                    <a:pt x="796" y="49"/>
                  </a:lnTo>
                  <a:lnTo>
                    <a:pt x="800" y="44"/>
                  </a:lnTo>
                  <a:lnTo>
                    <a:pt x="803" y="40"/>
                  </a:lnTo>
                  <a:lnTo>
                    <a:pt x="804" y="35"/>
                  </a:lnTo>
                  <a:lnTo>
                    <a:pt x="805" y="29"/>
                  </a:lnTo>
                  <a:lnTo>
                    <a:pt x="804" y="24"/>
                  </a:lnTo>
                  <a:lnTo>
                    <a:pt x="802" y="19"/>
                  </a:lnTo>
                  <a:lnTo>
                    <a:pt x="800" y="13"/>
                  </a:lnTo>
                  <a:lnTo>
                    <a:pt x="796" y="9"/>
                  </a:lnTo>
                  <a:lnTo>
                    <a:pt x="792" y="6"/>
                  </a:lnTo>
                  <a:lnTo>
                    <a:pt x="787" y="2"/>
                  </a:lnTo>
                  <a:lnTo>
                    <a:pt x="781" y="1"/>
                  </a:lnTo>
                  <a:lnTo>
                    <a:pt x="776" y="0"/>
                  </a:lnTo>
                  <a:lnTo>
                    <a:pt x="590" y="0"/>
                  </a:lnTo>
                  <a:lnTo>
                    <a:pt x="585" y="1"/>
                  </a:lnTo>
                  <a:lnTo>
                    <a:pt x="579" y="2"/>
                  </a:lnTo>
                  <a:lnTo>
                    <a:pt x="575" y="6"/>
                  </a:lnTo>
                  <a:lnTo>
                    <a:pt x="571" y="9"/>
                  </a:lnTo>
                  <a:lnTo>
                    <a:pt x="566" y="13"/>
                  </a:lnTo>
                  <a:lnTo>
                    <a:pt x="564" y="19"/>
                  </a:lnTo>
                  <a:lnTo>
                    <a:pt x="562" y="24"/>
                  </a:lnTo>
                  <a:lnTo>
                    <a:pt x="562" y="29"/>
                  </a:lnTo>
                  <a:lnTo>
                    <a:pt x="562" y="35"/>
                  </a:lnTo>
                  <a:lnTo>
                    <a:pt x="564" y="40"/>
                  </a:lnTo>
                  <a:lnTo>
                    <a:pt x="566" y="46"/>
                  </a:lnTo>
                  <a:lnTo>
                    <a:pt x="571" y="50"/>
                  </a:lnTo>
                  <a:lnTo>
                    <a:pt x="575" y="53"/>
                  </a:lnTo>
                  <a:lnTo>
                    <a:pt x="579" y="56"/>
                  </a:lnTo>
                  <a:lnTo>
                    <a:pt x="585" y="57"/>
                  </a:lnTo>
                  <a:lnTo>
                    <a:pt x="590" y="59"/>
                  </a:lnTo>
                  <a:lnTo>
                    <a:pt x="591" y="59"/>
                  </a:lnTo>
                  <a:lnTo>
                    <a:pt x="591" y="78"/>
                  </a:lnTo>
                  <a:lnTo>
                    <a:pt x="83" y="78"/>
                  </a:lnTo>
                  <a:lnTo>
                    <a:pt x="78" y="79"/>
                  </a:lnTo>
                  <a:lnTo>
                    <a:pt x="75" y="81"/>
                  </a:lnTo>
                  <a:lnTo>
                    <a:pt x="69" y="88"/>
                  </a:lnTo>
                  <a:lnTo>
                    <a:pt x="59" y="101"/>
                  </a:lnTo>
                  <a:lnTo>
                    <a:pt x="54" y="109"/>
                  </a:lnTo>
                  <a:lnTo>
                    <a:pt x="47" y="120"/>
                  </a:lnTo>
                  <a:lnTo>
                    <a:pt x="41" y="133"/>
                  </a:lnTo>
                  <a:lnTo>
                    <a:pt x="34" y="148"/>
                  </a:lnTo>
                  <a:lnTo>
                    <a:pt x="27" y="164"/>
                  </a:lnTo>
                  <a:lnTo>
                    <a:pt x="21" y="184"/>
                  </a:lnTo>
                  <a:lnTo>
                    <a:pt x="15" y="205"/>
                  </a:lnTo>
                  <a:lnTo>
                    <a:pt x="10" y="229"/>
                  </a:lnTo>
                  <a:lnTo>
                    <a:pt x="6" y="256"/>
                  </a:lnTo>
                  <a:lnTo>
                    <a:pt x="3" y="285"/>
                  </a:lnTo>
                  <a:lnTo>
                    <a:pt x="1" y="317"/>
                  </a:lnTo>
                  <a:lnTo>
                    <a:pt x="0" y="351"/>
                  </a:lnTo>
                  <a:lnTo>
                    <a:pt x="0" y="379"/>
                  </a:lnTo>
                  <a:lnTo>
                    <a:pt x="2" y="405"/>
                  </a:lnTo>
                  <a:lnTo>
                    <a:pt x="4" y="429"/>
                  </a:lnTo>
                  <a:lnTo>
                    <a:pt x="6" y="452"/>
                  </a:lnTo>
                  <a:lnTo>
                    <a:pt x="9" y="472"/>
                  </a:lnTo>
                  <a:lnTo>
                    <a:pt x="14" y="491"/>
                  </a:lnTo>
                  <a:lnTo>
                    <a:pt x="18" y="509"/>
                  </a:lnTo>
                  <a:lnTo>
                    <a:pt x="22" y="526"/>
                  </a:lnTo>
                  <a:lnTo>
                    <a:pt x="28" y="540"/>
                  </a:lnTo>
                  <a:lnTo>
                    <a:pt x="33" y="554"/>
                  </a:lnTo>
                  <a:lnTo>
                    <a:pt x="38" y="566"/>
                  </a:lnTo>
                  <a:lnTo>
                    <a:pt x="43" y="577"/>
                  </a:lnTo>
                  <a:lnTo>
                    <a:pt x="54" y="594"/>
                  </a:lnTo>
                  <a:lnTo>
                    <a:pt x="62" y="608"/>
                  </a:lnTo>
                  <a:lnTo>
                    <a:pt x="27" y="608"/>
                  </a:lnTo>
                  <a:lnTo>
                    <a:pt x="23" y="608"/>
                  </a:lnTo>
                  <a:lnTo>
                    <a:pt x="20" y="610"/>
                  </a:lnTo>
                  <a:lnTo>
                    <a:pt x="19" y="613"/>
                  </a:lnTo>
                  <a:lnTo>
                    <a:pt x="18" y="617"/>
                  </a:lnTo>
                  <a:lnTo>
                    <a:pt x="18" y="680"/>
                  </a:lnTo>
                  <a:lnTo>
                    <a:pt x="19" y="684"/>
                  </a:lnTo>
                  <a:lnTo>
                    <a:pt x="20" y="686"/>
                  </a:lnTo>
                  <a:lnTo>
                    <a:pt x="23" y="688"/>
                  </a:lnTo>
                  <a:lnTo>
                    <a:pt x="27" y="689"/>
                  </a:lnTo>
                  <a:lnTo>
                    <a:pt x="74" y="689"/>
                  </a:lnTo>
                  <a:lnTo>
                    <a:pt x="69" y="694"/>
                  </a:lnTo>
                  <a:lnTo>
                    <a:pt x="64" y="700"/>
                  </a:lnTo>
                  <a:lnTo>
                    <a:pt x="60" y="705"/>
                  </a:lnTo>
                  <a:lnTo>
                    <a:pt x="57" y="712"/>
                  </a:lnTo>
                  <a:lnTo>
                    <a:pt x="55" y="718"/>
                  </a:lnTo>
                  <a:lnTo>
                    <a:pt x="52" y="725"/>
                  </a:lnTo>
                  <a:lnTo>
                    <a:pt x="51" y="732"/>
                  </a:lnTo>
                  <a:lnTo>
                    <a:pt x="51" y="740"/>
                  </a:lnTo>
                  <a:lnTo>
                    <a:pt x="51" y="747"/>
                  </a:lnTo>
                  <a:lnTo>
                    <a:pt x="52" y="754"/>
                  </a:lnTo>
                  <a:lnTo>
                    <a:pt x="54" y="760"/>
                  </a:lnTo>
                  <a:lnTo>
                    <a:pt x="57" y="767"/>
                  </a:lnTo>
                  <a:lnTo>
                    <a:pt x="59" y="772"/>
                  </a:lnTo>
                  <a:lnTo>
                    <a:pt x="62" y="779"/>
                  </a:lnTo>
                  <a:lnTo>
                    <a:pt x="67" y="784"/>
                  </a:lnTo>
                  <a:lnTo>
                    <a:pt x="71" y="788"/>
                  </a:lnTo>
                  <a:lnTo>
                    <a:pt x="76" y="793"/>
                  </a:lnTo>
                  <a:lnTo>
                    <a:pt x="82" y="797"/>
                  </a:lnTo>
                  <a:lnTo>
                    <a:pt x="87" y="800"/>
                  </a:lnTo>
                  <a:lnTo>
                    <a:pt x="92" y="803"/>
                  </a:lnTo>
                  <a:lnTo>
                    <a:pt x="99" y="806"/>
                  </a:lnTo>
                  <a:lnTo>
                    <a:pt x="105" y="808"/>
                  </a:lnTo>
                  <a:lnTo>
                    <a:pt x="113" y="809"/>
                  </a:lnTo>
                  <a:lnTo>
                    <a:pt x="119" y="809"/>
                  </a:lnTo>
                  <a:lnTo>
                    <a:pt x="129" y="808"/>
                  </a:lnTo>
                  <a:lnTo>
                    <a:pt x="138" y="806"/>
                  </a:lnTo>
                  <a:lnTo>
                    <a:pt x="147" y="802"/>
                  </a:lnTo>
                  <a:lnTo>
                    <a:pt x="155" y="798"/>
                  </a:lnTo>
                  <a:lnTo>
                    <a:pt x="164" y="793"/>
                  </a:lnTo>
                  <a:lnTo>
                    <a:pt x="170" y="786"/>
                  </a:lnTo>
                  <a:lnTo>
                    <a:pt x="177" y="778"/>
                  </a:lnTo>
                  <a:lnTo>
                    <a:pt x="181" y="769"/>
                  </a:lnTo>
                  <a:lnTo>
                    <a:pt x="182" y="766"/>
                  </a:lnTo>
                  <a:lnTo>
                    <a:pt x="182" y="762"/>
                  </a:lnTo>
                  <a:lnTo>
                    <a:pt x="180" y="759"/>
                  </a:lnTo>
                  <a:lnTo>
                    <a:pt x="178" y="757"/>
                  </a:lnTo>
                  <a:lnTo>
                    <a:pt x="174" y="756"/>
                  </a:lnTo>
                  <a:lnTo>
                    <a:pt x="170" y="757"/>
                  </a:lnTo>
                  <a:lnTo>
                    <a:pt x="168" y="758"/>
                  </a:lnTo>
                  <a:lnTo>
                    <a:pt x="166" y="761"/>
                  </a:lnTo>
                  <a:lnTo>
                    <a:pt x="162" y="768"/>
                  </a:lnTo>
                  <a:lnTo>
                    <a:pt x="157" y="773"/>
                  </a:lnTo>
                  <a:lnTo>
                    <a:pt x="152" y="779"/>
                  </a:lnTo>
                  <a:lnTo>
                    <a:pt x="146" y="783"/>
                  </a:lnTo>
                  <a:lnTo>
                    <a:pt x="140" y="786"/>
                  </a:lnTo>
                  <a:lnTo>
                    <a:pt x="133" y="788"/>
                  </a:lnTo>
                  <a:lnTo>
                    <a:pt x="127" y="790"/>
                  </a:lnTo>
                  <a:lnTo>
                    <a:pt x="119" y="790"/>
                  </a:lnTo>
                  <a:lnTo>
                    <a:pt x="110" y="789"/>
                  </a:lnTo>
                  <a:lnTo>
                    <a:pt x="100" y="787"/>
                  </a:lnTo>
                  <a:lnTo>
                    <a:pt x="91" y="782"/>
                  </a:lnTo>
                  <a:lnTo>
                    <a:pt x="84" y="775"/>
                  </a:lnTo>
                  <a:lnTo>
                    <a:pt x="77" y="768"/>
                  </a:lnTo>
                  <a:lnTo>
                    <a:pt x="73" y="759"/>
                  </a:lnTo>
                  <a:lnTo>
                    <a:pt x="70" y="751"/>
                  </a:lnTo>
                  <a:lnTo>
                    <a:pt x="69" y="740"/>
                  </a:lnTo>
                  <a:lnTo>
                    <a:pt x="70" y="730"/>
                  </a:lnTo>
                  <a:lnTo>
                    <a:pt x="73" y="720"/>
                  </a:lnTo>
                  <a:lnTo>
                    <a:pt x="77" y="712"/>
                  </a:lnTo>
                  <a:lnTo>
                    <a:pt x="84" y="704"/>
                  </a:lnTo>
                  <a:lnTo>
                    <a:pt x="91" y="698"/>
                  </a:lnTo>
                  <a:lnTo>
                    <a:pt x="100" y="693"/>
                  </a:lnTo>
                  <a:lnTo>
                    <a:pt x="110" y="690"/>
                  </a:lnTo>
                  <a:lnTo>
                    <a:pt x="119" y="689"/>
                  </a:lnTo>
                  <a:lnTo>
                    <a:pt x="126" y="689"/>
                  </a:lnTo>
                  <a:lnTo>
                    <a:pt x="132" y="690"/>
                  </a:lnTo>
                  <a:lnTo>
                    <a:pt x="138" y="692"/>
                  </a:lnTo>
                  <a:lnTo>
                    <a:pt x="143" y="694"/>
                  </a:lnTo>
                  <a:lnTo>
                    <a:pt x="149" y="698"/>
                  </a:lnTo>
                  <a:lnTo>
                    <a:pt x="153" y="702"/>
                  </a:lnTo>
                  <a:lnTo>
                    <a:pt x="157" y="706"/>
                  </a:lnTo>
                  <a:lnTo>
                    <a:pt x="162" y="712"/>
                  </a:lnTo>
                  <a:lnTo>
                    <a:pt x="164" y="714"/>
                  </a:lnTo>
                  <a:lnTo>
                    <a:pt x="167" y="715"/>
                  </a:lnTo>
                  <a:lnTo>
                    <a:pt x="171" y="715"/>
                  </a:lnTo>
                  <a:lnTo>
                    <a:pt x="174" y="714"/>
                  </a:lnTo>
                  <a:lnTo>
                    <a:pt x="177" y="712"/>
                  </a:lnTo>
                  <a:lnTo>
                    <a:pt x="178" y="708"/>
                  </a:lnTo>
                  <a:lnTo>
                    <a:pt x="178" y="704"/>
                  </a:lnTo>
                  <a:lnTo>
                    <a:pt x="177" y="701"/>
                  </a:lnTo>
                  <a:lnTo>
                    <a:pt x="171" y="694"/>
                  </a:lnTo>
                  <a:lnTo>
                    <a:pt x="166" y="689"/>
                  </a:lnTo>
                  <a:lnTo>
                    <a:pt x="240" y="689"/>
                  </a:lnTo>
                  <a:lnTo>
                    <a:pt x="235" y="694"/>
                  </a:lnTo>
                  <a:lnTo>
                    <a:pt x="230" y="701"/>
                  </a:lnTo>
                  <a:lnTo>
                    <a:pt x="228" y="704"/>
                  </a:lnTo>
                  <a:lnTo>
                    <a:pt x="228" y="708"/>
                  </a:lnTo>
                  <a:lnTo>
                    <a:pt x="230" y="712"/>
                  </a:lnTo>
                  <a:lnTo>
                    <a:pt x="233" y="714"/>
                  </a:lnTo>
                  <a:lnTo>
                    <a:pt x="236" y="715"/>
                  </a:lnTo>
                  <a:lnTo>
                    <a:pt x="239" y="715"/>
                  </a:lnTo>
                  <a:lnTo>
                    <a:pt x="242" y="714"/>
                  </a:lnTo>
                  <a:lnTo>
                    <a:pt x="245" y="712"/>
                  </a:lnTo>
                  <a:lnTo>
                    <a:pt x="249" y="706"/>
                  </a:lnTo>
                  <a:lnTo>
                    <a:pt x="253" y="702"/>
                  </a:lnTo>
                  <a:lnTo>
                    <a:pt x="258" y="698"/>
                  </a:lnTo>
                  <a:lnTo>
                    <a:pt x="263" y="694"/>
                  </a:lnTo>
                  <a:lnTo>
                    <a:pt x="268" y="692"/>
                  </a:lnTo>
                  <a:lnTo>
                    <a:pt x="275" y="690"/>
                  </a:lnTo>
                  <a:lnTo>
                    <a:pt x="280" y="689"/>
                  </a:lnTo>
                  <a:lnTo>
                    <a:pt x="287" y="689"/>
                  </a:lnTo>
                  <a:lnTo>
                    <a:pt x="298" y="690"/>
                  </a:lnTo>
                  <a:lnTo>
                    <a:pt x="306" y="693"/>
                  </a:lnTo>
                  <a:lnTo>
                    <a:pt x="315" y="698"/>
                  </a:lnTo>
                  <a:lnTo>
                    <a:pt x="322" y="704"/>
                  </a:lnTo>
                  <a:lnTo>
                    <a:pt x="329" y="712"/>
                  </a:lnTo>
                  <a:lnTo>
                    <a:pt x="333" y="720"/>
                  </a:lnTo>
                  <a:lnTo>
                    <a:pt x="336" y="730"/>
                  </a:lnTo>
                  <a:lnTo>
                    <a:pt x="337" y="740"/>
                  </a:lnTo>
                  <a:lnTo>
                    <a:pt x="336" y="751"/>
                  </a:lnTo>
                  <a:lnTo>
                    <a:pt x="333" y="759"/>
                  </a:lnTo>
                  <a:lnTo>
                    <a:pt x="329" y="768"/>
                  </a:lnTo>
                  <a:lnTo>
                    <a:pt x="322" y="775"/>
                  </a:lnTo>
                  <a:lnTo>
                    <a:pt x="315" y="782"/>
                  </a:lnTo>
                  <a:lnTo>
                    <a:pt x="306" y="787"/>
                  </a:lnTo>
                  <a:lnTo>
                    <a:pt x="298" y="789"/>
                  </a:lnTo>
                  <a:lnTo>
                    <a:pt x="287" y="790"/>
                  </a:lnTo>
                  <a:lnTo>
                    <a:pt x="279" y="790"/>
                  </a:lnTo>
                  <a:lnTo>
                    <a:pt x="273" y="788"/>
                  </a:lnTo>
                  <a:lnTo>
                    <a:pt x="266" y="786"/>
                  </a:lnTo>
                  <a:lnTo>
                    <a:pt x="260" y="783"/>
                  </a:lnTo>
                  <a:lnTo>
                    <a:pt x="254" y="779"/>
                  </a:lnTo>
                  <a:lnTo>
                    <a:pt x="250" y="773"/>
                  </a:lnTo>
                  <a:lnTo>
                    <a:pt x="246" y="768"/>
                  </a:lnTo>
                  <a:lnTo>
                    <a:pt x="242" y="761"/>
                  </a:lnTo>
                  <a:lnTo>
                    <a:pt x="240" y="759"/>
                  </a:lnTo>
                  <a:lnTo>
                    <a:pt x="238" y="757"/>
                  </a:lnTo>
                  <a:lnTo>
                    <a:pt x="234" y="756"/>
                  </a:lnTo>
                  <a:lnTo>
                    <a:pt x="231" y="757"/>
                  </a:lnTo>
                  <a:lnTo>
                    <a:pt x="227" y="759"/>
                  </a:lnTo>
                  <a:lnTo>
                    <a:pt x="226" y="761"/>
                  </a:lnTo>
                  <a:lnTo>
                    <a:pt x="225" y="766"/>
                  </a:lnTo>
                  <a:lnTo>
                    <a:pt x="226" y="769"/>
                  </a:lnTo>
                  <a:lnTo>
                    <a:pt x="231" y="778"/>
                  </a:lnTo>
                  <a:lnTo>
                    <a:pt x="236" y="785"/>
                  </a:lnTo>
                  <a:lnTo>
                    <a:pt x="242" y="792"/>
                  </a:lnTo>
                  <a:lnTo>
                    <a:pt x="250" y="798"/>
                  </a:lnTo>
                  <a:lnTo>
                    <a:pt x="259" y="802"/>
                  </a:lnTo>
                  <a:lnTo>
                    <a:pt x="267" y="806"/>
                  </a:lnTo>
                  <a:lnTo>
                    <a:pt x="277" y="808"/>
                  </a:lnTo>
                  <a:lnTo>
                    <a:pt x="287" y="809"/>
                  </a:lnTo>
                  <a:lnTo>
                    <a:pt x="294" y="809"/>
                  </a:lnTo>
                  <a:lnTo>
                    <a:pt x="301" y="808"/>
                  </a:lnTo>
                  <a:lnTo>
                    <a:pt x="307" y="806"/>
                  </a:lnTo>
                  <a:lnTo>
                    <a:pt x="314" y="803"/>
                  </a:lnTo>
                  <a:lnTo>
                    <a:pt x="319" y="800"/>
                  </a:lnTo>
                  <a:lnTo>
                    <a:pt x="326" y="797"/>
                  </a:lnTo>
                  <a:lnTo>
                    <a:pt x="331" y="793"/>
                  </a:lnTo>
                  <a:lnTo>
                    <a:pt x="335" y="788"/>
                  </a:lnTo>
                  <a:lnTo>
                    <a:pt x="340" y="784"/>
                  </a:lnTo>
                  <a:lnTo>
                    <a:pt x="344" y="779"/>
                  </a:lnTo>
                  <a:lnTo>
                    <a:pt x="347" y="772"/>
                  </a:lnTo>
                  <a:lnTo>
                    <a:pt x="350" y="767"/>
                  </a:lnTo>
                  <a:lnTo>
                    <a:pt x="353" y="760"/>
                  </a:lnTo>
                  <a:lnTo>
                    <a:pt x="354" y="754"/>
                  </a:lnTo>
                  <a:lnTo>
                    <a:pt x="355" y="747"/>
                  </a:lnTo>
                  <a:lnTo>
                    <a:pt x="356" y="740"/>
                  </a:lnTo>
                  <a:lnTo>
                    <a:pt x="355" y="732"/>
                  </a:lnTo>
                  <a:lnTo>
                    <a:pt x="354" y="725"/>
                  </a:lnTo>
                  <a:lnTo>
                    <a:pt x="352" y="718"/>
                  </a:lnTo>
                  <a:lnTo>
                    <a:pt x="349" y="712"/>
                  </a:lnTo>
                  <a:lnTo>
                    <a:pt x="346" y="705"/>
                  </a:lnTo>
                  <a:lnTo>
                    <a:pt x="342" y="700"/>
                  </a:lnTo>
                  <a:lnTo>
                    <a:pt x="337" y="694"/>
                  </a:lnTo>
                  <a:lnTo>
                    <a:pt x="333" y="689"/>
                  </a:lnTo>
                  <a:lnTo>
                    <a:pt x="1028" y="689"/>
                  </a:lnTo>
                  <a:lnTo>
                    <a:pt x="1023" y="694"/>
                  </a:lnTo>
                  <a:lnTo>
                    <a:pt x="1019" y="700"/>
                  </a:lnTo>
                  <a:lnTo>
                    <a:pt x="1014" y="706"/>
                  </a:lnTo>
                  <a:lnTo>
                    <a:pt x="1011" y="713"/>
                  </a:lnTo>
                  <a:lnTo>
                    <a:pt x="1008" y="720"/>
                  </a:lnTo>
                  <a:lnTo>
                    <a:pt x="1006" y="728"/>
                  </a:lnTo>
                  <a:lnTo>
                    <a:pt x="1005" y="735"/>
                  </a:lnTo>
                  <a:lnTo>
                    <a:pt x="1004" y="744"/>
                  </a:lnTo>
                  <a:lnTo>
                    <a:pt x="1005" y="752"/>
                  </a:lnTo>
                  <a:lnTo>
                    <a:pt x="1006" y="758"/>
                  </a:lnTo>
                  <a:lnTo>
                    <a:pt x="1007" y="766"/>
                  </a:lnTo>
                  <a:lnTo>
                    <a:pt x="1010" y="772"/>
                  </a:lnTo>
                  <a:lnTo>
                    <a:pt x="1012" y="779"/>
                  </a:lnTo>
                  <a:lnTo>
                    <a:pt x="1017" y="784"/>
                  </a:lnTo>
                  <a:lnTo>
                    <a:pt x="1020" y="789"/>
                  </a:lnTo>
                  <a:lnTo>
                    <a:pt x="1025" y="795"/>
                  </a:lnTo>
                  <a:lnTo>
                    <a:pt x="1030" y="800"/>
                  </a:lnTo>
                  <a:lnTo>
                    <a:pt x="1035" y="803"/>
                  </a:lnTo>
                  <a:lnTo>
                    <a:pt x="1040" y="808"/>
                  </a:lnTo>
                  <a:lnTo>
                    <a:pt x="1047" y="811"/>
                  </a:lnTo>
                  <a:lnTo>
                    <a:pt x="1053" y="813"/>
                  </a:lnTo>
                  <a:lnTo>
                    <a:pt x="1060" y="815"/>
                  </a:lnTo>
                  <a:lnTo>
                    <a:pt x="1067" y="816"/>
                  </a:lnTo>
                  <a:lnTo>
                    <a:pt x="1074" y="816"/>
                  </a:lnTo>
                  <a:lnTo>
                    <a:pt x="1085" y="815"/>
                  </a:lnTo>
                  <a:lnTo>
                    <a:pt x="1093" y="814"/>
                  </a:lnTo>
                  <a:lnTo>
                    <a:pt x="1103" y="810"/>
                  </a:lnTo>
                  <a:lnTo>
                    <a:pt x="1112" y="806"/>
                  </a:lnTo>
                  <a:lnTo>
                    <a:pt x="1119" y="800"/>
                  </a:lnTo>
                  <a:lnTo>
                    <a:pt x="1126" y="794"/>
                  </a:lnTo>
                  <a:lnTo>
                    <a:pt x="1132" y="786"/>
                  </a:lnTo>
                  <a:lnTo>
                    <a:pt x="1137" y="776"/>
                  </a:lnTo>
                  <a:lnTo>
                    <a:pt x="1139" y="773"/>
                  </a:lnTo>
                  <a:lnTo>
                    <a:pt x="1137" y="770"/>
                  </a:lnTo>
                  <a:lnTo>
                    <a:pt x="1136" y="767"/>
                  </a:lnTo>
                  <a:lnTo>
                    <a:pt x="1133" y="765"/>
                  </a:lnTo>
                  <a:lnTo>
                    <a:pt x="1130" y="764"/>
                  </a:lnTo>
                  <a:lnTo>
                    <a:pt x="1127" y="765"/>
                  </a:lnTo>
                  <a:lnTo>
                    <a:pt x="1123" y="766"/>
                  </a:lnTo>
                  <a:lnTo>
                    <a:pt x="1121" y="769"/>
                  </a:lnTo>
                  <a:lnTo>
                    <a:pt x="1117" y="775"/>
                  </a:lnTo>
                  <a:lnTo>
                    <a:pt x="1113" y="782"/>
                  </a:lnTo>
                  <a:lnTo>
                    <a:pt x="1107" y="786"/>
                  </a:lnTo>
                  <a:lnTo>
                    <a:pt x="1102" y="790"/>
                  </a:lnTo>
                  <a:lnTo>
                    <a:pt x="1095" y="794"/>
                  </a:lnTo>
                  <a:lnTo>
                    <a:pt x="1089" y="796"/>
                  </a:lnTo>
                  <a:lnTo>
                    <a:pt x="1081" y="798"/>
                  </a:lnTo>
                  <a:lnTo>
                    <a:pt x="1074" y="798"/>
                  </a:lnTo>
                  <a:lnTo>
                    <a:pt x="1068" y="798"/>
                  </a:lnTo>
                  <a:lnTo>
                    <a:pt x="1064" y="797"/>
                  </a:lnTo>
                  <a:lnTo>
                    <a:pt x="1059" y="796"/>
                  </a:lnTo>
                  <a:lnTo>
                    <a:pt x="1054" y="794"/>
                  </a:lnTo>
                  <a:lnTo>
                    <a:pt x="1045" y="789"/>
                  </a:lnTo>
                  <a:lnTo>
                    <a:pt x="1037" y="782"/>
                  </a:lnTo>
                  <a:lnTo>
                    <a:pt x="1031" y="774"/>
                  </a:lnTo>
                  <a:lnTo>
                    <a:pt x="1026" y="765"/>
                  </a:lnTo>
                  <a:lnTo>
                    <a:pt x="1023" y="755"/>
                  </a:lnTo>
                  <a:lnTo>
                    <a:pt x="1022" y="744"/>
                  </a:lnTo>
                  <a:lnTo>
                    <a:pt x="1023" y="732"/>
                  </a:lnTo>
                  <a:lnTo>
                    <a:pt x="1026" y="722"/>
                  </a:lnTo>
                  <a:lnTo>
                    <a:pt x="1031" y="713"/>
                  </a:lnTo>
                  <a:lnTo>
                    <a:pt x="1037" y="705"/>
                  </a:lnTo>
                  <a:lnTo>
                    <a:pt x="1045" y="699"/>
                  </a:lnTo>
                  <a:lnTo>
                    <a:pt x="1054" y="693"/>
                  </a:lnTo>
                  <a:lnTo>
                    <a:pt x="1059" y="691"/>
                  </a:lnTo>
                  <a:lnTo>
                    <a:pt x="1064" y="690"/>
                  </a:lnTo>
                  <a:lnTo>
                    <a:pt x="1068" y="689"/>
                  </a:lnTo>
                  <a:lnTo>
                    <a:pt x="1074" y="689"/>
                  </a:lnTo>
                  <a:lnTo>
                    <a:pt x="1081" y="689"/>
                  </a:lnTo>
                  <a:lnTo>
                    <a:pt x="1088" y="691"/>
                  </a:lnTo>
                  <a:lnTo>
                    <a:pt x="1094" y="693"/>
                  </a:lnTo>
                  <a:lnTo>
                    <a:pt x="1101" y="697"/>
                  </a:lnTo>
                  <a:lnTo>
                    <a:pt x="1106" y="701"/>
                  </a:lnTo>
                  <a:lnTo>
                    <a:pt x="1110" y="706"/>
                  </a:lnTo>
                  <a:lnTo>
                    <a:pt x="1115" y="712"/>
                  </a:lnTo>
                  <a:lnTo>
                    <a:pt x="1118" y="718"/>
                  </a:lnTo>
                  <a:lnTo>
                    <a:pt x="1120" y="721"/>
                  </a:lnTo>
                  <a:lnTo>
                    <a:pt x="1123" y="722"/>
                  </a:lnTo>
                  <a:lnTo>
                    <a:pt x="1127" y="724"/>
                  </a:lnTo>
                  <a:lnTo>
                    <a:pt x="1130" y="722"/>
                  </a:lnTo>
                  <a:lnTo>
                    <a:pt x="1133" y="720"/>
                  </a:lnTo>
                  <a:lnTo>
                    <a:pt x="1135" y="717"/>
                  </a:lnTo>
                  <a:lnTo>
                    <a:pt x="1135" y="714"/>
                  </a:lnTo>
                  <a:lnTo>
                    <a:pt x="1134" y="711"/>
                  </a:lnTo>
                  <a:lnTo>
                    <a:pt x="1132" y="704"/>
                  </a:lnTo>
                  <a:lnTo>
                    <a:pt x="1128" y="699"/>
                  </a:lnTo>
                  <a:lnTo>
                    <a:pt x="1123" y="693"/>
                  </a:lnTo>
                  <a:lnTo>
                    <a:pt x="1119" y="689"/>
                  </a:lnTo>
                  <a:lnTo>
                    <a:pt x="1199" y="689"/>
                  </a:lnTo>
                  <a:lnTo>
                    <a:pt x="1195" y="693"/>
                  </a:lnTo>
                  <a:lnTo>
                    <a:pt x="1190" y="699"/>
                  </a:lnTo>
                  <a:lnTo>
                    <a:pt x="1187" y="704"/>
                  </a:lnTo>
                  <a:lnTo>
                    <a:pt x="1185" y="711"/>
                  </a:lnTo>
                  <a:lnTo>
                    <a:pt x="1184" y="714"/>
                  </a:lnTo>
                  <a:lnTo>
                    <a:pt x="1185" y="717"/>
                  </a:lnTo>
                  <a:lnTo>
                    <a:pt x="1187" y="720"/>
                  </a:lnTo>
                  <a:lnTo>
                    <a:pt x="1189" y="722"/>
                  </a:lnTo>
                  <a:lnTo>
                    <a:pt x="1194" y="722"/>
                  </a:lnTo>
                  <a:lnTo>
                    <a:pt x="1197" y="722"/>
                  </a:lnTo>
                  <a:lnTo>
                    <a:pt x="1199" y="720"/>
                  </a:lnTo>
                  <a:lnTo>
                    <a:pt x="1201" y="717"/>
                  </a:lnTo>
                  <a:lnTo>
                    <a:pt x="1204" y="710"/>
                  </a:lnTo>
                  <a:lnTo>
                    <a:pt x="1210" y="704"/>
                  </a:lnTo>
                  <a:lnTo>
                    <a:pt x="1215" y="699"/>
                  </a:lnTo>
                  <a:lnTo>
                    <a:pt x="1221" y="695"/>
                  </a:lnTo>
                  <a:lnTo>
                    <a:pt x="1227" y="692"/>
                  </a:lnTo>
                  <a:lnTo>
                    <a:pt x="1234" y="690"/>
                  </a:lnTo>
                  <a:lnTo>
                    <a:pt x="1240" y="689"/>
                  </a:lnTo>
                  <a:lnTo>
                    <a:pt x="1245" y="689"/>
                  </a:lnTo>
                  <a:lnTo>
                    <a:pt x="1251" y="689"/>
                  </a:lnTo>
                  <a:lnTo>
                    <a:pt x="1256" y="690"/>
                  </a:lnTo>
                  <a:lnTo>
                    <a:pt x="1262" y="691"/>
                  </a:lnTo>
                  <a:lnTo>
                    <a:pt x="1266" y="693"/>
                  </a:lnTo>
                  <a:lnTo>
                    <a:pt x="1275" y="699"/>
                  </a:lnTo>
                  <a:lnTo>
                    <a:pt x="1282" y="705"/>
                  </a:lnTo>
                  <a:lnTo>
                    <a:pt x="1289" y="713"/>
                  </a:lnTo>
                  <a:lnTo>
                    <a:pt x="1294" y="722"/>
                  </a:lnTo>
                  <a:lnTo>
                    <a:pt x="1297" y="732"/>
                  </a:lnTo>
                  <a:lnTo>
                    <a:pt x="1298" y="744"/>
                  </a:lnTo>
                  <a:lnTo>
                    <a:pt x="1297" y="755"/>
                  </a:lnTo>
                  <a:lnTo>
                    <a:pt x="1294" y="765"/>
                  </a:lnTo>
                  <a:lnTo>
                    <a:pt x="1289" y="774"/>
                  </a:lnTo>
                  <a:lnTo>
                    <a:pt x="1282" y="782"/>
                  </a:lnTo>
                  <a:lnTo>
                    <a:pt x="1275" y="789"/>
                  </a:lnTo>
                  <a:lnTo>
                    <a:pt x="1266" y="794"/>
                  </a:lnTo>
                  <a:lnTo>
                    <a:pt x="1262" y="796"/>
                  </a:lnTo>
                  <a:lnTo>
                    <a:pt x="1256" y="797"/>
                  </a:lnTo>
                  <a:lnTo>
                    <a:pt x="1251" y="798"/>
                  </a:lnTo>
                  <a:lnTo>
                    <a:pt x="1245" y="798"/>
                  </a:lnTo>
                  <a:lnTo>
                    <a:pt x="1239" y="798"/>
                  </a:lnTo>
                  <a:lnTo>
                    <a:pt x="1231" y="796"/>
                  </a:lnTo>
                  <a:lnTo>
                    <a:pt x="1225" y="794"/>
                  </a:lnTo>
                  <a:lnTo>
                    <a:pt x="1218" y="790"/>
                  </a:lnTo>
                  <a:lnTo>
                    <a:pt x="1213" y="786"/>
                  </a:lnTo>
                  <a:lnTo>
                    <a:pt x="1208" y="781"/>
                  </a:lnTo>
                  <a:lnTo>
                    <a:pt x="1203" y="775"/>
                  </a:lnTo>
                  <a:lnTo>
                    <a:pt x="1200" y="769"/>
                  </a:lnTo>
                  <a:lnTo>
                    <a:pt x="1198" y="767"/>
                  </a:lnTo>
                  <a:lnTo>
                    <a:pt x="1196" y="765"/>
                  </a:lnTo>
                  <a:lnTo>
                    <a:pt x="1191" y="764"/>
                  </a:lnTo>
                  <a:lnTo>
                    <a:pt x="1188" y="765"/>
                  </a:lnTo>
                  <a:lnTo>
                    <a:pt x="1185" y="767"/>
                  </a:lnTo>
                  <a:lnTo>
                    <a:pt x="1184" y="770"/>
                  </a:lnTo>
                  <a:lnTo>
                    <a:pt x="1183" y="773"/>
                  </a:lnTo>
                  <a:lnTo>
                    <a:pt x="1184" y="776"/>
                  </a:lnTo>
                  <a:lnTo>
                    <a:pt x="1188" y="785"/>
                  </a:lnTo>
                  <a:lnTo>
                    <a:pt x="1194" y="793"/>
                  </a:lnTo>
                  <a:lnTo>
                    <a:pt x="1201" y="799"/>
                  </a:lnTo>
                  <a:lnTo>
                    <a:pt x="1209" y="806"/>
                  </a:lnTo>
                  <a:lnTo>
                    <a:pt x="1217" y="810"/>
                  </a:lnTo>
                  <a:lnTo>
                    <a:pt x="1226" y="813"/>
                  </a:lnTo>
                  <a:lnTo>
                    <a:pt x="1236" y="815"/>
                  </a:lnTo>
                  <a:lnTo>
                    <a:pt x="1245" y="816"/>
                  </a:lnTo>
                  <a:lnTo>
                    <a:pt x="1253" y="816"/>
                  </a:lnTo>
                  <a:lnTo>
                    <a:pt x="1259" y="815"/>
                  </a:lnTo>
                  <a:lnTo>
                    <a:pt x="1267" y="813"/>
                  </a:lnTo>
                  <a:lnTo>
                    <a:pt x="1274" y="811"/>
                  </a:lnTo>
                  <a:lnTo>
                    <a:pt x="1279" y="808"/>
                  </a:lnTo>
                  <a:lnTo>
                    <a:pt x="1285" y="803"/>
                  </a:lnTo>
                  <a:lnTo>
                    <a:pt x="1291" y="800"/>
                  </a:lnTo>
                  <a:lnTo>
                    <a:pt x="1295" y="795"/>
                  </a:lnTo>
                  <a:lnTo>
                    <a:pt x="1299" y="789"/>
                  </a:lnTo>
                  <a:lnTo>
                    <a:pt x="1304" y="784"/>
                  </a:lnTo>
                  <a:lnTo>
                    <a:pt x="1307" y="779"/>
                  </a:lnTo>
                  <a:lnTo>
                    <a:pt x="1310" y="772"/>
                  </a:lnTo>
                  <a:lnTo>
                    <a:pt x="1312" y="766"/>
                  </a:lnTo>
                  <a:lnTo>
                    <a:pt x="1315" y="758"/>
                  </a:lnTo>
                  <a:lnTo>
                    <a:pt x="1316" y="752"/>
                  </a:lnTo>
                  <a:lnTo>
                    <a:pt x="1316" y="744"/>
                  </a:lnTo>
                  <a:lnTo>
                    <a:pt x="1316" y="735"/>
                  </a:lnTo>
                  <a:lnTo>
                    <a:pt x="1315" y="728"/>
                  </a:lnTo>
                  <a:lnTo>
                    <a:pt x="1312" y="720"/>
                  </a:lnTo>
                  <a:lnTo>
                    <a:pt x="1309" y="713"/>
                  </a:lnTo>
                  <a:lnTo>
                    <a:pt x="1306" y="706"/>
                  </a:lnTo>
                  <a:lnTo>
                    <a:pt x="1302" y="700"/>
                  </a:lnTo>
                  <a:lnTo>
                    <a:pt x="1296" y="694"/>
                  </a:lnTo>
                  <a:lnTo>
                    <a:pt x="1292" y="689"/>
                  </a:lnTo>
                  <a:lnTo>
                    <a:pt x="1339" y="689"/>
                  </a:lnTo>
                  <a:lnTo>
                    <a:pt x="1343" y="688"/>
                  </a:lnTo>
                  <a:lnTo>
                    <a:pt x="1346" y="686"/>
                  </a:lnTo>
                  <a:lnTo>
                    <a:pt x="1348" y="684"/>
                  </a:lnTo>
                  <a:lnTo>
                    <a:pt x="1348" y="680"/>
                  </a:lnTo>
                  <a:lnTo>
                    <a:pt x="1348" y="617"/>
                  </a:lnTo>
                  <a:lnTo>
                    <a:pt x="1348" y="613"/>
                  </a:lnTo>
                  <a:lnTo>
                    <a:pt x="1346" y="610"/>
                  </a:lnTo>
                  <a:lnTo>
                    <a:pt x="1343" y="608"/>
                  </a:lnTo>
                  <a:lnTo>
                    <a:pt x="1339" y="608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9" name="Freeform 13"/>
            <p:cNvSpPr>
              <a:spLocks noEditPoints="1"/>
            </p:cNvSpPr>
            <p:nvPr/>
          </p:nvSpPr>
          <p:spPr bwMode="auto">
            <a:xfrm>
              <a:off x="374651" y="3421063"/>
              <a:ext cx="87313" cy="112713"/>
            </a:xfrm>
            <a:custGeom>
              <a:avLst/>
              <a:gdLst>
                <a:gd name="T0" fmla="*/ 63 w 164"/>
                <a:gd name="T1" fmla="*/ 48 h 213"/>
                <a:gd name="T2" fmla="*/ 32 w 164"/>
                <a:gd name="T3" fmla="*/ 95 h 213"/>
                <a:gd name="T4" fmla="*/ 23 w 164"/>
                <a:gd name="T5" fmla="*/ 116 h 213"/>
                <a:gd name="T6" fmla="*/ 19 w 164"/>
                <a:gd name="T7" fmla="*/ 128 h 213"/>
                <a:gd name="T8" fmla="*/ 18 w 164"/>
                <a:gd name="T9" fmla="*/ 140 h 213"/>
                <a:gd name="T10" fmla="*/ 22 w 164"/>
                <a:gd name="T11" fmla="*/ 152 h 213"/>
                <a:gd name="T12" fmla="*/ 26 w 164"/>
                <a:gd name="T13" fmla="*/ 163 h 213"/>
                <a:gd name="T14" fmla="*/ 33 w 164"/>
                <a:gd name="T15" fmla="*/ 173 h 213"/>
                <a:gd name="T16" fmla="*/ 42 w 164"/>
                <a:gd name="T17" fmla="*/ 181 h 213"/>
                <a:gd name="T18" fmla="*/ 52 w 164"/>
                <a:gd name="T19" fmla="*/ 188 h 213"/>
                <a:gd name="T20" fmla="*/ 64 w 164"/>
                <a:gd name="T21" fmla="*/ 192 h 213"/>
                <a:gd name="T22" fmla="*/ 76 w 164"/>
                <a:gd name="T23" fmla="*/ 194 h 213"/>
                <a:gd name="T24" fmla="*/ 89 w 164"/>
                <a:gd name="T25" fmla="*/ 194 h 213"/>
                <a:gd name="T26" fmla="*/ 101 w 164"/>
                <a:gd name="T27" fmla="*/ 192 h 213"/>
                <a:gd name="T28" fmla="*/ 112 w 164"/>
                <a:gd name="T29" fmla="*/ 188 h 213"/>
                <a:gd name="T30" fmla="*/ 122 w 164"/>
                <a:gd name="T31" fmla="*/ 181 h 213"/>
                <a:gd name="T32" fmla="*/ 131 w 164"/>
                <a:gd name="T33" fmla="*/ 173 h 213"/>
                <a:gd name="T34" fmla="*/ 138 w 164"/>
                <a:gd name="T35" fmla="*/ 163 h 213"/>
                <a:gd name="T36" fmla="*/ 143 w 164"/>
                <a:gd name="T37" fmla="*/ 152 h 213"/>
                <a:gd name="T38" fmla="*/ 146 w 164"/>
                <a:gd name="T39" fmla="*/ 140 h 213"/>
                <a:gd name="T40" fmla="*/ 146 w 164"/>
                <a:gd name="T41" fmla="*/ 128 h 213"/>
                <a:gd name="T42" fmla="*/ 141 w 164"/>
                <a:gd name="T43" fmla="*/ 116 h 213"/>
                <a:gd name="T44" fmla="*/ 132 w 164"/>
                <a:gd name="T45" fmla="*/ 95 h 213"/>
                <a:gd name="T46" fmla="*/ 101 w 164"/>
                <a:gd name="T47" fmla="*/ 48 h 213"/>
                <a:gd name="T48" fmla="*/ 82 w 164"/>
                <a:gd name="T49" fmla="*/ 213 h 213"/>
                <a:gd name="T50" fmla="*/ 66 w 164"/>
                <a:gd name="T51" fmla="*/ 211 h 213"/>
                <a:gd name="T52" fmla="*/ 51 w 164"/>
                <a:gd name="T53" fmla="*/ 207 h 213"/>
                <a:gd name="T54" fmla="*/ 37 w 164"/>
                <a:gd name="T55" fmla="*/ 200 h 213"/>
                <a:gd name="T56" fmla="*/ 25 w 164"/>
                <a:gd name="T57" fmla="*/ 190 h 213"/>
                <a:gd name="T58" fmla="*/ 14 w 164"/>
                <a:gd name="T59" fmla="*/ 178 h 213"/>
                <a:gd name="T60" fmla="*/ 6 w 164"/>
                <a:gd name="T61" fmla="*/ 164 h 213"/>
                <a:gd name="T62" fmla="*/ 2 w 164"/>
                <a:gd name="T63" fmla="*/ 150 h 213"/>
                <a:gd name="T64" fmla="*/ 0 w 164"/>
                <a:gd name="T65" fmla="*/ 134 h 213"/>
                <a:gd name="T66" fmla="*/ 3 w 164"/>
                <a:gd name="T67" fmla="*/ 116 h 213"/>
                <a:gd name="T68" fmla="*/ 11 w 164"/>
                <a:gd name="T69" fmla="*/ 97 h 213"/>
                <a:gd name="T70" fmla="*/ 35 w 164"/>
                <a:gd name="T71" fmla="*/ 56 h 213"/>
                <a:gd name="T72" fmla="*/ 76 w 164"/>
                <a:gd name="T73" fmla="*/ 2 h 213"/>
                <a:gd name="T74" fmla="*/ 82 w 164"/>
                <a:gd name="T75" fmla="*/ 0 h 213"/>
                <a:gd name="T76" fmla="*/ 89 w 164"/>
                <a:gd name="T77" fmla="*/ 2 h 213"/>
                <a:gd name="T78" fmla="*/ 130 w 164"/>
                <a:gd name="T79" fmla="*/ 56 h 213"/>
                <a:gd name="T80" fmla="*/ 153 w 164"/>
                <a:gd name="T81" fmla="*/ 97 h 213"/>
                <a:gd name="T82" fmla="*/ 161 w 164"/>
                <a:gd name="T83" fmla="*/ 116 h 213"/>
                <a:gd name="T84" fmla="*/ 164 w 164"/>
                <a:gd name="T85" fmla="*/ 134 h 213"/>
                <a:gd name="T86" fmla="*/ 162 w 164"/>
                <a:gd name="T87" fmla="*/ 150 h 213"/>
                <a:gd name="T88" fmla="*/ 158 w 164"/>
                <a:gd name="T89" fmla="*/ 164 h 213"/>
                <a:gd name="T90" fmla="*/ 150 w 164"/>
                <a:gd name="T91" fmla="*/ 178 h 213"/>
                <a:gd name="T92" fmla="*/ 139 w 164"/>
                <a:gd name="T93" fmla="*/ 190 h 213"/>
                <a:gd name="T94" fmla="*/ 127 w 164"/>
                <a:gd name="T95" fmla="*/ 200 h 213"/>
                <a:gd name="T96" fmla="*/ 113 w 164"/>
                <a:gd name="T97" fmla="*/ 207 h 213"/>
                <a:gd name="T98" fmla="*/ 98 w 164"/>
                <a:gd name="T99" fmla="*/ 211 h 213"/>
                <a:gd name="T100" fmla="*/ 82 w 164"/>
                <a:gd name="T101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13">
                  <a:moveTo>
                    <a:pt x="82" y="23"/>
                  </a:moveTo>
                  <a:lnTo>
                    <a:pt x="63" y="48"/>
                  </a:lnTo>
                  <a:lnTo>
                    <a:pt x="42" y="79"/>
                  </a:lnTo>
                  <a:lnTo>
                    <a:pt x="32" y="95"/>
                  </a:lnTo>
                  <a:lnTo>
                    <a:pt x="25" y="109"/>
                  </a:lnTo>
                  <a:lnTo>
                    <a:pt x="23" y="116"/>
                  </a:lnTo>
                  <a:lnTo>
                    <a:pt x="21" y="123"/>
                  </a:lnTo>
                  <a:lnTo>
                    <a:pt x="19" y="128"/>
                  </a:lnTo>
                  <a:lnTo>
                    <a:pt x="18" y="134"/>
                  </a:lnTo>
                  <a:lnTo>
                    <a:pt x="18" y="140"/>
                  </a:lnTo>
                  <a:lnTo>
                    <a:pt x="19" y="146"/>
                  </a:lnTo>
                  <a:lnTo>
                    <a:pt x="22" y="152"/>
                  </a:lnTo>
                  <a:lnTo>
                    <a:pt x="24" y="158"/>
                  </a:lnTo>
                  <a:lnTo>
                    <a:pt x="26" y="163"/>
                  </a:lnTo>
                  <a:lnTo>
                    <a:pt x="29" y="168"/>
                  </a:lnTo>
                  <a:lnTo>
                    <a:pt x="33" y="173"/>
                  </a:lnTo>
                  <a:lnTo>
                    <a:pt x="37" y="177"/>
                  </a:lnTo>
                  <a:lnTo>
                    <a:pt x="42" y="181"/>
                  </a:lnTo>
                  <a:lnTo>
                    <a:pt x="46" y="184"/>
                  </a:lnTo>
                  <a:lnTo>
                    <a:pt x="52" y="188"/>
                  </a:lnTo>
                  <a:lnTo>
                    <a:pt x="57" y="190"/>
                  </a:lnTo>
                  <a:lnTo>
                    <a:pt x="64" y="192"/>
                  </a:lnTo>
                  <a:lnTo>
                    <a:pt x="69" y="194"/>
                  </a:lnTo>
                  <a:lnTo>
                    <a:pt x="76" y="194"/>
                  </a:lnTo>
                  <a:lnTo>
                    <a:pt x="82" y="195"/>
                  </a:lnTo>
                  <a:lnTo>
                    <a:pt x="89" y="194"/>
                  </a:lnTo>
                  <a:lnTo>
                    <a:pt x="95" y="194"/>
                  </a:lnTo>
                  <a:lnTo>
                    <a:pt x="101" y="192"/>
                  </a:lnTo>
                  <a:lnTo>
                    <a:pt x="107" y="190"/>
                  </a:lnTo>
                  <a:lnTo>
                    <a:pt x="112" y="188"/>
                  </a:lnTo>
                  <a:lnTo>
                    <a:pt x="118" y="184"/>
                  </a:lnTo>
                  <a:lnTo>
                    <a:pt x="122" y="181"/>
                  </a:lnTo>
                  <a:lnTo>
                    <a:pt x="127" y="177"/>
                  </a:lnTo>
                  <a:lnTo>
                    <a:pt x="131" y="173"/>
                  </a:lnTo>
                  <a:lnTo>
                    <a:pt x="135" y="168"/>
                  </a:lnTo>
                  <a:lnTo>
                    <a:pt x="138" y="163"/>
                  </a:lnTo>
                  <a:lnTo>
                    <a:pt x="140" y="158"/>
                  </a:lnTo>
                  <a:lnTo>
                    <a:pt x="143" y="152"/>
                  </a:lnTo>
                  <a:lnTo>
                    <a:pt x="145" y="146"/>
                  </a:lnTo>
                  <a:lnTo>
                    <a:pt x="146" y="140"/>
                  </a:lnTo>
                  <a:lnTo>
                    <a:pt x="146" y="134"/>
                  </a:lnTo>
                  <a:lnTo>
                    <a:pt x="146" y="128"/>
                  </a:lnTo>
                  <a:lnTo>
                    <a:pt x="144" y="123"/>
                  </a:lnTo>
                  <a:lnTo>
                    <a:pt x="141" y="116"/>
                  </a:lnTo>
                  <a:lnTo>
                    <a:pt x="139" y="109"/>
                  </a:lnTo>
                  <a:lnTo>
                    <a:pt x="132" y="95"/>
                  </a:lnTo>
                  <a:lnTo>
                    <a:pt x="122" y="79"/>
                  </a:lnTo>
                  <a:lnTo>
                    <a:pt x="101" y="48"/>
                  </a:lnTo>
                  <a:lnTo>
                    <a:pt x="82" y="23"/>
                  </a:lnTo>
                  <a:close/>
                  <a:moveTo>
                    <a:pt x="82" y="213"/>
                  </a:moveTo>
                  <a:lnTo>
                    <a:pt x="73" y="213"/>
                  </a:lnTo>
                  <a:lnTo>
                    <a:pt x="66" y="211"/>
                  </a:lnTo>
                  <a:lnTo>
                    <a:pt x="58" y="209"/>
                  </a:lnTo>
                  <a:lnTo>
                    <a:pt x="51" y="207"/>
                  </a:lnTo>
                  <a:lnTo>
                    <a:pt x="43" y="204"/>
                  </a:lnTo>
                  <a:lnTo>
                    <a:pt x="37" y="200"/>
                  </a:lnTo>
                  <a:lnTo>
                    <a:pt x="30" y="195"/>
                  </a:lnTo>
                  <a:lnTo>
                    <a:pt x="25" y="190"/>
                  </a:lnTo>
                  <a:lnTo>
                    <a:pt x="19" y="184"/>
                  </a:lnTo>
                  <a:lnTo>
                    <a:pt x="14" y="178"/>
                  </a:lnTo>
                  <a:lnTo>
                    <a:pt x="11" y="172"/>
                  </a:lnTo>
                  <a:lnTo>
                    <a:pt x="6" y="164"/>
                  </a:lnTo>
                  <a:lnTo>
                    <a:pt x="4" y="158"/>
                  </a:lnTo>
                  <a:lnTo>
                    <a:pt x="2" y="150"/>
                  </a:lnTo>
                  <a:lnTo>
                    <a:pt x="1" y="141"/>
                  </a:lnTo>
                  <a:lnTo>
                    <a:pt x="0" y="134"/>
                  </a:lnTo>
                  <a:lnTo>
                    <a:pt x="1" y="125"/>
                  </a:lnTo>
                  <a:lnTo>
                    <a:pt x="3" y="116"/>
                  </a:lnTo>
                  <a:lnTo>
                    <a:pt x="6" y="107"/>
                  </a:lnTo>
                  <a:lnTo>
                    <a:pt x="11" y="97"/>
                  </a:lnTo>
                  <a:lnTo>
                    <a:pt x="22" y="77"/>
                  </a:lnTo>
                  <a:lnTo>
                    <a:pt x="35" y="56"/>
                  </a:lnTo>
                  <a:lnTo>
                    <a:pt x="60" y="21"/>
                  </a:lnTo>
                  <a:lnTo>
                    <a:pt x="76" y="2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89" y="2"/>
                  </a:lnTo>
                  <a:lnTo>
                    <a:pt x="104" y="21"/>
                  </a:lnTo>
                  <a:lnTo>
                    <a:pt x="130" y="56"/>
                  </a:lnTo>
                  <a:lnTo>
                    <a:pt x="143" y="77"/>
                  </a:lnTo>
                  <a:lnTo>
                    <a:pt x="153" y="97"/>
                  </a:lnTo>
                  <a:lnTo>
                    <a:pt x="158" y="107"/>
                  </a:lnTo>
                  <a:lnTo>
                    <a:pt x="161" y="116"/>
                  </a:lnTo>
                  <a:lnTo>
                    <a:pt x="163" y="125"/>
                  </a:lnTo>
                  <a:lnTo>
                    <a:pt x="164" y="134"/>
                  </a:lnTo>
                  <a:lnTo>
                    <a:pt x="163" y="141"/>
                  </a:lnTo>
                  <a:lnTo>
                    <a:pt x="162" y="150"/>
                  </a:lnTo>
                  <a:lnTo>
                    <a:pt x="160" y="158"/>
                  </a:lnTo>
                  <a:lnTo>
                    <a:pt x="158" y="164"/>
                  </a:lnTo>
                  <a:lnTo>
                    <a:pt x="153" y="172"/>
                  </a:lnTo>
                  <a:lnTo>
                    <a:pt x="150" y="178"/>
                  </a:lnTo>
                  <a:lnTo>
                    <a:pt x="145" y="184"/>
                  </a:lnTo>
                  <a:lnTo>
                    <a:pt x="139" y="190"/>
                  </a:lnTo>
                  <a:lnTo>
                    <a:pt x="134" y="195"/>
                  </a:lnTo>
                  <a:lnTo>
                    <a:pt x="127" y="200"/>
                  </a:lnTo>
                  <a:lnTo>
                    <a:pt x="121" y="204"/>
                  </a:lnTo>
                  <a:lnTo>
                    <a:pt x="113" y="207"/>
                  </a:lnTo>
                  <a:lnTo>
                    <a:pt x="106" y="209"/>
                  </a:lnTo>
                  <a:lnTo>
                    <a:pt x="98" y="211"/>
                  </a:lnTo>
                  <a:lnTo>
                    <a:pt x="91" y="213"/>
                  </a:lnTo>
                  <a:lnTo>
                    <a:pt x="82" y="213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0" name="Freeform 14"/>
            <p:cNvSpPr>
              <a:spLocks noEditPoints="1"/>
            </p:cNvSpPr>
            <p:nvPr/>
          </p:nvSpPr>
          <p:spPr bwMode="auto">
            <a:xfrm>
              <a:off x="107951" y="3635376"/>
              <a:ext cx="111125" cy="39688"/>
            </a:xfrm>
            <a:custGeom>
              <a:avLst/>
              <a:gdLst>
                <a:gd name="T0" fmla="*/ 32 w 208"/>
                <a:gd name="T1" fmla="*/ 18 h 76"/>
                <a:gd name="T2" fmla="*/ 26 w 208"/>
                <a:gd name="T3" fmla="*/ 21 h 76"/>
                <a:gd name="T4" fmla="*/ 21 w 208"/>
                <a:gd name="T5" fmla="*/ 27 h 76"/>
                <a:gd name="T6" fmla="*/ 18 w 208"/>
                <a:gd name="T7" fmla="*/ 34 h 76"/>
                <a:gd name="T8" fmla="*/ 18 w 208"/>
                <a:gd name="T9" fmla="*/ 42 h 76"/>
                <a:gd name="T10" fmla="*/ 21 w 208"/>
                <a:gd name="T11" fmla="*/ 49 h 76"/>
                <a:gd name="T12" fmla="*/ 26 w 208"/>
                <a:gd name="T13" fmla="*/ 55 h 76"/>
                <a:gd name="T14" fmla="*/ 32 w 208"/>
                <a:gd name="T15" fmla="*/ 58 h 76"/>
                <a:gd name="T16" fmla="*/ 173 w 208"/>
                <a:gd name="T17" fmla="*/ 58 h 76"/>
                <a:gd name="T18" fmla="*/ 179 w 208"/>
                <a:gd name="T19" fmla="*/ 57 h 76"/>
                <a:gd name="T20" fmla="*/ 185 w 208"/>
                <a:gd name="T21" fmla="*/ 53 h 76"/>
                <a:gd name="T22" fmla="*/ 189 w 208"/>
                <a:gd name="T23" fmla="*/ 46 h 76"/>
                <a:gd name="T24" fmla="*/ 190 w 208"/>
                <a:gd name="T25" fmla="*/ 39 h 76"/>
                <a:gd name="T26" fmla="*/ 189 w 208"/>
                <a:gd name="T27" fmla="*/ 30 h 76"/>
                <a:gd name="T28" fmla="*/ 185 w 208"/>
                <a:gd name="T29" fmla="*/ 23 h 76"/>
                <a:gd name="T30" fmla="*/ 179 w 208"/>
                <a:gd name="T31" fmla="*/ 19 h 76"/>
                <a:gd name="T32" fmla="*/ 173 w 208"/>
                <a:gd name="T33" fmla="*/ 18 h 76"/>
                <a:gd name="T34" fmla="*/ 173 w 208"/>
                <a:gd name="T35" fmla="*/ 76 h 76"/>
                <a:gd name="T36" fmla="*/ 28 w 208"/>
                <a:gd name="T37" fmla="*/ 75 h 76"/>
                <a:gd name="T38" fmla="*/ 16 w 208"/>
                <a:gd name="T39" fmla="*/ 70 h 76"/>
                <a:gd name="T40" fmla="*/ 6 w 208"/>
                <a:gd name="T41" fmla="*/ 59 h 76"/>
                <a:gd name="T42" fmla="*/ 1 w 208"/>
                <a:gd name="T43" fmla="*/ 46 h 76"/>
                <a:gd name="T44" fmla="*/ 1 w 208"/>
                <a:gd name="T45" fmla="*/ 30 h 76"/>
                <a:gd name="T46" fmla="*/ 6 w 208"/>
                <a:gd name="T47" fmla="*/ 17 h 76"/>
                <a:gd name="T48" fmla="*/ 16 w 208"/>
                <a:gd name="T49" fmla="*/ 6 h 76"/>
                <a:gd name="T50" fmla="*/ 28 w 208"/>
                <a:gd name="T51" fmla="*/ 1 h 76"/>
                <a:gd name="T52" fmla="*/ 173 w 208"/>
                <a:gd name="T53" fmla="*/ 0 h 76"/>
                <a:gd name="T54" fmla="*/ 187 w 208"/>
                <a:gd name="T55" fmla="*/ 3 h 76"/>
                <a:gd name="T56" fmla="*/ 197 w 208"/>
                <a:gd name="T57" fmla="*/ 10 h 76"/>
                <a:gd name="T58" fmla="*/ 205 w 208"/>
                <a:gd name="T59" fmla="*/ 23 h 76"/>
                <a:gd name="T60" fmla="*/ 208 w 208"/>
                <a:gd name="T61" fmla="*/ 39 h 76"/>
                <a:gd name="T62" fmla="*/ 205 w 208"/>
                <a:gd name="T63" fmla="*/ 53 h 76"/>
                <a:gd name="T64" fmla="*/ 197 w 208"/>
                <a:gd name="T65" fmla="*/ 66 h 76"/>
                <a:gd name="T66" fmla="*/ 187 w 208"/>
                <a:gd name="T67" fmla="*/ 73 h 76"/>
                <a:gd name="T68" fmla="*/ 173 w 208"/>
                <a:gd name="T6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6">
                  <a:moveTo>
                    <a:pt x="36" y="18"/>
                  </a:moveTo>
                  <a:lnTo>
                    <a:pt x="32" y="18"/>
                  </a:lnTo>
                  <a:lnTo>
                    <a:pt x="29" y="19"/>
                  </a:lnTo>
                  <a:lnTo>
                    <a:pt x="26" y="21"/>
                  </a:lnTo>
                  <a:lnTo>
                    <a:pt x="24" y="23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8" y="34"/>
                  </a:lnTo>
                  <a:lnTo>
                    <a:pt x="18" y="39"/>
                  </a:lnTo>
                  <a:lnTo>
                    <a:pt x="18" y="42"/>
                  </a:lnTo>
                  <a:lnTo>
                    <a:pt x="19" y="46"/>
                  </a:lnTo>
                  <a:lnTo>
                    <a:pt x="21" y="49"/>
                  </a:lnTo>
                  <a:lnTo>
                    <a:pt x="24" y="53"/>
                  </a:lnTo>
                  <a:lnTo>
                    <a:pt x="26" y="55"/>
                  </a:lnTo>
                  <a:lnTo>
                    <a:pt x="29" y="57"/>
                  </a:lnTo>
                  <a:lnTo>
                    <a:pt x="32" y="58"/>
                  </a:lnTo>
                  <a:lnTo>
                    <a:pt x="36" y="58"/>
                  </a:lnTo>
                  <a:lnTo>
                    <a:pt x="173" y="58"/>
                  </a:lnTo>
                  <a:lnTo>
                    <a:pt x="177" y="58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49"/>
                  </a:lnTo>
                  <a:lnTo>
                    <a:pt x="189" y="46"/>
                  </a:lnTo>
                  <a:lnTo>
                    <a:pt x="190" y="42"/>
                  </a:lnTo>
                  <a:lnTo>
                    <a:pt x="190" y="39"/>
                  </a:lnTo>
                  <a:lnTo>
                    <a:pt x="190" y="34"/>
                  </a:lnTo>
                  <a:lnTo>
                    <a:pt x="189" y="30"/>
                  </a:lnTo>
                  <a:lnTo>
                    <a:pt x="187" y="27"/>
                  </a:lnTo>
                  <a:lnTo>
                    <a:pt x="185" y="23"/>
                  </a:lnTo>
                  <a:lnTo>
                    <a:pt x="182" y="21"/>
                  </a:lnTo>
                  <a:lnTo>
                    <a:pt x="179" y="19"/>
                  </a:lnTo>
                  <a:lnTo>
                    <a:pt x="177" y="18"/>
                  </a:lnTo>
                  <a:lnTo>
                    <a:pt x="173" y="18"/>
                  </a:lnTo>
                  <a:lnTo>
                    <a:pt x="36" y="18"/>
                  </a:lnTo>
                  <a:close/>
                  <a:moveTo>
                    <a:pt x="173" y="76"/>
                  </a:moveTo>
                  <a:lnTo>
                    <a:pt x="36" y="76"/>
                  </a:lnTo>
                  <a:lnTo>
                    <a:pt x="28" y="75"/>
                  </a:lnTo>
                  <a:lnTo>
                    <a:pt x="21" y="73"/>
                  </a:lnTo>
                  <a:lnTo>
                    <a:pt x="16" y="70"/>
                  </a:lnTo>
                  <a:lnTo>
                    <a:pt x="11" y="66"/>
                  </a:lnTo>
                  <a:lnTo>
                    <a:pt x="6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9"/>
                  </a:lnTo>
                  <a:lnTo>
                    <a:pt x="1" y="30"/>
                  </a:lnTo>
                  <a:lnTo>
                    <a:pt x="3" y="23"/>
                  </a:lnTo>
                  <a:lnTo>
                    <a:pt x="6" y="17"/>
                  </a:lnTo>
                  <a:lnTo>
                    <a:pt x="11" y="10"/>
                  </a:lnTo>
                  <a:lnTo>
                    <a:pt x="16" y="6"/>
                  </a:lnTo>
                  <a:lnTo>
                    <a:pt x="21" y="3"/>
                  </a:lnTo>
                  <a:lnTo>
                    <a:pt x="28" y="1"/>
                  </a:lnTo>
                  <a:lnTo>
                    <a:pt x="36" y="0"/>
                  </a:lnTo>
                  <a:lnTo>
                    <a:pt x="173" y="0"/>
                  </a:lnTo>
                  <a:lnTo>
                    <a:pt x="180" y="1"/>
                  </a:lnTo>
                  <a:lnTo>
                    <a:pt x="187" y="3"/>
                  </a:lnTo>
                  <a:lnTo>
                    <a:pt x="193" y="6"/>
                  </a:lnTo>
                  <a:lnTo>
                    <a:pt x="197" y="10"/>
                  </a:lnTo>
                  <a:lnTo>
                    <a:pt x="202" y="17"/>
                  </a:lnTo>
                  <a:lnTo>
                    <a:pt x="205" y="23"/>
                  </a:lnTo>
                  <a:lnTo>
                    <a:pt x="207" y="30"/>
                  </a:lnTo>
                  <a:lnTo>
                    <a:pt x="208" y="39"/>
                  </a:lnTo>
                  <a:lnTo>
                    <a:pt x="207" y="46"/>
                  </a:lnTo>
                  <a:lnTo>
                    <a:pt x="205" y="53"/>
                  </a:lnTo>
                  <a:lnTo>
                    <a:pt x="202" y="59"/>
                  </a:lnTo>
                  <a:lnTo>
                    <a:pt x="197" y="66"/>
                  </a:lnTo>
                  <a:lnTo>
                    <a:pt x="193" y="70"/>
                  </a:lnTo>
                  <a:lnTo>
                    <a:pt x="187" y="73"/>
                  </a:lnTo>
                  <a:lnTo>
                    <a:pt x="180" y="75"/>
                  </a:lnTo>
                  <a:lnTo>
                    <a:pt x="173" y="76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1" name="Freeform 15"/>
            <p:cNvSpPr>
              <a:spLocks noEditPoints="1"/>
            </p:cNvSpPr>
            <p:nvPr/>
          </p:nvSpPr>
          <p:spPr bwMode="auto">
            <a:xfrm>
              <a:off x="612776" y="3638551"/>
              <a:ext cx="111125" cy="41275"/>
            </a:xfrm>
            <a:custGeom>
              <a:avLst/>
              <a:gdLst>
                <a:gd name="T0" fmla="*/ 32 w 208"/>
                <a:gd name="T1" fmla="*/ 19 h 77"/>
                <a:gd name="T2" fmla="*/ 25 w 208"/>
                <a:gd name="T3" fmla="*/ 22 h 77"/>
                <a:gd name="T4" fmla="*/ 21 w 208"/>
                <a:gd name="T5" fmla="*/ 27 h 77"/>
                <a:gd name="T6" fmla="*/ 19 w 208"/>
                <a:gd name="T7" fmla="*/ 35 h 77"/>
                <a:gd name="T8" fmla="*/ 19 w 208"/>
                <a:gd name="T9" fmla="*/ 42 h 77"/>
                <a:gd name="T10" fmla="*/ 21 w 208"/>
                <a:gd name="T11" fmla="*/ 50 h 77"/>
                <a:gd name="T12" fmla="*/ 25 w 208"/>
                <a:gd name="T13" fmla="*/ 55 h 77"/>
                <a:gd name="T14" fmla="*/ 32 w 208"/>
                <a:gd name="T15" fmla="*/ 59 h 77"/>
                <a:gd name="T16" fmla="*/ 173 w 208"/>
                <a:gd name="T17" fmla="*/ 59 h 77"/>
                <a:gd name="T18" fmla="*/ 179 w 208"/>
                <a:gd name="T19" fmla="*/ 57 h 77"/>
                <a:gd name="T20" fmla="*/ 185 w 208"/>
                <a:gd name="T21" fmla="*/ 53 h 77"/>
                <a:gd name="T22" fmla="*/ 188 w 208"/>
                <a:gd name="T23" fmla="*/ 47 h 77"/>
                <a:gd name="T24" fmla="*/ 189 w 208"/>
                <a:gd name="T25" fmla="*/ 39 h 77"/>
                <a:gd name="T26" fmla="*/ 188 w 208"/>
                <a:gd name="T27" fmla="*/ 30 h 77"/>
                <a:gd name="T28" fmla="*/ 185 w 208"/>
                <a:gd name="T29" fmla="*/ 24 h 77"/>
                <a:gd name="T30" fmla="*/ 179 w 208"/>
                <a:gd name="T31" fmla="*/ 20 h 77"/>
                <a:gd name="T32" fmla="*/ 173 w 208"/>
                <a:gd name="T33" fmla="*/ 19 h 77"/>
                <a:gd name="T34" fmla="*/ 173 w 208"/>
                <a:gd name="T35" fmla="*/ 77 h 77"/>
                <a:gd name="T36" fmla="*/ 27 w 208"/>
                <a:gd name="T37" fmla="*/ 76 h 77"/>
                <a:gd name="T38" fmla="*/ 15 w 208"/>
                <a:gd name="T39" fmla="*/ 70 h 77"/>
                <a:gd name="T40" fmla="*/ 6 w 208"/>
                <a:gd name="T41" fmla="*/ 60 h 77"/>
                <a:gd name="T42" fmla="*/ 0 w 208"/>
                <a:gd name="T43" fmla="*/ 47 h 77"/>
                <a:gd name="T44" fmla="*/ 0 w 208"/>
                <a:gd name="T45" fmla="*/ 32 h 77"/>
                <a:gd name="T46" fmla="*/ 6 w 208"/>
                <a:gd name="T47" fmla="*/ 17 h 77"/>
                <a:gd name="T48" fmla="*/ 15 w 208"/>
                <a:gd name="T49" fmla="*/ 7 h 77"/>
                <a:gd name="T50" fmla="*/ 27 w 208"/>
                <a:gd name="T51" fmla="*/ 1 h 77"/>
                <a:gd name="T52" fmla="*/ 173 w 208"/>
                <a:gd name="T53" fmla="*/ 0 h 77"/>
                <a:gd name="T54" fmla="*/ 186 w 208"/>
                <a:gd name="T55" fmla="*/ 3 h 77"/>
                <a:gd name="T56" fmla="*/ 198 w 208"/>
                <a:gd name="T57" fmla="*/ 12 h 77"/>
                <a:gd name="T58" fmla="*/ 205 w 208"/>
                <a:gd name="T59" fmla="*/ 24 h 77"/>
                <a:gd name="T60" fmla="*/ 208 w 208"/>
                <a:gd name="T61" fmla="*/ 39 h 77"/>
                <a:gd name="T62" fmla="*/ 205 w 208"/>
                <a:gd name="T63" fmla="*/ 53 h 77"/>
                <a:gd name="T64" fmla="*/ 198 w 208"/>
                <a:gd name="T65" fmla="*/ 66 h 77"/>
                <a:gd name="T66" fmla="*/ 186 w 208"/>
                <a:gd name="T67" fmla="*/ 74 h 77"/>
                <a:gd name="T68" fmla="*/ 173 w 208"/>
                <a:gd name="T6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8" h="77">
                  <a:moveTo>
                    <a:pt x="35" y="19"/>
                  </a:moveTo>
                  <a:lnTo>
                    <a:pt x="32" y="19"/>
                  </a:lnTo>
                  <a:lnTo>
                    <a:pt x="28" y="20"/>
                  </a:lnTo>
                  <a:lnTo>
                    <a:pt x="25" y="22"/>
                  </a:lnTo>
                  <a:lnTo>
                    <a:pt x="23" y="24"/>
                  </a:lnTo>
                  <a:lnTo>
                    <a:pt x="21" y="27"/>
                  </a:lnTo>
                  <a:lnTo>
                    <a:pt x="19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9" y="42"/>
                  </a:lnTo>
                  <a:lnTo>
                    <a:pt x="19" y="47"/>
                  </a:lnTo>
                  <a:lnTo>
                    <a:pt x="21" y="50"/>
                  </a:lnTo>
                  <a:lnTo>
                    <a:pt x="23" y="53"/>
                  </a:lnTo>
                  <a:lnTo>
                    <a:pt x="25" y="55"/>
                  </a:lnTo>
                  <a:lnTo>
                    <a:pt x="28" y="57"/>
                  </a:lnTo>
                  <a:lnTo>
                    <a:pt x="32" y="59"/>
                  </a:lnTo>
                  <a:lnTo>
                    <a:pt x="35" y="59"/>
                  </a:lnTo>
                  <a:lnTo>
                    <a:pt x="173" y="59"/>
                  </a:lnTo>
                  <a:lnTo>
                    <a:pt x="176" y="59"/>
                  </a:lnTo>
                  <a:lnTo>
                    <a:pt x="179" y="57"/>
                  </a:lnTo>
                  <a:lnTo>
                    <a:pt x="182" y="55"/>
                  </a:lnTo>
                  <a:lnTo>
                    <a:pt x="185" y="53"/>
                  </a:lnTo>
                  <a:lnTo>
                    <a:pt x="187" y="50"/>
                  </a:lnTo>
                  <a:lnTo>
                    <a:pt x="188" y="47"/>
                  </a:lnTo>
                  <a:lnTo>
                    <a:pt x="189" y="42"/>
                  </a:lnTo>
                  <a:lnTo>
                    <a:pt x="189" y="39"/>
                  </a:lnTo>
                  <a:lnTo>
                    <a:pt x="189" y="35"/>
                  </a:lnTo>
                  <a:lnTo>
                    <a:pt x="188" y="30"/>
                  </a:lnTo>
                  <a:lnTo>
                    <a:pt x="187" y="27"/>
                  </a:lnTo>
                  <a:lnTo>
                    <a:pt x="185" y="24"/>
                  </a:lnTo>
                  <a:lnTo>
                    <a:pt x="182" y="22"/>
                  </a:lnTo>
                  <a:lnTo>
                    <a:pt x="179" y="20"/>
                  </a:lnTo>
                  <a:lnTo>
                    <a:pt x="176" y="19"/>
                  </a:lnTo>
                  <a:lnTo>
                    <a:pt x="173" y="19"/>
                  </a:lnTo>
                  <a:lnTo>
                    <a:pt x="35" y="19"/>
                  </a:lnTo>
                  <a:close/>
                  <a:moveTo>
                    <a:pt x="173" y="77"/>
                  </a:moveTo>
                  <a:lnTo>
                    <a:pt x="35" y="77"/>
                  </a:lnTo>
                  <a:lnTo>
                    <a:pt x="27" y="76"/>
                  </a:lnTo>
                  <a:lnTo>
                    <a:pt x="21" y="74"/>
                  </a:lnTo>
                  <a:lnTo>
                    <a:pt x="15" y="70"/>
                  </a:lnTo>
                  <a:lnTo>
                    <a:pt x="10" y="66"/>
                  </a:lnTo>
                  <a:lnTo>
                    <a:pt x="6" y="60"/>
                  </a:lnTo>
                  <a:lnTo>
                    <a:pt x="2" y="53"/>
                  </a:lnTo>
                  <a:lnTo>
                    <a:pt x="0" y="47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2" y="24"/>
                  </a:lnTo>
                  <a:lnTo>
                    <a:pt x="6" y="17"/>
                  </a:lnTo>
                  <a:lnTo>
                    <a:pt x="10" y="12"/>
                  </a:lnTo>
                  <a:lnTo>
                    <a:pt x="15" y="7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5" y="0"/>
                  </a:lnTo>
                  <a:lnTo>
                    <a:pt x="173" y="0"/>
                  </a:lnTo>
                  <a:lnTo>
                    <a:pt x="179" y="1"/>
                  </a:lnTo>
                  <a:lnTo>
                    <a:pt x="186" y="3"/>
                  </a:lnTo>
                  <a:lnTo>
                    <a:pt x="192" y="7"/>
                  </a:lnTo>
                  <a:lnTo>
                    <a:pt x="198" y="12"/>
                  </a:lnTo>
                  <a:lnTo>
                    <a:pt x="202" y="17"/>
                  </a:lnTo>
                  <a:lnTo>
                    <a:pt x="205" y="24"/>
                  </a:lnTo>
                  <a:lnTo>
                    <a:pt x="206" y="32"/>
                  </a:lnTo>
                  <a:lnTo>
                    <a:pt x="208" y="39"/>
                  </a:lnTo>
                  <a:lnTo>
                    <a:pt x="206" y="47"/>
                  </a:lnTo>
                  <a:lnTo>
                    <a:pt x="205" y="53"/>
                  </a:lnTo>
                  <a:lnTo>
                    <a:pt x="202" y="60"/>
                  </a:lnTo>
                  <a:lnTo>
                    <a:pt x="198" y="66"/>
                  </a:lnTo>
                  <a:lnTo>
                    <a:pt x="192" y="70"/>
                  </a:lnTo>
                  <a:lnTo>
                    <a:pt x="186" y="74"/>
                  </a:lnTo>
                  <a:lnTo>
                    <a:pt x="179" y="76"/>
                  </a:lnTo>
                  <a:lnTo>
                    <a:pt x="173" y="77"/>
                  </a:lnTo>
                  <a:close/>
                </a:path>
              </a:pathLst>
            </a:custGeom>
            <a:grpFill/>
            <a:ln w="0">
              <a:solidFill>
                <a:srgbClr val="7030A0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57" name="Овал 56"/>
          <p:cNvSpPr/>
          <p:nvPr/>
        </p:nvSpPr>
        <p:spPr>
          <a:xfrm>
            <a:off x="2336582" y="3518211"/>
            <a:ext cx="1692000" cy="287338"/>
          </a:xfrm>
          <a:prstGeom prst="ellipse">
            <a:avLst/>
          </a:prstGeom>
          <a:solidFill>
            <a:srgbClr val="7030A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сего принято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6 801 т</a:t>
            </a:r>
          </a:p>
        </p:txBody>
      </p:sp>
      <p:sp>
        <p:nvSpPr>
          <p:cNvPr id="469" name="Прямоугольник 468"/>
          <p:cNvSpPr/>
          <p:nvPr/>
        </p:nvSpPr>
        <p:spPr>
          <a:xfrm>
            <a:off x="8076689" y="1111686"/>
            <a:ext cx="112562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счетное значение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0" name="Прямоугольник 469"/>
          <p:cNvSpPr/>
          <p:nvPr/>
        </p:nvSpPr>
        <p:spPr>
          <a:xfrm>
            <a:off x="7989872" y="1182603"/>
            <a:ext cx="119579" cy="78163"/>
          </a:xfrm>
          <a:prstGeom prst="rect">
            <a:avLst/>
          </a:prstGeom>
          <a:solidFill>
            <a:srgbClr val="706F6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93" name="Прямая соединительная линия 492"/>
          <p:cNvCxnSpPr/>
          <p:nvPr/>
        </p:nvCxnSpPr>
        <p:spPr>
          <a:xfrm>
            <a:off x="6990895" y="2806188"/>
            <a:ext cx="0" cy="58881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Прямая соединительная линия 265"/>
          <p:cNvCxnSpPr/>
          <p:nvPr/>
        </p:nvCxnSpPr>
        <p:spPr>
          <a:xfrm>
            <a:off x="1733788" y="2815711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/>
        </p:nvGrpSpPr>
        <p:grpSpPr>
          <a:xfrm>
            <a:off x="2321659" y="2807630"/>
            <a:ext cx="1735635" cy="58881"/>
            <a:chOff x="2495052" y="2874351"/>
            <a:chExt cx="1735635" cy="58881"/>
          </a:xfrm>
        </p:grpSpPr>
        <p:cxnSp>
          <p:nvCxnSpPr>
            <p:cNvPr id="888" name="Прямая соединительная линия 887"/>
            <p:cNvCxnSpPr/>
            <p:nvPr/>
          </p:nvCxnSpPr>
          <p:spPr>
            <a:xfrm>
              <a:off x="3638209" y="2874351"/>
              <a:ext cx="0" cy="58881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Прямая соединительная линия 266"/>
            <p:cNvCxnSpPr/>
            <p:nvPr/>
          </p:nvCxnSpPr>
          <p:spPr>
            <a:xfrm>
              <a:off x="2495052" y="2882432"/>
              <a:ext cx="0" cy="50800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Прямая соединительная линия 267"/>
            <p:cNvCxnSpPr/>
            <p:nvPr/>
          </p:nvCxnSpPr>
          <p:spPr>
            <a:xfrm>
              <a:off x="3059832" y="2882432"/>
              <a:ext cx="0" cy="50800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Прямая соединительная линия 283"/>
            <p:cNvCxnSpPr/>
            <p:nvPr/>
          </p:nvCxnSpPr>
          <p:spPr>
            <a:xfrm>
              <a:off x="4230687" y="2874351"/>
              <a:ext cx="0" cy="58881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7" name="Прямая соединительная линия 316"/>
          <p:cNvCxnSpPr/>
          <p:nvPr/>
        </p:nvCxnSpPr>
        <p:spPr>
          <a:xfrm>
            <a:off x="5809148" y="2807630"/>
            <a:ext cx="0" cy="58881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Прямая соединительная линия 317"/>
          <p:cNvCxnSpPr/>
          <p:nvPr/>
        </p:nvCxnSpPr>
        <p:spPr>
          <a:xfrm>
            <a:off x="4665991" y="2815711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Прямая соединительная линия 318"/>
          <p:cNvCxnSpPr/>
          <p:nvPr/>
        </p:nvCxnSpPr>
        <p:spPr>
          <a:xfrm>
            <a:off x="5226699" y="2815711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Прямая соединительная линия 319"/>
          <p:cNvCxnSpPr/>
          <p:nvPr/>
        </p:nvCxnSpPr>
        <p:spPr>
          <a:xfrm>
            <a:off x="6401626" y="2807630"/>
            <a:ext cx="0" cy="58881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1" name="Группа 320"/>
          <p:cNvGrpSpPr/>
          <p:nvPr/>
        </p:nvGrpSpPr>
        <p:grpSpPr>
          <a:xfrm>
            <a:off x="7565024" y="2816305"/>
            <a:ext cx="611022" cy="50800"/>
            <a:chOff x="2495052" y="2882432"/>
            <a:chExt cx="611022" cy="50800"/>
          </a:xfrm>
        </p:grpSpPr>
        <p:cxnSp>
          <p:nvCxnSpPr>
            <p:cNvPr id="323" name="Прямая соединительная линия 322"/>
            <p:cNvCxnSpPr/>
            <p:nvPr/>
          </p:nvCxnSpPr>
          <p:spPr>
            <a:xfrm>
              <a:off x="2495052" y="2882432"/>
              <a:ext cx="0" cy="50800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Прямая соединительная линия 323"/>
            <p:cNvCxnSpPr/>
            <p:nvPr/>
          </p:nvCxnSpPr>
          <p:spPr>
            <a:xfrm>
              <a:off x="3106074" y="2882432"/>
              <a:ext cx="0" cy="50800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5" name="Группа 394"/>
          <p:cNvGrpSpPr/>
          <p:nvPr/>
        </p:nvGrpSpPr>
        <p:grpSpPr>
          <a:xfrm>
            <a:off x="5714639" y="3261113"/>
            <a:ext cx="172817" cy="195263"/>
            <a:chOff x="6670076" y="3327834"/>
            <a:chExt cx="172817" cy="195263"/>
          </a:xfrm>
        </p:grpSpPr>
        <p:sp>
          <p:nvSpPr>
            <p:cNvPr id="396" name="Freeform 404"/>
            <p:cNvSpPr>
              <a:spLocks noEditPoints="1"/>
            </p:cNvSpPr>
            <p:nvPr/>
          </p:nvSpPr>
          <p:spPr bwMode="auto">
            <a:xfrm>
              <a:off x="6670076" y="3327834"/>
              <a:ext cx="172817" cy="195263"/>
            </a:xfrm>
            <a:custGeom>
              <a:avLst/>
              <a:gdLst>
                <a:gd name="T0" fmla="*/ 538 w 1119"/>
                <a:gd name="T1" fmla="*/ 49 h 1137"/>
                <a:gd name="T2" fmla="*/ 971 w 1119"/>
                <a:gd name="T3" fmla="*/ 537 h 1137"/>
                <a:gd name="T4" fmla="*/ 950 w 1119"/>
                <a:gd name="T5" fmla="*/ 447 h 1137"/>
                <a:gd name="T6" fmla="*/ 950 w 1119"/>
                <a:gd name="T7" fmla="*/ 332 h 1137"/>
                <a:gd name="T8" fmla="*/ 832 w 1119"/>
                <a:gd name="T9" fmla="*/ 172 h 1137"/>
                <a:gd name="T10" fmla="*/ 653 w 1119"/>
                <a:gd name="T11" fmla="*/ 83 h 1137"/>
                <a:gd name="T12" fmla="*/ 447 w 1119"/>
                <a:gd name="T13" fmla="*/ 87 h 1137"/>
                <a:gd name="T14" fmla="*/ 272 w 1119"/>
                <a:gd name="T15" fmla="*/ 184 h 1137"/>
                <a:gd name="T16" fmla="*/ 159 w 1119"/>
                <a:gd name="T17" fmla="*/ 349 h 1137"/>
                <a:gd name="T18" fmla="*/ 170 w 1119"/>
                <a:gd name="T19" fmla="*/ 453 h 1137"/>
                <a:gd name="T20" fmla="*/ 184 w 1119"/>
                <a:gd name="T21" fmla="*/ 566 h 1137"/>
                <a:gd name="T22" fmla="*/ 267 w 1119"/>
                <a:gd name="T23" fmla="*/ 297 h 1137"/>
                <a:gd name="T24" fmla="*/ 891 w 1119"/>
                <a:gd name="T25" fmla="*/ 345 h 1137"/>
                <a:gd name="T26" fmla="*/ 963 w 1119"/>
                <a:gd name="T27" fmla="*/ 632 h 1137"/>
                <a:gd name="T28" fmla="*/ 974 w 1119"/>
                <a:gd name="T29" fmla="*/ 508 h 1137"/>
                <a:gd name="T30" fmla="*/ 1095 w 1119"/>
                <a:gd name="T31" fmla="*/ 501 h 1137"/>
                <a:gd name="T32" fmla="*/ 991 w 1119"/>
                <a:gd name="T33" fmla="*/ 445 h 1137"/>
                <a:gd name="T34" fmla="*/ 934 w 1119"/>
                <a:gd name="T35" fmla="*/ 746 h 1137"/>
                <a:gd name="T36" fmla="*/ 954 w 1119"/>
                <a:gd name="T37" fmla="*/ 1021 h 1137"/>
                <a:gd name="T38" fmla="*/ 829 w 1119"/>
                <a:gd name="T39" fmla="*/ 1137 h 1137"/>
                <a:gd name="T40" fmla="*/ 422 w 1119"/>
                <a:gd name="T41" fmla="*/ 1021 h 1137"/>
                <a:gd name="T42" fmla="*/ 241 w 1119"/>
                <a:gd name="T43" fmla="*/ 1137 h 1137"/>
                <a:gd name="T44" fmla="*/ 158 w 1119"/>
                <a:gd name="T45" fmla="*/ 1020 h 1137"/>
                <a:gd name="T46" fmla="*/ 170 w 1119"/>
                <a:gd name="T47" fmla="*/ 724 h 1137"/>
                <a:gd name="T48" fmla="*/ 17 w 1119"/>
                <a:gd name="T49" fmla="*/ 534 h 1137"/>
                <a:gd name="T50" fmla="*/ 17 w 1119"/>
                <a:gd name="T51" fmla="*/ 428 h 1137"/>
                <a:gd name="T52" fmla="*/ 191 w 1119"/>
                <a:gd name="T53" fmla="*/ 241 h 1137"/>
                <a:gd name="T54" fmla="*/ 382 w 1119"/>
                <a:gd name="T55" fmla="*/ 6 h 1137"/>
                <a:gd name="T56" fmla="*/ 786 w 1119"/>
                <a:gd name="T57" fmla="*/ 110 h 1137"/>
                <a:gd name="T58" fmla="*/ 979 w 1119"/>
                <a:gd name="T59" fmla="*/ 338 h 1137"/>
                <a:gd name="T60" fmla="*/ 1117 w 1119"/>
                <a:gd name="T61" fmla="*/ 451 h 1137"/>
                <a:gd name="T62" fmla="*/ 184 w 1119"/>
                <a:gd name="T63" fmla="*/ 596 h 1137"/>
                <a:gd name="T64" fmla="*/ 184 w 1119"/>
                <a:gd name="T65" fmla="*/ 596 h 1137"/>
                <a:gd name="T66" fmla="*/ 121 w 1119"/>
                <a:gd name="T67" fmla="*/ 517 h 1137"/>
                <a:gd name="T68" fmla="*/ 137 w 1119"/>
                <a:gd name="T69" fmla="*/ 446 h 1137"/>
                <a:gd name="T70" fmla="*/ 415 w 1119"/>
                <a:gd name="T71" fmla="*/ 940 h 1137"/>
                <a:gd name="T72" fmla="*/ 799 w 1119"/>
                <a:gd name="T73" fmla="*/ 996 h 1137"/>
                <a:gd name="T74" fmla="*/ 766 w 1119"/>
                <a:gd name="T75" fmla="*/ 887 h 1137"/>
                <a:gd name="T76" fmla="*/ 318 w 1119"/>
                <a:gd name="T77" fmla="*/ 996 h 1137"/>
                <a:gd name="T78" fmla="*/ 441 w 1119"/>
                <a:gd name="T79" fmla="*/ 796 h 1137"/>
                <a:gd name="T80" fmla="*/ 674 w 1119"/>
                <a:gd name="T81" fmla="*/ 734 h 1137"/>
                <a:gd name="T82" fmla="*/ 415 w 1119"/>
                <a:gd name="T83" fmla="*/ 795 h 1137"/>
                <a:gd name="T84" fmla="*/ 670 w 1119"/>
                <a:gd name="T85" fmla="*/ 711 h 1137"/>
                <a:gd name="T86" fmla="*/ 701 w 1119"/>
                <a:gd name="T87" fmla="*/ 801 h 1137"/>
                <a:gd name="T88" fmla="*/ 812 w 1119"/>
                <a:gd name="T89" fmla="*/ 1101 h 1137"/>
                <a:gd name="T90" fmla="*/ 890 w 1119"/>
                <a:gd name="T91" fmla="*/ 1107 h 1137"/>
                <a:gd name="T92" fmla="*/ 225 w 1119"/>
                <a:gd name="T93" fmla="*/ 1104 h 1137"/>
                <a:gd name="T94" fmla="*/ 304 w 1119"/>
                <a:gd name="T95" fmla="*/ 1104 h 1137"/>
                <a:gd name="T96" fmla="*/ 796 w 1119"/>
                <a:gd name="T97" fmla="*/ 822 h 1137"/>
                <a:gd name="T98" fmla="*/ 830 w 1119"/>
                <a:gd name="T99" fmla="*/ 318 h 1137"/>
                <a:gd name="T100" fmla="*/ 245 w 1119"/>
                <a:gd name="T101" fmla="*/ 371 h 1137"/>
                <a:gd name="T102" fmla="*/ 286 w 1119"/>
                <a:gd name="T103" fmla="*/ 546 h 1137"/>
                <a:gd name="T104" fmla="*/ 816 w 1119"/>
                <a:gd name="T105" fmla="*/ 579 h 1137"/>
                <a:gd name="T106" fmla="*/ 800 w 1119"/>
                <a:gd name="T107" fmla="*/ 378 h 1137"/>
                <a:gd name="T108" fmla="*/ 274 w 1119"/>
                <a:gd name="T109" fmla="*/ 588 h 1137"/>
                <a:gd name="T110" fmla="*/ 301 w 1119"/>
                <a:gd name="T111" fmla="*/ 361 h 1137"/>
                <a:gd name="T112" fmla="*/ 824 w 1119"/>
                <a:gd name="T113" fmla="*/ 372 h 1137"/>
                <a:gd name="T114" fmla="*/ 837 w 1119"/>
                <a:gd name="T115" fmla="*/ 596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9" h="1137">
                  <a:moveTo>
                    <a:pt x="712" y="75"/>
                  </a:moveTo>
                  <a:lnTo>
                    <a:pt x="712" y="24"/>
                  </a:lnTo>
                  <a:lnTo>
                    <a:pt x="405" y="24"/>
                  </a:lnTo>
                  <a:lnTo>
                    <a:pt x="405" y="75"/>
                  </a:lnTo>
                  <a:lnTo>
                    <a:pt x="424" y="70"/>
                  </a:lnTo>
                  <a:lnTo>
                    <a:pt x="442" y="63"/>
                  </a:lnTo>
                  <a:lnTo>
                    <a:pt x="461" y="59"/>
                  </a:lnTo>
                  <a:lnTo>
                    <a:pt x="480" y="55"/>
                  </a:lnTo>
                  <a:lnTo>
                    <a:pt x="499" y="51"/>
                  </a:lnTo>
                  <a:lnTo>
                    <a:pt x="518" y="50"/>
                  </a:lnTo>
                  <a:lnTo>
                    <a:pt x="538" y="49"/>
                  </a:lnTo>
                  <a:lnTo>
                    <a:pt x="558" y="47"/>
                  </a:lnTo>
                  <a:lnTo>
                    <a:pt x="579" y="49"/>
                  </a:lnTo>
                  <a:lnTo>
                    <a:pt x="599" y="50"/>
                  </a:lnTo>
                  <a:lnTo>
                    <a:pt x="618" y="51"/>
                  </a:lnTo>
                  <a:lnTo>
                    <a:pt x="637" y="55"/>
                  </a:lnTo>
                  <a:lnTo>
                    <a:pt x="657" y="59"/>
                  </a:lnTo>
                  <a:lnTo>
                    <a:pt x="675" y="63"/>
                  </a:lnTo>
                  <a:lnTo>
                    <a:pt x="694" y="70"/>
                  </a:lnTo>
                  <a:lnTo>
                    <a:pt x="712" y="75"/>
                  </a:lnTo>
                  <a:close/>
                  <a:moveTo>
                    <a:pt x="934" y="566"/>
                  </a:moveTo>
                  <a:lnTo>
                    <a:pt x="971" y="537"/>
                  </a:lnTo>
                  <a:lnTo>
                    <a:pt x="967" y="534"/>
                  </a:lnTo>
                  <a:lnTo>
                    <a:pt x="962" y="532"/>
                  </a:lnTo>
                  <a:lnTo>
                    <a:pt x="958" y="528"/>
                  </a:lnTo>
                  <a:lnTo>
                    <a:pt x="955" y="522"/>
                  </a:lnTo>
                  <a:lnTo>
                    <a:pt x="953" y="518"/>
                  </a:lnTo>
                  <a:lnTo>
                    <a:pt x="950" y="513"/>
                  </a:lnTo>
                  <a:lnTo>
                    <a:pt x="949" y="507"/>
                  </a:lnTo>
                  <a:lnTo>
                    <a:pt x="949" y="501"/>
                  </a:lnTo>
                  <a:lnTo>
                    <a:pt x="949" y="459"/>
                  </a:lnTo>
                  <a:lnTo>
                    <a:pt x="949" y="453"/>
                  </a:lnTo>
                  <a:lnTo>
                    <a:pt x="950" y="447"/>
                  </a:lnTo>
                  <a:lnTo>
                    <a:pt x="953" y="441"/>
                  </a:lnTo>
                  <a:lnTo>
                    <a:pt x="957" y="436"/>
                  </a:lnTo>
                  <a:lnTo>
                    <a:pt x="961" y="432"/>
                  </a:lnTo>
                  <a:lnTo>
                    <a:pt x="966" y="428"/>
                  </a:lnTo>
                  <a:lnTo>
                    <a:pt x="971" y="424"/>
                  </a:lnTo>
                  <a:lnTo>
                    <a:pt x="978" y="422"/>
                  </a:lnTo>
                  <a:lnTo>
                    <a:pt x="974" y="403"/>
                  </a:lnTo>
                  <a:lnTo>
                    <a:pt x="969" y="384"/>
                  </a:lnTo>
                  <a:lnTo>
                    <a:pt x="963" y="367"/>
                  </a:lnTo>
                  <a:lnTo>
                    <a:pt x="958" y="349"/>
                  </a:lnTo>
                  <a:lnTo>
                    <a:pt x="950" y="332"/>
                  </a:lnTo>
                  <a:lnTo>
                    <a:pt x="944" y="316"/>
                  </a:lnTo>
                  <a:lnTo>
                    <a:pt x="934" y="299"/>
                  </a:lnTo>
                  <a:lnTo>
                    <a:pt x="925" y="283"/>
                  </a:lnTo>
                  <a:lnTo>
                    <a:pt x="916" y="267"/>
                  </a:lnTo>
                  <a:lnTo>
                    <a:pt x="905" y="253"/>
                  </a:lnTo>
                  <a:lnTo>
                    <a:pt x="895" y="237"/>
                  </a:lnTo>
                  <a:lnTo>
                    <a:pt x="883" y="224"/>
                  </a:lnTo>
                  <a:lnTo>
                    <a:pt x="871" y="209"/>
                  </a:lnTo>
                  <a:lnTo>
                    <a:pt x="858" y="196"/>
                  </a:lnTo>
                  <a:lnTo>
                    <a:pt x="845" y="184"/>
                  </a:lnTo>
                  <a:lnTo>
                    <a:pt x="832" y="172"/>
                  </a:lnTo>
                  <a:lnTo>
                    <a:pt x="817" y="160"/>
                  </a:lnTo>
                  <a:lnTo>
                    <a:pt x="803" y="150"/>
                  </a:lnTo>
                  <a:lnTo>
                    <a:pt x="787" y="139"/>
                  </a:lnTo>
                  <a:lnTo>
                    <a:pt x="771" y="130"/>
                  </a:lnTo>
                  <a:lnTo>
                    <a:pt x="755" y="121"/>
                  </a:lnTo>
                  <a:lnTo>
                    <a:pt x="740" y="113"/>
                  </a:lnTo>
                  <a:lnTo>
                    <a:pt x="722" y="105"/>
                  </a:lnTo>
                  <a:lnTo>
                    <a:pt x="705" y="99"/>
                  </a:lnTo>
                  <a:lnTo>
                    <a:pt x="688" y="92"/>
                  </a:lnTo>
                  <a:lnTo>
                    <a:pt x="670" y="87"/>
                  </a:lnTo>
                  <a:lnTo>
                    <a:pt x="653" y="83"/>
                  </a:lnTo>
                  <a:lnTo>
                    <a:pt x="634" y="79"/>
                  </a:lnTo>
                  <a:lnTo>
                    <a:pt x="616" y="76"/>
                  </a:lnTo>
                  <a:lnTo>
                    <a:pt x="596" y="74"/>
                  </a:lnTo>
                  <a:lnTo>
                    <a:pt x="578" y="72"/>
                  </a:lnTo>
                  <a:lnTo>
                    <a:pt x="558" y="72"/>
                  </a:lnTo>
                  <a:lnTo>
                    <a:pt x="540" y="72"/>
                  </a:lnTo>
                  <a:lnTo>
                    <a:pt x="521" y="74"/>
                  </a:lnTo>
                  <a:lnTo>
                    <a:pt x="501" y="76"/>
                  </a:lnTo>
                  <a:lnTo>
                    <a:pt x="483" y="79"/>
                  </a:lnTo>
                  <a:lnTo>
                    <a:pt x="465" y="83"/>
                  </a:lnTo>
                  <a:lnTo>
                    <a:pt x="447" y="87"/>
                  </a:lnTo>
                  <a:lnTo>
                    <a:pt x="429" y="92"/>
                  </a:lnTo>
                  <a:lnTo>
                    <a:pt x="412" y="99"/>
                  </a:lnTo>
                  <a:lnTo>
                    <a:pt x="395" y="105"/>
                  </a:lnTo>
                  <a:lnTo>
                    <a:pt x="378" y="113"/>
                  </a:lnTo>
                  <a:lnTo>
                    <a:pt x="362" y="121"/>
                  </a:lnTo>
                  <a:lnTo>
                    <a:pt x="346" y="130"/>
                  </a:lnTo>
                  <a:lnTo>
                    <a:pt x="330" y="139"/>
                  </a:lnTo>
                  <a:lnTo>
                    <a:pt x="314" y="150"/>
                  </a:lnTo>
                  <a:lnTo>
                    <a:pt x="300" y="160"/>
                  </a:lnTo>
                  <a:lnTo>
                    <a:pt x="286" y="172"/>
                  </a:lnTo>
                  <a:lnTo>
                    <a:pt x="272" y="184"/>
                  </a:lnTo>
                  <a:lnTo>
                    <a:pt x="259" y="196"/>
                  </a:lnTo>
                  <a:lnTo>
                    <a:pt x="246" y="209"/>
                  </a:lnTo>
                  <a:lnTo>
                    <a:pt x="234" y="224"/>
                  </a:lnTo>
                  <a:lnTo>
                    <a:pt x="222" y="237"/>
                  </a:lnTo>
                  <a:lnTo>
                    <a:pt x="212" y="251"/>
                  </a:lnTo>
                  <a:lnTo>
                    <a:pt x="201" y="267"/>
                  </a:lnTo>
                  <a:lnTo>
                    <a:pt x="192" y="283"/>
                  </a:lnTo>
                  <a:lnTo>
                    <a:pt x="183" y="299"/>
                  </a:lnTo>
                  <a:lnTo>
                    <a:pt x="175" y="314"/>
                  </a:lnTo>
                  <a:lnTo>
                    <a:pt x="167" y="332"/>
                  </a:lnTo>
                  <a:lnTo>
                    <a:pt x="159" y="349"/>
                  </a:lnTo>
                  <a:lnTo>
                    <a:pt x="154" y="367"/>
                  </a:lnTo>
                  <a:lnTo>
                    <a:pt x="149" y="384"/>
                  </a:lnTo>
                  <a:lnTo>
                    <a:pt x="143" y="403"/>
                  </a:lnTo>
                  <a:lnTo>
                    <a:pt x="139" y="421"/>
                  </a:lnTo>
                  <a:lnTo>
                    <a:pt x="146" y="424"/>
                  </a:lnTo>
                  <a:lnTo>
                    <a:pt x="151" y="426"/>
                  </a:lnTo>
                  <a:lnTo>
                    <a:pt x="157" y="430"/>
                  </a:lnTo>
                  <a:lnTo>
                    <a:pt x="162" y="436"/>
                  </a:lnTo>
                  <a:lnTo>
                    <a:pt x="164" y="441"/>
                  </a:lnTo>
                  <a:lnTo>
                    <a:pt x="167" y="446"/>
                  </a:lnTo>
                  <a:lnTo>
                    <a:pt x="170" y="453"/>
                  </a:lnTo>
                  <a:lnTo>
                    <a:pt x="170" y="459"/>
                  </a:lnTo>
                  <a:lnTo>
                    <a:pt x="170" y="501"/>
                  </a:lnTo>
                  <a:lnTo>
                    <a:pt x="170" y="507"/>
                  </a:lnTo>
                  <a:lnTo>
                    <a:pt x="168" y="513"/>
                  </a:lnTo>
                  <a:lnTo>
                    <a:pt x="166" y="518"/>
                  </a:lnTo>
                  <a:lnTo>
                    <a:pt x="163" y="522"/>
                  </a:lnTo>
                  <a:lnTo>
                    <a:pt x="161" y="528"/>
                  </a:lnTo>
                  <a:lnTo>
                    <a:pt x="157" y="532"/>
                  </a:lnTo>
                  <a:lnTo>
                    <a:pt x="151" y="534"/>
                  </a:lnTo>
                  <a:lnTo>
                    <a:pt x="147" y="537"/>
                  </a:lnTo>
                  <a:lnTo>
                    <a:pt x="184" y="566"/>
                  </a:lnTo>
                  <a:lnTo>
                    <a:pt x="184" y="566"/>
                  </a:lnTo>
                  <a:lnTo>
                    <a:pt x="221" y="367"/>
                  </a:lnTo>
                  <a:lnTo>
                    <a:pt x="225" y="347"/>
                  </a:lnTo>
                  <a:lnTo>
                    <a:pt x="230" y="332"/>
                  </a:lnTo>
                  <a:lnTo>
                    <a:pt x="234" y="324"/>
                  </a:lnTo>
                  <a:lnTo>
                    <a:pt x="238" y="318"/>
                  </a:lnTo>
                  <a:lnTo>
                    <a:pt x="243" y="312"/>
                  </a:lnTo>
                  <a:lnTo>
                    <a:pt x="247" y="308"/>
                  </a:lnTo>
                  <a:lnTo>
                    <a:pt x="254" y="304"/>
                  </a:lnTo>
                  <a:lnTo>
                    <a:pt x="259" y="300"/>
                  </a:lnTo>
                  <a:lnTo>
                    <a:pt x="267" y="297"/>
                  </a:lnTo>
                  <a:lnTo>
                    <a:pt x="274" y="295"/>
                  </a:lnTo>
                  <a:lnTo>
                    <a:pt x="291" y="292"/>
                  </a:lnTo>
                  <a:lnTo>
                    <a:pt x="312" y="291"/>
                  </a:lnTo>
                  <a:lnTo>
                    <a:pt x="807" y="291"/>
                  </a:lnTo>
                  <a:lnTo>
                    <a:pt x="824" y="293"/>
                  </a:lnTo>
                  <a:lnTo>
                    <a:pt x="840" y="296"/>
                  </a:lnTo>
                  <a:lnTo>
                    <a:pt x="853" y="303"/>
                  </a:lnTo>
                  <a:lnTo>
                    <a:pt x="865" y="309"/>
                  </a:lnTo>
                  <a:lnTo>
                    <a:pt x="875" y="320"/>
                  </a:lnTo>
                  <a:lnTo>
                    <a:pt x="884" y="330"/>
                  </a:lnTo>
                  <a:lnTo>
                    <a:pt x="891" y="345"/>
                  </a:lnTo>
                  <a:lnTo>
                    <a:pt x="896" y="361"/>
                  </a:lnTo>
                  <a:lnTo>
                    <a:pt x="934" y="563"/>
                  </a:lnTo>
                  <a:lnTo>
                    <a:pt x="934" y="566"/>
                  </a:lnTo>
                  <a:close/>
                  <a:moveTo>
                    <a:pt x="980" y="561"/>
                  </a:moveTo>
                  <a:lnTo>
                    <a:pt x="934" y="595"/>
                  </a:lnTo>
                  <a:lnTo>
                    <a:pt x="934" y="596"/>
                  </a:lnTo>
                  <a:lnTo>
                    <a:pt x="934" y="699"/>
                  </a:lnTo>
                  <a:lnTo>
                    <a:pt x="942" y="683"/>
                  </a:lnTo>
                  <a:lnTo>
                    <a:pt x="950" y="666"/>
                  </a:lnTo>
                  <a:lnTo>
                    <a:pt x="957" y="649"/>
                  </a:lnTo>
                  <a:lnTo>
                    <a:pt x="963" y="632"/>
                  </a:lnTo>
                  <a:lnTo>
                    <a:pt x="969" y="614"/>
                  </a:lnTo>
                  <a:lnTo>
                    <a:pt x="972" y="597"/>
                  </a:lnTo>
                  <a:lnTo>
                    <a:pt x="976" y="579"/>
                  </a:lnTo>
                  <a:lnTo>
                    <a:pt x="980" y="561"/>
                  </a:lnTo>
                  <a:close/>
                  <a:moveTo>
                    <a:pt x="988" y="445"/>
                  </a:moveTo>
                  <a:lnTo>
                    <a:pt x="982" y="446"/>
                  </a:lnTo>
                  <a:lnTo>
                    <a:pt x="976" y="449"/>
                  </a:lnTo>
                  <a:lnTo>
                    <a:pt x="974" y="454"/>
                  </a:lnTo>
                  <a:lnTo>
                    <a:pt x="972" y="459"/>
                  </a:lnTo>
                  <a:lnTo>
                    <a:pt x="972" y="501"/>
                  </a:lnTo>
                  <a:lnTo>
                    <a:pt x="974" y="508"/>
                  </a:lnTo>
                  <a:lnTo>
                    <a:pt x="976" y="512"/>
                  </a:lnTo>
                  <a:lnTo>
                    <a:pt x="982" y="516"/>
                  </a:lnTo>
                  <a:lnTo>
                    <a:pt x="988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6" y="517"/>
                  </a:lnTo>
                  <a:lnTo>
                    <a:pt x="1079" y="517"/>
                  </a:lnTo>
                  <a:lnTo>
                    <a:pt x="1086" y="516"/>
                  </a:lnTo>
                  <a:lnTo>
                    <a:pt x="1090" y="512"/>
                  </a:lnTo>
                  <a:lnTo>
                    <a:pt x="1094" y="508"/>
                  </a:lnTo>
                  <a:lnTo>
                    <a:pt x="1095" y="501"/>
                  </a:lnTo>
                  <a:lnTo>
                    <a:pt x="1095" y="459"/>
                  </a:lnTo>
                  <a:lnTo>
                    <a:pt x="1094" y="454"/>
                  </a:lnTo>
                  <a:lnTo>
                    <a:pt x="1090" y="449"/>
                  </a:lnTo>
                  <a:lnTo>
                    <a:pt x="1086" y="446"/>
                  </a:lnTo>
                  <a:lnTo>
                    <a:pt x="1079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1" y="445"/>
                  </a:lnTo>
                  <a:lnTo>
                    <a:pt x="991" y="445"/>
                  </a:lnTo>
                  <a:lnTo>
                    <a:pt x="988" y="445"/>
                  </a:lnTo>
                  <a:close/>
                  <a:moveTo>
                    <a:pt x="1079" y="541"/>
                  </a:moveTo>
                  <a:lnTo>
                    <a:pt x="1007" y="541"/>
                  </a:lnTo>
                  <a:lnTo>
                    <a:pt x="1003" y="568"/>
                  </a:lnTo>
                  <a:lnTo>
                    <a:pt x="997" y="595"/>
                  </a:lnTo>
                  <a:lnTo>
                    <a:pt x="991" y="621"/>
                  </a:lnTo>
                  <a:lnTo>
                    <a:pt x="983" y="647"/>
                  </a:lnTo>
                  <a:lnTo>
                    <a:pt x="974" y="674"/>
                  </a:lnTo>
                  <a:lnTo>
                    <a:pt x="962" y="699"/>
                  </a:lnTo>
                  <a:lnTo>
                    <a:pt x="949" y="722"/>
                  </a:lnTo>
                  <a:lnTo>
                    <a:pt x="934" y="746"/>
                  </a:lnTo>
                  <a:lnTo>
                    <a:pt x="934" y="817"/>
                  </a:lnTo>
                  <a:lnTo>
                    <a:pt x="954" y="817"/>
                  </a:lnTo>
                  <a:lnTo>
                    <a:pt x="959" y="818"/>
                  </a:lnTo>
                  <a:lnTo>
                    <a:pt x="963" y="821"/>
                  </a:lnTo>
                  <a:lnTo>
                    <a:pt x="966" y="825"/>
                  </a:lnTo>
                  <a:lnTo>
                    <a:pt x="966" y="829"/>
                  </a:lnTo>
                  <a:lnTo>
                    <a:pt x="966" y="1008"/>
                  </a:lnTo>
                  <a:lnTo>
                    <a:pt x="966" y="1013"/>
                  </a:lnTo>
                  <a:lnTo>
                    <a:pt x="963" y="1017"/>
                  </a:lnTo>
                  <a:lnTo>
                    <a:pt x="959" y="1020"/>
                  </a:lnTo>
                  <a:lnTo>
                    <a:pt x="954" y="1021"/>
                  </a:lnTo>
                  <a:lnTo>
                    <a:pt x="919" y="1021"/>
                  </a:lnTo>
                  <a:lnTo>
                    <a:pt x="919" y="1095"/>
                  </a:lnTo>
                  <a:lnTo>
                    <a:pt x="919" y="1103"/>
                  </a:lnTo>
                  <a:lnTo>
                    <a:pt x="916" y="1111"/>
                  </a:lnTo>
                  <a:lnTo>
                    <a:pt x="912" y="1119"/>
                  </a:lnTo>
                  <a:lnTo>
                    <a:pt x="907" y="1124"/>
                  </a:lnTo>
                  <a:lnTo>
                    <a:pt x="900" y="1129"/>
                  </a:lnTo>
                  <a:lnTo>
                    <a:pt x="894" y="1133"/>
                  </a:lnTo>
                  <a:lnTo>
                    <a:pt x="886" y="1136"/>
                  </a:lnTo>
                  <a:lnTo>
                    <a:pt x="876" y="1137"/>
                  </a:lnTo>
                  <a:lnTo>
                    <a:pt x="829" y="1137"/>
                  </a:lnTo>
                  <a:lnTo>
                    <a:pt x="821" y="1136"/>
                  </a:lnTo>
                  <a:lnTo>
                    <a:pt x="812" y="1133"/>
                  </a:lnTo>
                  <a:lnTo>
                    <a:pt x="805" y="1129"/>
                  </a:lnTo>
                  <a:lnTo>
                    <a:pt x="799" y="1124"/>
                  </a:lnTo>
                  <a:lnTo>
                    <a:pt x="794" y="1119"/>
                  </a:lnTo>
                  <a:lnTo>
                    <a:pt x="790" y="1111"/>
                  </a:lnTo>
                  <a:lnTo>
                    <a:pt x="788" y="1103"/>
                  </a:lnTo>
                  <a:lnTo>
                    <a:pt x="787" y="1095"/>
                  </a:lnTo>
                  <a:lnTo>
                    <a:pt x="787" y="1021"/>
                  </a:lnTo>
                  <a:lnTo>
                    <a:pt x="695" y="1021"/>
                  </a:lnTo>
                  <a:lnTo>
                    <a:pt x="422" y="1021"/>
                  </a:lnTo>
                  <a:lnTo>
                    <a:pt x="330" y="1021"/>
                  </a:lnTo>
                  <a:lnTo>
                    <a:pt x="330" y="1095"/>
                  </a:lnTo>
                  <a:lnTo>
                    <a:pt x="330" y="1103"/>
                  </a:lnTo>
                  <a:lnTo>
                    <a:pt x="328" y="1111"/>
                  </a:lnTo>
                  <a:lnTo>
                    <a:pt x="324" y="1119"/>
                  </a:lnTo>
                  <a:lnTo>
                    <a:pt x="318" y="1124"/>
                  </a:lnTo>
                  <a:lnTo>
                    <a:pt x="312" y="1129"/>
                  </a:lnTo>
                  <a:lnTo>
                    <a:pt x="305" y="1133"/>
                  </a:lnTo>
                  <a:lnTo>
                    <a:pt x="297" y="1136"/>
                  </a:lnTo>
                  <a:lnTo>
                    <a:pt x="288" y="1137"/>
                  </a:lnTo>
                  <a:lnTo>
                    <a:pt x="241" y="1137"/>
                  </a:lnTo>
                  <a:lnTo>
                    <a:pt x="233" y="1136"/>
                  </a:lnTo>
                  <a:lnTo>
                    <a:pt x="224" y="1133"/>
                  </a:lnTo>
                  <a:lnTo>
                    <a:pt x="217" y="1129"/>
                  </a:lnTo>
                  <a:lnTo>
                    <a:pt x="211" y="1124"/>
                  </a:lnTo>
                  <a:lnTo>
                    <a:pt x="205" y="1119"/>
                  </a:lnTo>
                  <a:lnTo>
                    <a:pt x="201" y="1111"/>
                  </a:lnTo>
                  <a:lnTo>
                    <a:pt x="199" y="1103"/>
                  </a:lnTo>
                  <a:lnTo>
                    <a:pt x="199" y="1095"/>
                  </a:lnTo>
                  <a:lnTo>
                    <a:pt x="199" y="1021"/>
                  </a:lnTo>
                  <a:lnTo>
                    <a:pt x="163" y="1021"/>
                  </a:lnTo>
                  <a:lnTo>
                    <a:pt x="158" y="1020"/>
                  </a:lnTo>
                  <a:lnTo>
                    <a:pt x="154" y="1017"/>
                  </a:lnTo>
                  <a:lnTo>
                    <a:pt x="151" y="1013"/>
                  </a:lnTo>
                  <a:lnTo>
                    <a:pt x="151" y="1008"/>
                  </a:lnTo>
                  <a:lnTo>
                    <a:pt x="151" y="829"/>
                  </a:lnTo>
                  <a:lnTo>
                    <a:pt x="151" y="825"/>
                  </a:lnTo>
                  <a:lnTo>
                    <a:pt x="154" y="821"/>
                  </a:lnTo>
                  <a:lnTo>
                    <a:pt x="158" y="818"/>
                  </a:lnTo>
                  <a:lnTo>
                    <a:pt x="163" y="817"/>
                  </a:lnTo>
                  <a:lnTo>
                    <a:pt x="184" y="817"/>
                  </a:lnTo>
                  <a:lnTo>
                    <a:pt x="184" y="747"/>
                  </a:lnTo>
                  <a:lnTo>
                    <a:pt x="170" y="724"/>
                  </a:lnTo>
                  <a:lnTo>
                    <a:pt x="157" y="700"/>
                  </a:lnTo>
                  <a:lnTo>
                    <a:pt x="145" y="675"/>
                  </a:lnTo>
                  <a:lnTo>
                    <a:pt x="134" y="649"/>
                  </a:lnTo>
                  <a:lnTo>
                    <a:pt x="126" y="622"/>
                  </a:lnTo>
                  <a:lnTo>
                    <a:pt x="120" y="596"/>
                  </a:lnTo>
                  <a:lnTo>
                    <a:pt x="114" y="568"/>
                  </a:lnTo>
                  <a:lnTo>
                    <a:pt x="111" y="541"/>
                  </a:lnTo>
                  <a:lnTo>
                    <a:pt x="39" y="541"/>
                  </a:lnTo>
                  <a:lnTo>
                    <a:pt x="32" y="539"/>
                  </a:lnTo>
                  <a:lnTo>
                    <a:pt x="24" y="538"/>
                  </a:lnTo>
                  <a:lnTo>
                    <a:pt x="17" y="534"/>
                  </a:lnTo>
                  <a:lnTo>
                    <a:pt x="12" y="529"/>
                  </a:lnTo>
                  <a:lnTo>
                    <a:pt x="7" y="524"/>
                  </a:lnTo>
                  <a:lnTo>
                    <a:pt x="3" y="517"/>
                  </a:lnTo>
                  <a:lnTo>
                    <a:pt x="1" y="509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1" y="451"/>
                  </a:lnTo>
                  <a:lnTo>
                    <a:pt x="3" y="445"/>
                  </a:lnTo>
                  <a:lnTo>
                    <a:pt x="7" y="438"/>
                  </a:lnTo>
                  <a:lnTo>
                    <a:pt x="12" y="432"/>
                  </a:lnTo>
                  <a:lnTo>
                    <a:pt x="17" y="428"/>
                  </a:lnTo>
                  <a:lnTo>
                    <a:pt x="24" y="424"/>
                  </a:lnTo>
                  <a:lnTo>
                    <a:pt x="32" y="421"/>
                  </a:lnTo>
                  <a:lnTo>
                    <a:pt x="39" y="420"/>
                  </a:lnTo>
                  <a:lnTo>
                    <a:pt x="116" y="420"/>
                  </a:lnTo>
                  <a:lnTo>
                    <a:pt x="121" y="392"/>
                  </a:lnTo>
                  <a:lnTo>
                    <a:pt x="129" y="364"/>
                  </a:lnTo>
                  <a:lnTo>
                    <a:pt x="138" y="338"/>
                  </a:lnTo>
                  <a:lnTo>
                    <a:pt x="149" y="312"/>
                  </a:lnTo>
                  <a:lnTo>
                    <a:pt x="162" y="287"/>
                  </a:lnTo>
                  <a:lnTo>
                    <a:pt x="175" y="263"/>
                  </a:lnTo>
                  <a:lnTo>
                    <a:pt x="191" y="241"/>
                  </a:lnTo>
                  <a:lnTo>
                    <a:pt x="208" y="218"/>
                  </a:lnTo>
                  <a:lnTo>
                    <a:pt x="225" y="197"/>
                  </a:lnTo>
                  <a:lnTo>
                    <a:pt x="245" y="178"/>
                  </a:lnTo>
                  <a:lnTo>
                    <a:pt x="264" y="158"/>
                  </a:lnTo>
                  <a:lnTo>
                    <a:pt x="286" y="141"/>
                  </a:lnTo>
                  <a:lnTo>
                    <a:pt x="309" y="125"/>
                  </a:lnTo>
                  <a:lnTo>
                    <a:pt x="332" y="110"/>
                  </a:lnTo>
                  <a:lnTo>
                    <a:pt x="357" y="97"/>
                  </a:lnTo>
                  <a:lnTo>
                    <a:pt x="382" y="85"/>
                  </a:lnTo>
                  <a:lnTo>
                    <a:pt x="382" y="12"/>
                  </a:lnTo>
                  <a:lnTo>
                    <a:pt x="382" y="6"/>
                  </a:lnTo>
                  <a:lnTo>
                    <a:pt x="384" y="3"/>
                  </a:lnTo>
                  <a:lnTo>
                    <a:pt x="388" y="0"/>
                  </a:lnTo>
                  <a:lnTo>
                    <a:pt x="393" y="0"/>
                  </a:lnTo>
                  <a:lnTo>
                    <a:pt x="724" y="0"/>
                  </a:lnTo>
                  <a:lnTo>
                    <a:pt x="729" y="0"/>
                  </a:lnTo>
                  <a:lnTo>
                    <a:pt x="733" y="3"/>
                  </a:lnTo>
                  <a:lnTo>
                    <a:pt x="736" y="6"/>
                  </a:lnTo>
                  <a:lnTo>
                    <a:pt x="736" y="12"/>
                  </a:lnTo>
                  <a:lnTo>
                    <a:pt x="736" y="85"/>
                  </a:lnTo>
                  <a:lnTo>
                    <a:pt x="761" y="97"/>
                  </a:lnTo>
                  <a:lnTo>
                    <a:pt x="786" y="110"/>
                  </a:lnTo>
                  <a:lnTo>
                    <a:pt x="809" y="125"/>
                  </a:lnTo>
                  <a:lnTo>
                    <a:pt x="832" y="141"/>
                  </a:lnTo>
                  <a:lnTo>
                    <a:pt x="853" y="158"/>
                  </a:lnTo>
                  <a:lnTo>
                    <a:pt x="872" y="178"/>
                  </a:lnTo>
                  <a:lnTo>
                    <a:pt x="892" y="197"/>
                  </a:lnTo>
                  <a:lnTo>
                    <a:pt x="911" y="218"/>
                  </a:lnTo>
                  <a:lnTo>
                    <a:pt x="926" y="239"/>
                  </a:lnTo>
                  <a:lnTo>
                    <a:pt x="942" y="263"/>
                  </a:lnTo>
                  <a:lnTo>
                    <a:pt x="955" y="287"/>
                  </a:lnTo>
                  <a:lnTo>
                    <a:pt x="969" y="312"/>
                  </a:lnTo>
                  <a:lnTo>
                    <a:pt x="979" y="338"/>
                  </a:lnTo>
                  <a:lnTo>
                    <a:pt x="988" y="364"/>
                  </a:lnTo>
                  <a:lnTo>
                    <a:pt x="996" y="392"/>
                  </a:lnTo>
                  <a:lnTo>
                    <a:pt x="1001" y="420"/>
                  </a:lnTo>
                  <a:lnTo>
                    <a:pt x="1079" y="420"/>
                  </a:lnTo>
                  <a:lnTo>
                    <a:pt x="1087" y="421"/>
                  </a:lnTo>
                  <a:lnTo>
                    <a:pt x="1095" y="424"/>
                  </a:lnTo>
                  <a:lnTo>
                    <a:pt x="1101" y="428"/>
                  </a:lnTo>
                  <a:lnTo>
                    <a:pt x="1107" y="432"/>
                  </a:lnTo>
                  <a:lnTo>
                    <a:pt x="1112" y="438"/>
                  </a:lnTo>
                  <a:lnTo>
                    <a:pt x="1116" y="445"/>
                  </a:lnTo>
                  <a:lnTo>
                    <a:pt x="1117" y="451"/>
                  </a:lnTo>
                  <a:lnTo>
                    <a:pt x="1119" y="459"/>
                  </a:lnTo>
                  <a:lnTo>
                    <a:pt x="1119" y="501"/>
                  </a:lnTo>
                  <a:lnTo>
                    <a:pt x="1117" y="509"/>
                  </a:lnTo>
                  <a:lnTo>
                    <a:pt x="1116" y="517"/>
                  </a:lnTo>
                  <a:lnTo>
                    <a:pt x="1112" y="524"/>
                  </a:lnTo>
                  <a:lnTo>
                    <a:pt x="1107" y="529"/>
                  </a:lnTo>
                  <a:lnTo>
                    <a:pt x="1101" y="534"/>
                  </a:lnTo>
                  <a:lnTo>
                    <a:pt x="1095" y="538"/>
                  </a:lnTo>
                  <a:lnTo>
                    <a:pt x="1087" y="539"/>
                  </a:lnTo>
                  <a:lnTo>
                    <a:pt x="1079" y="541"/>
                  </a:lnTo>
                  <a:close/>
                  <a:moveTo>
                    <a:pt x="184" y="596"/>
                  </a:moveTo>
                  <a:lnTo>
                    <a:pt x="183" y="595"/>
                  </a:lnTo>
                  <a:lnTo>
                    <a:pt x="137" y="561"/>
                  </a:lnTo>
                  <a:lnTo>
                    <a:pt x="141" y="579"/>
                  </a:lnTo>
                  <a:lnTo>
                    <a:pt x="145" y="597"/>
                  </a:lnTo>
                  <a:lnTo>
                    <a:pt x="149" y="614"/>
                  </a:lnTo>
                  <a:lnTo>
                    <a:pt x="155" y="633"/>
                  </a:lnTo>
                  <a:lnTo>
                    <a:pt x="161" y="650"/>
                  </a:lnTo>
                  <a:lnTo>
                    <a:pt x="168" y="667"/>
                  </a:lnTo>
                  <a:lnTo>
                    <a:pt x="176" y="684"/>
                  </a:lnTo>
                  <a:lnTo>
                    <a:pt x="184" y="701"/>
                  </a:lnTo>
                  <a:lnTo>
                    <a:pt x="184" y="596"/>
                  </a:lnTo>
                  <a:close/>
                  <a:moveTo>
                    <a:pt x="39" y="445"/>
                  </a:moveTo>
                  <a:lnTo>
                    <a:pt x="33" y="446"/>
                  </a:lnTo>
                  <a:lnTo>
                    <a:pt x="29" y="449"/>
                  </a:lnTo>
                  <a:lnTo>
                    <a:pt x="25" y="454"/>
                  </a:lnTo>
                  <a:lnTo>
                    <a:pt x="24" y="459"/>
                  </a:lnTo>
                  <a:lnTo>
                    <a:pt x="24" y="501"/>
                  </a:lnTo>
                  <a:lnTo>
                    <a:pt x="25" y="508"/>
                  </a:lnTo>
                  <a:lnTo>
                    <a:pt x="29" y="512"/>
                  </a:lnTo>
                  <a:lnTo>
                    <a:pt x="33" y="516"/>
                  </a:lnTo>
                  <a:lnTo>
                    <a:pt x="39" y="517"/>
                  </a:lnTo>
                  <a:lnTo>
                    <a:pt x="121" y="517"/>
                  </a:lnTo>
                  <a:lnTo>
                    <a:pt x="122" y="517"/>
                  </a:lnTo>
                  <a:lnTo>
                    <a:pt x="122" y="517"/>
                  </a:lnTo>
                  <a:lnTo>
                    <a:pt x="130" y="517"/>
                  </a:lnTo>
                  <a:lnTo>
                    <a:pt x="137" y="516"/>
                  </a:lnTo>
                  <a:lnTo>
                    <a:pt x="141" y="512"/>
                  </a:lnTo>
                  <a:lnTo>
                    <a:pt x="145" y="508"/>
                  </a:lnTo>
                  <a:lnTo>
                    <a:pt x="146" y="501"/>
                  </a:lnTo>
                  <a:lnTo>
                    <a:pt x="146" y="459"/>
                  </a:lnTo>
                  <a:lnTo>
                    <a:pt x="145" y="454"/>
                  </a:lnTo>
                  <a:lnTo>
                    <a:pt x="141" y="449"/>
                  </a:lnTo>
                  <a:lnTo>
                    <a:pt x="137" y="446"/>
                  </a:lnTo>
                  <a:lnTo>
                    <a:pt x="130" y="445"/>
                  </a:lnTo>
                  <a:lnTo>
                    <a:pt x="39" y="445"/>
                  </a:lnTo>
                  <a:close/>
                  <a:moveTo>
                    <a:pt x="682" y="996"/>
                  </a:moveTo>
                  <a:lnTo>
                    <a:pt x="682" y="961"/>
                  </a:lnTo>
                  <a:lnTo>
                    <a:pt x="436" y="961"/>
                  </a:lnTo>
                  <a:lnTo>
                    <a:pt x="436" y="996"/>
                  </a:lnTo>
                  <a:lnTo>
                    <a:pt x="682" y="996"/>
                  </a:lnTo>
                  <a:close/>
                  <a:moveTo>
                    <a:pt x="412" y="996"/>
                  </a:moveTo>
                  <a:lnTo>
                    <a:pt x="412" y="947"/>
                  </a:lnTo>
                  <a:lnTo>
                    <a:pt x="412" y="943"/>
                  </a:lnTo>
                  <a:lnTo>
                    <a:pt x="415" y="940"/>
                  </a:lnTo>
                  <a:lnTo>
                    <a:pt x="418" y="937"/>
                  </a:lnTo>
                  <a:lnTo>
                    <a:pt x="424" y="936"/>
                  </a:lnTo>
                  <a:lnTo>
                    <a:pt x="694" y="936"/>
                  </a:lnTo>
                  <a:lnTo>
                    <a:pt x="699" y="937"/>
                  </a:lnTo>
                  <a:lnTo>
                    <a:pt x="703" y="940"/>
                  </a:lnTo>
                  <a:lnTo>
                    <a:pt x="705" y="943"/>
                  </a:lnTo>
                  <a:lnTo>
                    <a:pt x="707" y="947"/>
                  </a:lnTo>
                  <a:lnTo>
                    <a:pt x="707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907" y="996"/>
                  </a:lnTo>
                  <a:lnTo>
                    <a:pt x="907" y="996"/>
                  </a:lnTo>
                  <a:lnTo>
                    <a:pt x="908" y="996"/>
                  </a:lnTo>
                  <a:lnTo>
                    <a:pt x="942" y="996"/>
                  </a:lnTo>
                  <a:lnTo>
                    <a:pt x="94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809" y="842"/>
                  </a:lnTo>
                  <a:lnTo>
                    <a:pt x="770" y="884"/>
                  </a:lnTo>
                  <a:lnTo>
                    <a:pt x="766" y="887"/>
                  </a:lnTo>
                  <a:lnTo>
                    <a:pt x="762" y="888"/>
                  </a:lnTo>
                  <a:lnTo>
                    <a:pt x="357" y="888"/>
                  </a:lnTo>
                  <a:lnTo>
                    <a:pt x="351" y="887"/>
                  </a:lnTo>
                  <a:lnTo>
                    <a:pt x="347" y="884"/>
                  </a:lnTo>
                  <a:lnTo>
                    <a:pt x="308" y="842"/>
                  </a:lnTo>
                  <a:lnTo>
                    <a:pt x="175" y="842"/>
                  </a:lnTo>
                  <a:lnTo>
                    <a:pt x="175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318" y="996"/>
                  </a:lnTo>
                  <a:lnTo>
                    <a:pt x="318" y="996"/>
                  </a:lnTo>
                  <a:lnTo>
                    <a:pt x="320" y="996"/>
                  </a:lnTo>
                  <a:lnTo>
                    <a:pt x="412" y="996"/>
                  </a:lnTo>
                  <a:close/>
                  <a:moveTo>
                    <a:pt x="447" y="734"/>
                  </a:moveTo>
                  <a:lnTo>
                    <a:pt x="443" y="734"/>
                  </a:lnTo>
                  <a:lnTo>
                    <a:pt x="441" y="737"/>
                  </a:lnTo>
                  <a:lnTo>
                    <a:pt x="438" y="741"/>
                  </a:lnTo>
                  <a:lnTo>
                    <a:pt x="438" y="745"/>
                  </a:lnTo>
                  <a:lnTo>
                    <a:pt x="438" y="788"/>
                  </a:lnTo>
                  <a:lnTo>
                    <a:pt x="438" y="792"/>
                  </a:lnTo>
                  <a:lnTo>
                    <a:pt x="441" y="796"/>
                  </a:lnTo>
                  <a:lnTo>
                    <a:pt x="443" y="797"/>
                  </a:lnTo>
                  <a:lnTo>
                    <a:pt x="447" y="799"/>
                  </a:lnTo>
                  <a:lnTo>
                    <a:pt x="670" y="799"/>
                  </a:lnTo>
                  <a:lnTo>
                    <a:pt x="674" y="797"/>
                  </a:lnTo>
                  <a:lnTo>
                    <a:pt x="676" y="796"/>
                  </a:lnTo>
                  <a:lnTo>
                    <a:pt x="679" y="792"/>
                  </a:lnTo>
                  <a:lnTo>
                    <a:pt x="679" y="788"/>
                  </a:lnTo>
                  <a:lnTo>
                    <a:pt x="679" y="745"/>
                  </a:lnTo>
                  <a:lnTo>
                    <a:pt x="679" y="741"/>
                  </a:lnTo>
                  <a:lnTo>
                    <a:pt x="676" y="737"/>
                  </a:lnTo>
                  <a:lnTo>
                    <a:pt x="674" y="734"/>
                  </a:lnTo>
                  <a:lnTo>
                    <a:pt x="670" y="734"/>
                  </a:lnTo>
                  <a:lnTo>
                    <a:pt x="447" y="734"/>
                  </a:lnTo>
                  <a:close/>
                  <a:moveTo>
                    <a:pt x="670" y="822"/>
                  </a:moveTo>
                  <a:lnTo>
                    <a:pt x="447" y="822"/>
                  </a:lnTo>
                  <a:lnTo>
                    <a:pt x="441" y="822"/>
                  </a:lnTo>
                  <a:lnTo>
                    <a:pt x="434" y="820"/>
                  </a:lnTo>
                  <a:lnTo>
                    <a:pt x="429" y="817"/>
                  </a:lnTo>
                  <a:lnTo>
                    <a:pt x="424" y="813"/>
                  </a:lnTo>
                  <a:lnTo>
                    <a:pt x="420" y="808"/>
                  </a:lnTo>
                  <a:lnTo>
                    <a:pt x="416" y="801"/>
                  </a:lnTo>
                  <a:lnTo>
                    <a:pt x="415" y="795"/>
                  </a:lnTo>
                  <a:lnTo>
                    <a:pt x="413" y="788"/>
                  </a:lnTo>
                  <a:lnTo>
                    <a:pt x="413" y="745"/>
                  </a:lnTo>
                  <a:lnTo>
                    <a:pt x="415" y="737"/>
                  </a:lnTo>
                  <a:lnTo>
                    <a:pt x="416" y="730"/>
                  </a:lnTo>
                  <a:lnTo>
                    <a:pt x="420" y="725"/>
                  </a:lnTo>
                  <a:lnTo>
                    <a:pt x="424" y="720"/>
                  </a:lnTo>
                  <a:lnTo>
                    <a:pt x="429" y="716"/>
                  </a:lnTo>
                  <a:lnTo>
                    <a:pt x="434" y="713"/>
                  </a:lnTo>
                  <a:lnTo>
                    <a:pt x="441" y="711"/>
                  </a:lnTo>
                  <a:lnTo>
                    <a:pt x="447" y="711"/>
                  </a:lnTo>
                  <a:lnTo>
                    <a:pt x="670" y="711"/>
                  </a:lnTo>
                  <a:lnTo>
                    <a:pt x="676" y="711"/>
                  </a:lnTo>
                  <a:lnTo>
                    <a:pt x="683" y="713"/>
                  </a:lnTo>
                  <a:lnTo>
                    <a:pt x="688" y="716"/>
                  </a:lnTo>
                  <a:lnTo>
                    <a:pt x="694" y="720"/>
                  </a:lnTo>
                  <a:lnTo>
                    <a:pt x="697" y="725"/>
                  </a:lnTo>
                  <a:lnTo>
                    <a:pt x="701" y="730"/>
                  </a:lnTo>
                  <a:lnTo>
                    <a:pt x="703" y="737"/>
                  </a:lnTo>
                  <a:lnTo>
                    <a:pt x="704" y="745"/>
                  </a:lnTo>
                  <a:lnTo>
                    <a:pt x="704" y="788"/>
                  </a:lnTo>
                  <a:lnTo>
                    <a:pt x="703" y="795"/>
                  </a:lnTo>
                  <a:lnTo>
                    <a:pt x="701" y="801"/>
                  </a:lnTo>
                  <a:lnTo>
                    <a:pt x="697" y="808"/>
                  </a:lnTo>
                  <a:lnTo>
                    <a:pt x="694" y="813"/>
                  </a:lnTo>
                  <a:lnTo>
                    <a:pt x="688" y="817"/>
                  </a:lnTo>
                  <a:lnTo>
                    <a:pt x="683" y="820"/>
                  </a:lnTo>
                  <a:lnTo>
                    <a:pt x="676" y="822"/>
                  </a:lnTo>
                  <a:lnTo>
                    <a:pt x="670" y="822"/>
                  </a:lnTo>
                  <a:close/>
                  <a:moveTo>
                    <a:pt x="895" y="1021"/>
                  </a:moveTo>
                  <a:lnTo>
                    <a:pt x="811" y="1021"/>
                  </a:lnTo>
                  <a:lnTo>
                    <a:pt x="811" y="1095"/>
                  </a:lnTo>
                  <a:lnTo>
                    <a:pt x="811" y="1097"/>
                  </a:lnTo>
                  <a:lnTo>
                    <a:pt x="812" y="1101"/>
                  </a:lnTo>
                  <a:lnTo>
                    <a:pt x="813" y="1104"/>
                  </a:lnTo>
                  <a:lnTo>
                    <a:pt x="816" y="1107"/>
                  </a:lnTo>
                  <a:lnTo>
                    <a:pt x="819" y="1109"/>
                  </a:lnTo>
                  <a:lnTo>
                    <a:pt x="821" y="1111"/>
                  </a:lnTo>
                  <a:lnTo>
                    <a:pt x="825" y="1112"/>
                  </a:lnTo>
                  <a:lnTo>
                    <a:pt x="829" y="1112"/>
                  </a:lnTo>
                  <a:lnTo>
                    <a:pt x="876" y="1112"/>
                  </a:lnTo>
                  <a:lnTo>
                    <a:pt x="880" y="1112"/>
                  </a:lnTo>
                  <a:lnTo>
                    <a:pt x="884" y="1111"/>
                  </a:lnTo>
                  <a:lnTo>
                    <a:pt x="887" y="1109"/>
                  </a:lnTo>
                  <a:lnTo>
                    <a:pt x="890" y="1107"/>
                  </a:lnTo>
                  <a:lnTo>
                    <a:pt x="892" y="1104"/>
                  </a:lnTo>
                  <a:lnTo>
                    <a:pt x="894" y="1101"/>
                  </a:lnTo>
                  <a:lnTo>
                    <a:pt x="895" y="1097"/>
                  </a:lnTo>
                  <a:lnTo>
                    <a:pt x="895" y="1095"/>
                  </a:lnTo>
                  <a:lnTo>
                    <a:pt x="895" y="1021"/>
                  </a:lnTo>
                  <a:close/>
                  <a:moveTo>
                    <a:pt x="307" y="1021"/>
                  </a:moveTo>
                  <a:lnTo>
                    <a:pt x="222" y="1021"/>
                  </a:lnTo>
                  <a:lnTo>
                    <a:pt x="222" y="1095"/>
                  </a:lnTo>
                  <a:lnTo>
                    <a:pt x="222" y="1097"/>
                  </a:lnTo>
                  <a:lnTo>
                    <a:pt x="224" y="1101"/>
                  </a:lnTo>
                  <a:lnTo>
                    <a:pt x="225" y="1104"/>
                  </a:lnTo>
                  <a:lnTo>
                    <a:pt x="228" y="1107"/>
                  </a:lnTo>
                  <a:lnTo>
                    <a:pt x="230" y="1109"/>
                  </a:lnTo>
                  <a:lnTo>
                    <a:pt x="234" y="1111"/>
                  </a:lnTo>
                  <a:lnTo>
                    <a:pt x="237" y="1112"/>
                  </a:lnTo>
                  <a:lnTo>
                    <a:pt x="241" y="1112"/>
                  </a:lnTo>
                  <a:lnTo>
                    <a:pt x="288" y="1112"/>
                  </a:lnTo>
                  <a:lnTo>
                    <a:pt x="292" y="1112"/>
                  </a:lnTo>
                  <a:lnTo>
                    <a:pt x="296" y="1111"/>
                  </a:lnTo>
                  <a:lnTo>
                    <a:pt x="299" y="1109"/>
                  </a:lnTo>
                  <a:lnTo>
                    <a:pt x="301" y="1107"/>
                  </a:lnTo>
                  <a:lnTo>
                    <a:pt x="304" y="1104"/>
                  </a:lnTo>
                  <a:lnTo>
                    <a:pt x="305" y="1101"/>
                  </a:lnTo>
                  <a:lnTo>
                    <a:pt x="307" y="1097"/>
                  </a:lnTo>
                  <a:lnTo>
                    <a:pt x="307" y="1095"/>
                  </a:lnTo>
                  <a:lnTo>
                    <a:pt x="307" y="1021"/>
                  </a:lnTo>
                  <a:close/>
                  <a:moveTo>
                    <a:pt x="208" y="817"/>
                  </a:moveTo>
                  <a:lnTo>
                    <a:pt x="313" y="817"/>
                  </a:lnTo>
                  <a:lnTo>
                    <a:pt x="317" y="818"/>
                  </a:lnTo>
                  <a:lnTo>
                    <a:pt x="321" y="822"/>
                  </a:lnTo>
                  <a:lnTo>
                    <a:pt x="362" y="863"/>
                  </a:lnTo>
                  <a:lnTo>
                    <a:pt x="757" y="863"/>
                  </a:lnTo>
                  <a:lnTo>
                    <a:pt x="796" y="822"/>
                  </a:lnTo>
                  <a:lnTo>
                    <a:pt x="800" y="818"/>
                  </a:lnTo>
                  <a:lnTo>
                    <a:pt x="805" y="817"/>
                  </a:lnTo>
                  <a:lnTo>
                    <a:pt x="911" y="817"/>
                  </a:lnTo>
                  <a:lnTo>
                    <a:pt x="911" y="566"/>
                  </a:lnTo>
                  <a:lnTo>
                    <a:pt x="874" y="366"/>
                  </a:lnTo>
                  <a:lnTo>
                    <a:pt x="870" y="354"/>
                  </a:lnTo>
                  <a:lnTo>
                    <a:pt x="865" y="343"/>
                  </a:lnTo>
                  <a:lnTo>
                    <a:pt x="858" y="335"/>
                  </a:lnTo>
                  <a:lnTo>
                    <a:pt x="850" y="329"/>
                  </a:lnTo>
                  <a:lnTo>
                    <a:pt x="841" y="322"/>
                  </a:lnTo>
                  <a:lnTo>
                    <a:pt x="830" y="318"/>
                  </a:lnTo>
                  <a:lnTo>
                    <a:pt x="820" y="316"/>
                  </a:lnTo>
                  <a:lnTo>
                    <a:pt x="807" y="316"/>
                  </a:lnTo>
                  <a:lnTo>
                    <a:pt x="312" y="316"/>
                  </a:lnTo>
                  <a:lnTo>
                    <a:pt x="296" y="316"/>
                  </a:lnTo>
                  <a:lnTo>
                    <a:pt x="283" y="317"/>
                  </a:lnTo>
                  <a:lnTo>
                    <a:pt x="271" y="321"/>
                  </a:lnTo>
                  <a:lnTo>
                    <a:pt x="263" y="326"/>
                  </a:lnTo>
                  <a:lnTo>
                    <a:pt x="257" y="333"/>
                  </a:lnTo>
                  <a:lnTo>
                    <a:pt x="251" y="343"/>
                  </a:lnTo>
                  <a:lnTo>
                    <a:pt x="247" y="355"/>
                  </a:lnTo>
                  <a:lnTo>
                    <a:pt x="245" y="371"/>
                  </a:lnTo>
                  <a:lnTo>
                    <a:pt x="208" y="567"/>
                  </a:lnTo>
                  <a:lnTo>
                    <a:pt x="208" y="817"/>
                  </a:lnTo>
                  <a:close/>
                  <a:moveTo>
                    <a:pt x="828" y="387"/>
                  </a:moveTo>
                  <a:lnTo>
                    <a:pt x="828" y="387"/>
                  </a:lnTo>
                  <a:lnTo>
                    <a:pt x="828" y="387"/>
                  </a:lnTo>
                  <a:close/>
                  <a:moveTo>
                    <a:pt x="328" y="374"/>
                  </a:moveTo>
                  <a:lnTo>
                    <a:pt x="322" y="375"/>
                  </a:lnTo>
                  <a:lnTo>
                    <a:pt x="318" y="378"/>
                  </a:lnTo>
                  <a:lnTo>
                    <a:pt x="316" y="382"/>
                  </a:lnTo>
                  <a:lnTo>
                    <a:pt x="314" y="387"/>
                  </a:lnTo>
                  <a:lnTo>
                    <a:pt x="286" y="546"/>
                  </a:lnTo>
                  <a:lnTo>
                    <a:pt x="286" y="554"/>
                  </a:lnTo>
                  <a:lnTo>
                    <a:pt x="286" y="561"/>
                  </a:lnTo>
                  <a:lnTo>
                    <a:pt x="288" y="567"/>
                  </a:lnTo>
                  <a:lnTo>
                    <a:pt x="292" y="572"/>
                  </a:lnTo>
                  <a:lnTo>
                    <a:pt x="296" y="576"/>
                  </a:lnTo>
                  <a:lnTo>
                    <a:pt x="303" y="579"/>
                  </a:lnTo>
                  <a:lnTo>
                    <a:pt x="309" y="582"/>
                  </a:lnTo>
                  <a:lnTo>
                    <a:pt x="316" y="582"/>
                  </a:lnTo>
                  <a:lnTo>
                    <a:pt x="801" y="582"/>
                  </a:lnTo>
                  <a:lnTo>
                    <a:pt x="809" y="582"/>
                  </a:lnTo>
                  <a:lnTo>
                    <a:pt x="816" y="579"/>
                  </a:lnTo>
                  <a:lnTo>
                    <a:pt x="822" y="576"/>
                  </a:lnTo>
                  <a:lnTo>
                    <a:pt x="826" y="572"/>
                  </a:lnTo>
                  <a:lnTo>
                    <a:pt x="830" y="567"/>
                  </a:lnTo>
                  <a:lnTo>
                    <a:pt x="833" y="561"/>
                  </a:lnTo>
                  <a:lnTo>
                    <a:pt x="833" y="554"/>
                  </a:lnTo>
                  <a:lnTo>
                    <a:pt x="833" y="546"/>
                  </a:lnTo>
                  <a:lnTo>
                    <a:pt x="804" y="389"/>
                  </a:lnTo>
                  <a:lnTo>
                    <a:pt x="804" y="388"/>
                  </a:lnTo>
                  <a:lnTo>
                    <a:pt x="804" y="387"/>
                  </a:lnTo>
                  <a:lnTo>
                    <a:pt x="803" y="382"/>
                  </a:lnTo>
                  <a:lnTo>
                    <a:pt x="800" y="378"/>
                  </a:lnTo>
                  <a:lnTo>
                    <a:pt x="795" y="375"/>
                  </a:lnTo>
                  <a:lnTo>
                    <a:pt x="790" y="374"/>
                  </a:lnTo>
                  <a:lnTo>
                    <a:pt x="328" y="374"/>
                  </a:lnTo>
                  <a:close/>
                  <a:moveTo>
                    <a:pt x="801" y="607"/>
                  </a:moveTo>
                  <a:lnTo>
                    <a:pt x="316" y="607"/>
                  </a:lnTo>
                  <a:lnTo>
                    <a:pt x="304" y="605"/>
                  </a:lnTo>
                  <a:lnTo>
                    <a:pt x="292" y="601"/>
                  </a:lnTo>
                  <a:lnTo>
                    <a:pt x="287" y="599"/>
                  </a:lnTo>
                  <a:lnTo>
                    <a:pt x="282" y="596"/>
                  </a:lnTo>
                  <a:lnTo>
                    <a:pt x="278" y="592"/>
                  </a:lnTo>
                  <a:lnTo>
                    <a:pt x="274" y="588"/>
                  </a:lnTo>
                  <a:lnTo>
                    <a:pt x="270" y="583"/>
                  </a:lnTo>
                  <a:lnTo>
                    <a:pt x="267" y="579"/>
                  </a:lnTo>
                  <a:lnTo>
                    <a:pt x="264" y="574"/>
                  </a:lnTo>
                  <a:lnTo>
                    <a:pt x="263" y="567"/>
                  </a:lnTo>
                  <a:lnTo>
                    <a:pt x="261" y="555"/>
                  </a:lnTo>
                  <a:lnTo>
                    <a:pt x="262" y="542"/>
                  </a:lnTo>
                  <a:lnTo>
                    <a:pt x="291" y="386"/>
                  </a:lnTo>
                  <a:lnTo>
                    <a:pt x="292" y="379"/>
                  </a:lnTo>
                  <a:lnTo>
                    <a:pt x="293" y="372"/>
                  </a:lnTo>
                  <a:lnTo>
                    <a:pt x="297" y="366"/>
                  </a:lnTo>
                  <a:lnTo>
                    <a:pt x="301" y="361"/>
                  </a:lnTo>
                  <a:lnTo>
                    <a:pt x="308" y="357"/>
                  </a:lnTo>
                  <a:lnTo>
                    <a:pt x="313" y="353"/>
                  </a:lnTo>
                  <a:lnTo>
                    <a:pt x="321" y="350"/>
                  </a:lnTo>
                  <a:lnTo>
                    <a:pt x="328" y="350"/>
                  </a:lnTo>
                  <a:lnTo>
                    <a:pt x="790" y="350"/>
                  </a:lnTo>
                  <a:lnTo>
                    <a:pt x="797" y="350"/>
                  </a:lnTo>
                  <a:lnTo>
                    <a:pt x="804" y="353"/>
                  </a:lnTo>
                  <a:lnTo>
                    <a:pt x="811" y="357"/>
                  </a:lnTo>
                  <a:lnTo>
                    <a:pt x="816" y="361"/>
                  </a:lnTo>
                  <a:lnTo>
                    <a:pt x="821" y="366"/>
                  </a:lnTo>
                  <a:lnTo>
                    <a:pt x="824" y="372"/>
                  </a:lnTo>
                  <a:lnTo>
                    <a:pt x="826" y="379"/>
                  </a:lnTo>
                  <a:lnTo>
                    <a:pt x="828" y="386"/>
                  </a:lnTo>
                  <a:lnTo>
                    <a:pt x="857" y="542"/>
                  </a:lnTo>
                  <a:lnTo>
                    <a:pt x="857" y="555"/>
                  </a:lnTo>
                  <a:lnTo>
                    <a:pt x="855" y="567"/>
                  </a:lnTo>
                  <a:lnTo>
                    <a:pt x="854" y="574"/>
                  </a:lnTo>
                  <a:lnTo>
                    <a:pt x="851" y="579"/>
                  </a:lnTo>
                  <a:lnTo>
                    <a:pt x="849" y="583"/>
                  </a:lnTo>
                  <a:lnTo>
                    <a:pt x="845" y="588"/>
                  </a:lnTo>
                  <a:lnTo>
                    <a:pt x="841" y="592"/>
                  </a:lnTo>
                  <a:lnTo>
                    <a:pt x="837" y="596"/>
                  </a:lnTo>
                  <a:lnTo>
                    <a:pt x="832" y="599"/>
                  </a:lnTo>
                  <a:lnTo>
                    <a:pt x="826" y="601"/>
                  </a:lnTo>
                  <a:lnTo>
                    <a:pt x="815" y="605"/>
                  </a:lnTo>
                  <a:lnTo>
                    <a:pt x="801" y="607"/>
                  </a:lnTo>
                  <a:close/>
                </a:path>
              </a:pathLst>
            </a:custGeom>
            <a:solidFill>
              <a:srgbClr val="009900"/>
            </a:solidFill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97" name="Freeform 405"/>
            <p:cNvSpPr>
              <a:spLocks noEditPoints="1"/>
            </p:cNvSpPr>
            <p:nvPr/>
          </p:nvSpPr>
          <p:spPr bwMode="auto">
            <a:xfrm>
              <a:off x="6701047" y="3507971"/>
              <a:ext cx="109637" cy="15126"/>
            </a:xfrm>
            <a:custGeom>
              <a:avLst/>
              <a:gdLst>
                <a:gd name="T0" fmla="*/ 604 w 708"/>
                <a:gd name="T1" fmla="*/ 25 h 88"/>
                <a:gd name="T2" fmla="*/ 600 w 708"/>
                <a:gd name="T3" fmla="*/ 29 h 88"/>
                <a:gd name="T4" fmla="*/ 598 w 708"/>
                <a:gd name="T5" fmla="*/ 57 h 88"/>
                <a:gd name="T6" fmla="*/ 601 w 708"/>
                <a:gd name="T7" fmla="*/ 62 h 88"/>
                <a:gd name="T8" fmla="*/ 608 w 708"/>
                <a:gd name="T9" fmla="*/ 65 h 88"/>
                <a:gd name="T10" fmla="*/ 680 w 708"/>
                <a:gd name="T11" fmla="*/ 63 h 88"/>
                <a:gd name="T12" fmla="*/ 684 w 708"/>
                <a:gd name="T13" fmla="*/ 59 h 88"/>
                <a:gd name="T14" fmla="*/ 684 w 708"/>
                <a:gd name="T15" fmla="*/ 32 h 88"/>
                <a:gd name="T16" fmla="*/ 681 w 708"/>
                <a:gd name="T17" fmla="*/ 27 h 88"/>
                <a:gd name="T18" fmla="*/ 676 w 708"/>
                <a:gd name="T19" fmla="*/ 25 h 88"/>
                <a:gd name="T20" fmla="*/ 31 w 708"/>
                <a:gd name="T21" fmla="*/ 25 h 88"/>
                <a:gd name="T22" fmla="*/ 26 w 708"/>
                <a:gd name="T23" fmla="*/ 27 h 88"/>
                <a:gd name="T24" fmla="*/ 23 w 708"/>
                <a:gd name="T25" fmla="*/ 32 h 88"/>
                <a:gd name="T26" fmla="*/ 23 w 708"/>
                <a:gd name="T27" fmla="*/ 59 h 88"/>
                <a:gd name="T28" fmla="*/ 29 w 708"/>
                <a:gd name="T29" fmla="*/ 63 h 88"/>
                <a:gd name="T30" fmla="*/ 100 w 708"/>
                <a:gd name="T31" fmla="*/ 65 h 88"/>
                <a:gd name="T32" fmla="*/ 106 w 708"/>
                <a:gd name="T33" fmla="*/ 62 h 88"/>
                <a:gd name="T34" fmla="*/ 109 w 708"/>
                <a:gd name="T35" fmla="*/ 57 h 88"/>
                <a:gd name="T36" fmla="*/ 108 w 708"/>
                <a:gd name="T37" fmla="*/ 29 h 88"/>
                <a:gd name="T38" fmla="*/ 104 w 708"/>
                <a:gd name="T39" fmla="*/ 25 h 88"/>
                <a:gd name="T40" fmla="*/ 31 w 708"/>
                <a:gd name="T41" fmla="*/ 25 h 88"/>
                <a:gd name="T42" fmla="*/ 31 w 708"/>
                <a:gd name="T43" fmla="*/ 88 h 88"/>
                <a:gd name="T44" fmla="*/ 18 w 708"/>
                <a:gd name="T45" fmla="*/ 86 h 88"/>
                <a:gd name="T46" fmla="*/ 9 w 708"/>
                <a:gd name="T47" fmla="*/ 79 h 88"/>
                <a:gd name="T48" fmla="*/ 2 w 708"/>
                <a:gd name="T49" fmla="*/ 69 h 88"/>
                <a:gd name="T50" fmla="*/ 0 w 708"/>
                <a:gd name="T51" fmla="*/ 57 h 88"/>
                <a:gd name="T52" fmla="*/ 0 w 708"/>
                <a:gd name="T53" fmla="*/ 27 h 88"/>
                <a:gd name="T54" fmla="*/ 5 w 708"/>
                <a:gd name="T55" fmla="*/ 15 h 88"/>
                <a:gd name="T56" fmla="*/ 13 w 708"/>
                <a:gd name="T57" fmla="*/ 6 h 88"/>
                <a:gd name="T58" fmla="*/ 25 w 708"/>
                <a:gd name="T59" fmla="*/ 2 h 88"/>
                <a:gd name="T60" fmla="*/ 100 w 708"/>
                <a:gd name="T61" fmla="*/ 0 h 88"/>
                <a:gd name="T62" fmla="*/ 113 w 708"/>
                <a:gd name="T63" fmla="*/ 3 h 88"/>
                <a:gd name="T64" fmla="*/ 123 w 708"/>
                <a:gd name="T65" fmla="*/ 9 h 88"/>
                <a:gd name="T66" fmla="*/ 130 w 708"/>
                <a:gd name="T67" fmla="*/ 20 h 88"/>
                <a:gd name="T68" fmla="*/ 133 w 708"/>
                <a:gd name="T69" fmla="*/ 32 h 88"/>
                <a:gd name="T70" fmla="*/ 131 w 708"/>
                <a:gd name="T71" fmla="*/ 63 h 88"/>
                <a:gd name="T72" fmla="*/ 127 w 708"/>
                <a:gd name="T73" fmla="*/ 74 h 88"/>
                <a:gd name="T74" fmla="*/ 118 w 708"/>
                <a:gd name="T75" fmla="*/ 83 h 88"/>
                <a:gd name="T76" fmla="*/ 106 w 708"/>
                <a:gd name="T77" fmla="*/ 88 h 88"/>
                <a:gd name="T78" fmla="*/ 676 w 708"/>
                <a:gd name="T79" fmla="*/ 88 h 88"/>
                <a:gd name="T80" fmla="*/ 601 w 708"/>
                <a:gd name="T81" fmla="*/ 88 h 88"/>
                <a:gd name="T82" fmla="*/ 589 w 708"/>
                <a:gd name="T83" fmla="*/ 83 h 88"/>
                <a:gd name="T84" fmla="*/ 581 w 708"/>
                <a:gd name="T85" fmla="*/ 74 h 88"/>
                <a:gd name="T86" fmla="*/ 576 w 708"/>
                <a:gd name="T87" fmla="*/ 63 h 88"/>
                <a:gd name="T88" fmla="*/ 575 w 708"/>
                <a:gd name="T89" fmla="*/ 32 h 88"/>
                <a:gd name="T90" fmla="*/ 577 w 708"/>
                <a:gd name="T91" fmla="*/ 20 h 88"/>
                <a:gd name="T92" fmla="*/ 584 w 708"/>
                <a:gd name="T93" fmla="*/ 9 h 88"/>
                <a:gd name="T94" fmla="*/ 594 w 708"/>
                <a:gd name="T95" fmla="*/ 3 h 88"/>
                <a:gd name="T96" fmla="*/ 608 w 708"/>
                <a:gd name="T97" fmla="*/ 0 h 88"/>
                <a:gd name="T98" fmla="*/ 683 w 708"/>
                <a:gd name="T99" fmla="*/ 2 h 88"/>
                <a:gd name="T100" fmla="*/ 694 w 708"/>
                <a:gd name="T101" fmla="*/ 6 h 88"/>
                <a:gd name="T102" fmla="*/ 702 w 708"/>
                <a:gd name="T103" fmla="*/ 15 h 88"/>
                <a:gd name="T104" fmla="*/ 708 w 708"/>
                <a:gd name="T105" fmla="*/ 27 h 88"/>
                <a:gd name="T106" fmla="*/ 708 w 708"/>
                <a:gd name="T107" fmla="*/ 57 h 88"/>
                <a:gd name="T108" fmla="*/ 705 w 708"/>
                <a:gd name="T109" fmla="*/ 69 h 88"/>
                <a:gd name="T110" fmla="*/ 698 w 708"/>
                <a:gd name="T111" fmla="*/ 79 h 88"/>
                <a:gd name="T112" fmla="*/ 689 w 708"/>
                <a:gd name="T113" fmla="*/ 86 h 88"/>
                <a:gd name="T114" fmla="*/ 676 w 708"/>
                <a:gd name="T1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8" h="88">
                  <a:moveTo>
                    <a:pt x="608" y="25"/>
                  </a:moveTo>
                  <a:lnTo>
                    <a:pt x="604" y="25"/>
                  </a:lnTo>
                  <a:lnTo>
                    <a:pt x="601" y="27"/>
                  </a:lnTo>
                  <a:lnTo>
                    <a:pt x="600" y="29"/>
                  </a:lnTo>
                  <a:lnTo>
                    <a:pt x="598" y="32"/>
                  </a:lnTo>
                  <a:lnTo>
                    <a:pt x="598" y="57"/>
                  </a:lnTo>
                  <a:lnTo>
                    <a:pt x="600" y="59"/>
                  </a:lnTo>
                  <a:lnTo>
                    <a:pt x="601" y="62"/>
                  </a:lnTo>
                  <a:lnTo>
                    <a:pt x="604" y="63"/>
                  </a:lnTo>
                  <a:lnTo>
                    <a:pt x="608" y="65"/>
                  </a:lnTo>
                  <a:lnTo>
                    <a:pt x="676" y="65"/>
                  </a:lnTo>
                  <a:lnTo>
                    <a:pt x="680" y="63"/>
                  </a:lnTo>
                  <a:lnTo>
                    <a:pt x="681" y="62"/>
                  </a:lnTo>
                  <a:lnTo>
                    <a:pt x="684" y="59"/>
                  </a:lnTo>
                  <a:lnTo>
                    <a:pt x="684" y="57"/>
                  </a:lnTo>
                  <a:lnTo>
                    <a:pt x="684" y="32"/>
                  </a:lnTo>
                  <a:lnTo>
                    <a:pt x="684" y="29"/>
                  </a:lnTo>
                  <a:lnTo>
                    <a:pt x="681" y="27"/>
                  </a:lnTo>
                  <a:lnTo>
                    <a:pt x="680" y="25"/>
                  </a:lnTo>
                  <a:lnTo>
                    <a:pt x="676" y="25"/>
                  </a:lnTo>
                  <a:lnTo>
                    <a:pt x="608" y="25"/>
                  </a:lnTo>
                  <a:close/>
                  <a:moveTo>
                    <a:pt x="31" y="25"/>
                  </a:moveTo>
                  <a:lnTo>
                    <a:pt x="29" y="25"/>
                  </a:lnTo>
                  <a:lnTo>
                    <a:pt x="26" y="27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9" y="63"/>
                  </a:lnTo>
                  <a:lnTo>
                    <a:pt x="31" y="65"/>
                  </a:lnTo>
                  <a:lnTo>
                    <a:pt x="100" y="65"/>
                  </a:lnTo>
                  <a:lnTo>
                    <a:pt x="104" y="63"/>
                  </a:lnTo>
                  <a:lnTo>
                    <a:pt x="106" y="62"/>
                  </a:lnTo>
                  <a:lnTo>
                    <a:pt x="108" y="59"/>
                  </a:lnTo>
                  <a:lnTo>
                    <a:pt x="109" y="57"/>
                  </a:lnTo>
                  <a:lnTo>
                    <a:pt x="109" y="32"/>
                  </a:lnTo>
                  <a:lnTo>
                    <a:pt x="108" y="29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31" y="25"/>
                  </a:lnTo>
                  <a:close/>
                  <a:moveTo>
                    <a:pt x="100" y="88"/>
                  </a:moveTo>
                  <a:lnTo>
                    <a:pt x="31" y="88"/>
                  </a:lnTo>
                  <a:lnTo>
                    <a:pt x="25" y="88"/>
                  </a:lnTo>
                  <a:lnTo>
                    <a:pt x="18" y="86"/>
                  </a:lnTo>
                  <a:lnTo>
                    <a:pt x="13" y="83"/>
                  </a:lnTo>
                  <a:lnTo>
                    <a:pt x="9" y="79"/>
                  </a:lnTo>
                  <a:lnTo>
                    <a:pt x="5" y="74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8" y="3"/>
                  </a:lnTo>
                  <a:lnTo>
                    <a:pt x="25" y="2"/>
                  </a:lnTo>
                  <a:lnTo>
                    <a:pt x="31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13" y="3"/>
                  </a:lnTo>
                  <a:lnTo>
                    <a:pt x="118" y="6"/>
                  </a:lnTo>
                  <a:lnTo>
                    <a:pt x="123" y="9"/>
                  </a:lnTo>
                  <a:lnTo>
                    <a:pt x="127" y="15"/>
                  </a:lnTo>
                  <a:lnTo>
                    <a:pt x="130" y="20"/>
                  </a:lnTo>
                  <a:lnTo>
                    <a:pt x="131" y="27"/>
                  </a:lnTo>
                  <a:lnTo>
                    <a:pt x="133" y="32"/>
                  </a:lnTo>
                  <a:lnTo>
                    <a:pt x="133" y="57"/>
                  </a:lnTo>
                  <a:lnTo>
                    <a:pt x="131" y="63"/>
                  </a:lnTo>
                  <a:lnTo>
                    <a:pt x="130" y="69"/>
                  </a:lnTo>
                  <a:lnTo>
                    <a:pt x="127" y="74"/>
                  </a:lnTo>
                  <a:lnTo>
                    <a:pt x="123" y="79"/>
                  </a:lnTo>
                  <a:lnTo>
                    <a:pt x="118" y="83"/>
                  </a:lnTo>
                  <a:lnTo>
                    <a:pt x="113" y="86"/>
                  </a:lnTo>
                  <a:lnTo>
                    <a:pt x="106" y="88"/>
                  </a:lnTo>
                  <a:lnTo>
                    <a:pt x="100" y="88"/>
                  </a:lnTo>
                  <a:close/>
                  <a:moveTo>
                    <a:pt x="676" y="88"/>
                  </a:moveTo>
                  <a:lnTo>
                    <a:pt x="608" y="88"/>
                  </a:lnTo>
                  <a:lnTo>
                    <a:pt x="601" y="88"/>
                  </a:lnTo>
                  <a:lnTo>
                    <a:pt x="594" y="86"/>
                  </a:lnTo>
                  <a:lnTo>
                    <a:pt x="589" y="83"/>
                  </a:lnTo>
                  <a:lnTo>
                    <a:pt x="584" y="79"/>
                  </a:lnTo>
                  <a:lnTo>
                    <a:pt x="581" y="74"/>
                  </a:lnTo>
                  <a:lnTo>
                    <a:pt x="577" y="69"/>
                  </a:lnTo>
                  <a:lnTo>
                    <a:pt x="576" y="63"/>
                  </a:lnTo>
                  <a:lnTo>
                    <a:pt x="575" y="57"/>
                  </a:lnTo>
                  <a:lnTo>
                    <a:pt x="575" y="32"/>
                  </a:lnTo>
                  <a:lnTo>
                    <a:pt x="576" y="27"/>
                  </a:lnTo>
                  <a:lnTo>
                    <a:pt x="577" y="20"/>
                  </a:lnTo>
                  <a:lnTo>
                    <a:pt x="581" y="15"/>
                  </a:lnTo>
                  <a:lnTo>
                    <a:pt x="584" y="9"/>
                  </a:lnTo>
                  <a:lnTo>
                    <a:pt x="589" y="6"/>
                  </a:lnTo>
                  <a:lnTo>
                    <a:pt x="594" y="3"/>
                  </a:lnTo>
                  <a:lnTo>
                    <a:pt x="601" y="2"/>
                  </a:lnTo>
                  <a:lnTo>
                    <a:pt x="608" y="0"/>
                  </a:lnTo>
                  <a:lnTo>
                    <a:pt x="676" y="0"/>
                  </a:lnTo>
                  <a:lnTo>
                    <a:pt x="683" y="2"/>
                  </a:lnTo>
                  <a:lnTo>
                    <a:pt x="689" y="3"/>
                  </a:lnTo>
                  <a:lnTo>
                    <a:pt x="694" y="6"/>
                  </a:lnTo>
                  <a:lnTo>
                    <a:pt x="698" y="9"/>
                  </a:lnTo>
                  <a:lnTo>
                    <a:pt x="702" y="15"/>
                  </a:lnTo>
                  <a:lnTo>
                    <a:pt x="705" y="20"/>
                  </a:lnTo>
                  <a:lnTo>
                    <a:pt x="708" y="27"/>
                  </a:lnTo>
                  <a:lnTo>
                    <a:pt x="708" y="32"/>
                  </a:lnTo>
                  <a:lnTo>
                    <a:pt x="708" y="57"/>
                  </a:lnTo>
                  <a:lnTo>
                    <a:pt x="708" y="63"/>
                  </a:lnTo>
                  <a:lnTo>
                    <a:pt x="705" y="69"/>
                  </a:lnTo>
                  <a:lnTo>
                    <a:pt x="702" y="74"/>
                  </a:lnTo>
                  <a:lnTo>
                    <a:pt x="698" y="79"/>
                  </a:lnTo>
                  <a:lnTo>
                    <a:pt x="694" y="83"/>
                  </a:lnTo>
                  <a:lnTo>
                    <a:pt x="689" y="86"/>
                  </a:lnTo>
                  <a:lnTo>
                    <a:pt x="683" y="88"/>
                  </a:lnTo>
                  <a:lnTo>
                    <a:pt x="676" y="88"/>
                  </a:lnTo>
                  <a:close/>
                </a:path>
              </a:pathLst>
            </a:custGeom>
            <a:solidFill>
              <a:srgbClr val="009900"/>
            </a:solidFill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98" name="Группа 397"/>
          <p:cNvGrpSpPr/>
          <p:nvPr/>
        </p:nvGrpSpPr>
        <p:grpSpPr>
          <a:xfrm>
            <a:off x="5139448" y="3261113"/>
            <a:ext cx="172817" cy="195263"/>
            <a:chOff x="6670076" y="3327834"/>
            <a:chExt cx="172817" cy="195263"/>
          </a:xfrm>
        </p:grpSpPr>
        <p:sp>
          <p:nvSpPr>
            <p:cNvPr id="399" name="Freeform 404"/>
            <p:cNvSpPr>
              <a:spLocks noEditPoints="1"/>
            </p:cNvSpPr>
            <p:nvPr/>
          </p:nvSpPr>
          <p:spPr bwMode="auto">
            <a:xfrm>
              <a:off x="6670076" y="3327834"/>
              <a:ext cx="172817" cy="195263"/>
            </a:xfrm>
            <a:custGeom>
              <a:avLst/>
              <a:gdLst>
                <a:gd name="T0" fmla="*/ 538 w 1119"/>
                <a:gd name="T1" fmla="*/ 49 h 1137"/>
                <a:gd name="T2" fmla="*/ 971 w 1119"/>
                <a:gd name="T3" fmla="*/ 537 h 1137"/>
                <a:gd name="T4" fmla="*/ 950 w 1119"/>
                <a:gd name="T5" fmla="*/ 447 h 1137"/>
                <a:gd name="T6" fmla="*/ 950 w 1119"/>
                <a:gd name="T7" fmla="*/ 332 h 1137"/>
                <a:gd name="T8" fmla="*/ 832 w 1119"/>
                <a:gd name="T9" fmla="*/ 172 h 1137"/>
                <a:gd name="T10" fmla="*/ 653 w 1119"/>
                <a:gd name="T11" fmla="*/ 83 h 1137"/>
                <a:gd name="T12" fmla="*/ 447 w 1119"/>
                <a:gd name="T13" fmla="*/ 87 h 1137"/>
                <a:gd name="T14" fmla="*/ 272 w 1119"/>
                <a:gd name="T15" fmla="*/ 184 h 1137"/>
                <a:gd name="T16" fmla="*/ 159 w 1119"/>
                <a:gd name="T17" fmla="*/ 349 h 1137"/>
                <a:gd name="T18" fmla="*/ 170 w 1119"/>
                <a:gd name="T19" fmla="*/ 453 h 1137"/>
                <a:gd name="T20" fmla="*/ 184 w 1119"/>
                <a:gd name="T21" fmla="*/ 566 h 1137"/>
                <a:gd name="T22" fmla="*/ 267 w 1119"/>
                <a:gd name="T23" fmla="*/ 297 h 1137"/>
                <a:gd name="T24" fmla="*/ 891 w 1119"/>
                <a:gd name="T25" fmla="*/ 345 h 1137"/>
                <a:gd name="T26" fmla="*/ 963 w 1119"/>
                <a:gd name="T27" fmla="*/ 632 h 1137"/>
                <a:gd name="T28" fmla="*/ 974 w 1119"/>
                <a:gd name="T29" fmla="*/ 508 h 1137"/>
                <a:gd name="T30" fmla="*/ 1095 w 1119"/>
                <a:gd name="T31" fmla="*/ 501 h 1137"/>
                <a:gd name="T32" fmla="*/ 991 w 1119"/>
                <a:gd name="T33" fmla="*/ 445 h 1137"/>
                <a:gd name="T34" fmla="*/ 934 w 1119"/>
                <a:gd name="T35" fmla="*/ 746 h 1137"/>
                <a:gd name="T36" fmla="*/ 954 w 1119"/>
                <a:gd name="T37" fmla="*/ 1021 h 1137"/>
                <a:gd name="T38" fmla="*/ 829 w 1119"/>
                <a:gd name="T39" fmla="*/ 1137 h 1137"/>
                <a:gd name="T40" fmla="*/ 422 w 1119"/>
                <a:gd name="T41" fmla="*/ 1021 h 1137"/>
                <a:gd name="T42" fmla="*/ 241 w 1119"/>
                <a:gd name="T43" fmla="*/ 1137 h 1137"/>
                <a:gd name="T44" fmla="*/ 158 w 1119"/>
                <a:gd name="T45" fmla="*/ 1020 h 1137"/>
                <a:gd name="T46" fmla="*/ 170 w 1119"/>
                <a:gd name="T47" fmla="*/ 724 h 1137"/>
                <a:gd name="T48" fmla="*/ 17 w 1119"/>
                <a:gd name="T49" fmla="*/ 534 h 1137"/>
                <a:gd name="T50" fmla="*/ 17 w 1119"/>
                <a:gd name="T51" fmla="*/ 428 h 1137"/>
                <a:gd name="T52" fmla="*/ 191 w 1119"/>
                <a:gd name="T53" fmla="*/ 241 h 1137"/>
                <a:gd name="T54" fmla="*/ 382 w 1119"/>
                <a:gd name="T55" fmla="*/ 6 h 1137"/>
                <a:gd name="T56" fmla="*/ 786 w 1119"/>
                <a:gd name="T57" fmla="*/ 110 h 1137"/>
                <a:gd name="T58" fmla="*/ 979 w 1119"/>
                <a:gd name="T59" fmla="*/ 338 h 1137"/>
                <a:gd name="T60" fmla="*/ 1117 w 1119"/>
                <a:gd name="T61" fmla="*/ 451 h 1137"/>
                <a:gd name="T62" fmla="*/ 184 w 1119"/>
                <a:gd name="T63" fmla="*/ 596 h 1137"/>
                <a:gd name="T64" fmla="*/ 184 w 1119"/>
                <a:gd name="T65" fmla="*/ 596 h 1137"/>
                <a:gd name="T66" fmla="*/ 121 w 1119"/>
                <a:gd name="T67" fmla="*/ 517 h 1137"/>
                <a:gd name="T68" fmla="*/ 137 w 1119"/>
                <a:gd name="T69" fmla="*/ 446 h 1137"/>
                <a:gd name="T70" fmla="*/ 415 w 1119"/>
                <a:gd name="T71" fmla="*/ 940 h 1137"/>
                <a:gd name="T72" fmla="*/ 799 w 1119"/>
                <a:gd name="T73" fmla="*/ 996 h 1137"/>
                <a:gd name="T74" fmla="*/ 766 w 1119"/>
                <a:gd name="T75" fmla="*/ 887 h 1137"/>
                <a:gd name="T76" fmla="*/ 318 w 1119"/>
                <a:gd name="T77" fmla="*/ 996 h 1137"/>
                <a:gd name="T78" fmla="*/ 441 w 1119"/>
                <a:gd name="T79" fmla="*/ 796 h 1137"/>
                <a:gd name="T80" fmla="*/ 674 w 1119"/>
                <a:gd name="T81" fmla="*/ 734 h 1137"/>
                <a:gd name="T82" fmla="*/ 415 w 1119"/>
                <a:gd name="T83" fmla="*/ 795 h 1137"/>
                <a:gd name="T84" fmla="*/ 670 w 1119"/>
                <a:gd name="T85" fmla="*/ 711 h 1137"/>
                <a:gd name="T86" fmla="*/ 701 w 1119"/>
                <a:gd name="T87" fmla="*/ 801 h 1137"/>
                <a:gd name="T88" fmla="*/ 812 w 1119"/>
                <a:gd name="T89" fmla="*/ 1101 h 1137"/>
                <a:gd name="T90" fmla="*/ 890 w 1119"/>
                <a:gd name="T91" fmla="*/ 1107 h 1137"/>
                <a:gd name="T92" fmla="*/ 225 w 1119"/>
                <a:gd name="T93" fmla="*/ 1104 h 1137"/>
                <a:gd name="T94" fmla="*/ 304 w 1119"/>
                <a:gd name="T95" fmla="*/ 1104 h 1137"/>
                <a:gd name="T96" fmla="*/ 796 w 1119"/>
                <a:gd name="T97" fmla="*/ 822 h 1137"/>
                <a:gd name="T98" fmla="*/ 830 w 1119"/>
                <a:gd name="T99" fmla="*/ 318 h 1137"/>
                <a:gd name="T100" fmla="*/ 245 w 1119"/>
                <a:gd name="T101" fmla="*/ 371 h 1137"/>
                <a:gd name="T102" fmla="*/ 286 w 1119"/>
                <a:gd name="T103" fmla="*/ 546 h 1137"/>
                <a:gd name="T104" fmla="*/ 816 w 1119"/>
                <a:gd name="T105" fmla="*/ 579 h 1137"/>
                <a:gd name="T106" fmla="*/ 800 w 1119"/>
                <a:gd name="T107" fmla="*/ 378 h 1137"/>
                <a:gd name="T108" fmla="*/ 274 w 1119"/>
                <a:gd name="T109" fmla="*/ 588 h 1137"/>
                <a:gd name="T110" fmla="*/ 301 w 1119"/>
                <a:gd name="T111" fmla="*/ 361 h 1137"/>
                <a:gd name="T112" fmla="*/ 824 w 1119"/>
                <a:gd name="T113" fmla="*/ 372 h 1137"/>
                <a:gd name="T114" fmla="*/ 837 w 1119"/>
                <a:gd name="T115" fmla="*/ 596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9" h="1137">
                  <a:moveTo>
                    <a:pt x="712" y="75"/>
                  </a:moveTo>
                  <a:lnTo>
                    <a:pt x="712" y="24"/>
                  </a:lnTo>
                  <a:lnTo>
                    <a:pt x="405" y="24"/>
                  </a:lnTo>
                  <a:lnTo>
                    <a:pt x="405" y="75"/>
                  </a:lnTo>
                  <a:lnTo>
                    <a:pt x="424" y="70"/>
                  </a:lnTo>
                  <a:lnTo>
                    <a:pt x="442" y="63"/>
                  </a:lnTo>
                  <a:lnTo>
                    <a:pt x="461" y="59"/>
                  </a:lnTo>
                  <a:lnTo>
                    <a:pt x="480" y="55"/>
                  </a:lnTo>
                  <a:lnTo>
                    <a:pt x="499" y="51"/>
                  </a:lnTo>
                  <a:lnTo>
                    <a:pt x="518" y="50"/>
                  </a:lnTo>
                  <a:lnTo>
                    <a:pt x="538" y="49"/>
                  </a:lnTo>
                  <a:lnTo>
                    <a:pt x="558" y="47"/>
                  </a:lnTo>
                  <a:lnTo>
                    <a:pt x="579" y="49"/>
                  </a:lnTo>
                  <a:lnTo>
                    <a:pt x="599" y="50"/>
                  </a:lnTo>
                  <a:lnTo>
                    <a:pt x="618" y="51"/>
                  </a:lnTo>
                  <a:lnTo>
                    <a:pt x="637" y="55"/>
                  </a:lnTo>
                  <a:lnTo>
                    <a:pt x="657" y="59"/>
                  </a:lnTo>
                  <a:lnTo>
                    <a:pt x="675" y="63"/>
                  </a:lnTo>
                  <a:lnTo>
                    <a:pt x="694" y="70"/>
                  </a:lnTo>
                  <a:lnTo>
                    <a:pt x="712" y="75"/>
                  </a:lnTo>
                  <a:close/>
                  <a:moveTo>
                    <a:pt x="934" y="566"/>
                  </a:moveTo>
                  <a:lnTo>
                    <a:pt x="971" y="537"/>
                  </a:lnTo>
                  <a:lnTo>
                    <a:pt x="967" y="534"/>
                  </a:lnTo>
                  <a:lnTo>
                    <a:pt x="962" y="532"/>
                  </a:lnTo>
                  <a:lnTo>
                    <a:pt x="958" y="528"/>
                  </a:lnTo>
                  <a:lnTo>
                    <a:pt x="955" y="522"/>
                  </a:lnTo>
                  <a:lnTo>
                    <a:pt x="953" y="518"/>
                  </a:lnTo>
                  <a:lnTo>
                    <a:pt x="950" y="513"/>
                  </a:lnTo>
                  <a:lnTo>
                    <a:pt x="949" y="507"/>
                  </a:lnTo>
                  <a:lnTo>
                    <a:pt x="949" y="501"/>
                  </a:lnTo>
                  <a:lnTo>
                    <a:pt x="949" y="459"/>
                  </a:lnTo>
                  <a:lnTo>
                    <a:pt x="949" y="453"/>
                  </a:lnTo>
                  <a:lnTo>
                    <a:pt x="950" y="447"/>
                  </a:lnTo>
                  <a:lnTo>
                    <a:pt x="953" y="441"/>
                  </a:lnTo>
                  <a:lnTo>
                    <a:pt x="957" y="436"/>
                  </a:lnTo>
                  <a:lnTo>
                    <a:pt x="961" y="432"/>
                  </a:lnTo>
                  <a:lnTo>
                    <a:pt x="966" y="428"/>
                  </a:lnTo>
                  <a:lnTo>
                    <a:pt x="971" y="424"/>
                  </a:lnTo>
                  <a:lnTo>
                    <a:pt x="978" y="422"/>
                  </a:lnTo>
                  <a:lnTo>
                    <a:pt x="974" y="403"/>
                  </a:lnTo>
                  <a:lnTo>
                    <a:pt x="969" y="384"/>
                  </a:lnTo>
                  <a:lnTo>
                    <a:pt x="963" y="367"/>
                  </a:lnTo>
                  <a:lnTo>
                    <a:pt x="958" y="349"/>
                  </a:lnTo>
                  <a:lnTo>
                    <a:pt x="950" y="332"/>
                  </a:lnTo>
                  <a:lnTo>
                    <a:pt x="944" y="316"/>
                  </a:lnTo>
                  <a:lnTo>
                    <a:pt x="934" y="299"/>
                  </a:lnTo>
                  <a:lnTo>
                    <a:pt x="925" y="283"/>
                  </a:lnTo>
                  <a:lnTo>
                    <a:pt x="916" y="267"/>
                  </a:lnTo>
                  <a:lnTo>
                    <a:pt x="905" y="253"/>
                  </a:lnTo>
                  <a:lnTo>
                    <a:pt x="895" y="237"/>
                  </a:lnTo>
                  <a:lnTo>
                    <a:pt x="883" y="224"/>
                  </a:lnTo>
                  <a:lnTo>
                    <a:pt x="871" y="209"/>
                  </a:lnTo>
                  <a:lnTo>
                    <a:pt x="858" y="196"/>
                  </a:lnTo>
                  <a:lnTo>
                    <a:pt x="845" y="184"/>
                  </a:lnTo>
                  <a:lnTo>
                    <a:pt x="832" y="172"/>
                  </a:lnTo>
                  <a:lnTo>
                    <a:pt x="817" y="160"/>
                  </a:lnTo>
                  <a:lnTo>
                    <a:pt x="803" y="150"/>
                  </a:lnTo>
                  <a:lnTo>
                    <a:pt x="787" y="139"/>
                  </a:lnTo>
                  <a:lnTo>
                    <a:pt x="771" y="130"/>
                  </a:lnTo>
                  <a:lnTo>
                    <a:pt x="755" y="121"/>
                  </a:lnTo>
                  <a:lnTo>
                    <a:pt x="740" y="113"/>
                  </a:lnTo>
                  <a:lnTo>
                    <a:pt x="722" y="105"/>
                  </a:lnTo>
                  <a:lnTo>
                    <a:pt x="705" y="99"/>
                  </a:lnTo>
                  <a:lnTo>
                    <a:pt x="688" y="92"/>
                  </a:lnTo>
                  <a:lnTo>
                    <a:pt x="670" y="87"/>
                  </a:lnTo>
                  <a:lnTo>
                    <a:pt x="653" y="83"/>
                  </a:lnTo>
                  <a:lnTo>
                    <a:pt x="634" y="79"/>
                  </a:lnTo>
                  <a:lnTo>
                    <a:pt x="616" y="76"/>
                  </a:lnTo>
                  <a:lnTo>
                    <a:pt x="596" y="74"/>
                  </a:lnTo>
                  <a:lnTo>
                    <a:pt x="578" y="72"/>
                  </a:lnTo>
                  <a:lnTo>
                    <a:pt x="558" y="72"/>
                  </a:lnTo>
                  <a:lnTo>
                    <a:pt x="540" y="72"/>
                  </a:lnTo>
                  <a:lnTo>
                    <a:pt x="521" y="74"/>
                  </a:lnTo>
                  <a:lnTo>
                    <a:pt x="501" y="76"/>
                  </a:lnTo>
                  <a:lnTo>
                    <a:pt x="483" y="79"/>
                  </a:lnTo>
                  <a:lnTo>
                    <a:pt x="465" y="83"/>
                  </a:lnTo>
                  <a:lnTo>
                    <a:pt x="447" y="87"/>
                  </a:lnTo>
                  <a:lnTo>
                    <a:pt x="429" y="92"/>
                  </a:lnTo>
                  <a:lnTo>
                    <a:pt x="412" y="99"/>
                  </a:lnTo>
                  <a:lnTo>
                    <a:pt x="395" y="105"/>
                  </a:lnTo>
                  <a:lnTo>
                    <a:pt x="378" y="113"/>
                  </a:lnTo>
                  <a:lnTo>
                    <a:pt x="362" y="121"/>
                  </a:lnTo>
                  <a:lnTo>
                    <a:pt x="346" y="130"/>
                  </a:lnTo>
                  <a:lnTo>
                    <a:pt x="330" y="139"/>
                  </a:lnTo>
                  <a:lnTo>
                    <a:pt x="314" y="150"/>
                  </a:lnTo>
                  <a:lnTo>
                    <a:pt x="300" y="160"/>
                  </a:lnTo>
                  <a:lnTo>
                    <a:pt x="286" y="172"/>
                  </a:lnTo>
                  <a:lnTo>
                    <a:pt x="272" y="184"/>
                  </a:lnTo>
                  <a:lnTo>
                    <a:pt x="259" y="196"/>
                  </a:lnTo>
                  <a:lnTo>
                    <a:pt x="246" y="209"/>
                  </a:lnTo>
                  <a:lnTo>
                    <a:pt x="234" y="224"/>
                  </a:lnTo>
                  <a:lnTo>
                    <a:pt x="222" y="237"/>
                  </a:lnTo>
                  <a:lnTo>
                    <a:pt x="212" y="251"/>
                  </a:lnTo>
                  <a:lnTo>
                    <a:pt x="201" y="267"/>
                  </a:lnTo>
                  <a:lnTo>
                    <a:pt x="192" y="283"/>
                  </a:lnTo>
                  <a:lnTo>
                    <a:pt x="183" y="299"/>
                  </a:lnTo>
                  <a:lnTo>
                    <a:pt x="175" y="314"/>
                  </a:lnTo>
                  <a:lnTo>
                    <a:pt x="167" y="332"/>
                  </a:lnTo>
                  <a:lnTo>
                    <a:pt x="159" y="349"/>
                  </a:lnTo>
                  <a:lnTo>
                    <a:pt x="154" y="367"/>
                  </a:lnTo>
                  <a:lnTo>
                    <a:pt x="149" y="384"/>
                  </a:lnTo>
                  <a:lnTo>
                    <a:pt x="143" y="403"/>
                  </a:lnTo>
                  <a:lnTo>
                    <a:pt x="139" y="421"/>
                  </a:lnTo>
                  <a:lnTo>
                    <a:pt x="146" y="424"/>
                  </a:lnTo>
                  <a:lnTo>
                    <a:pt x="151" y="426"/>
                  </a:lnTo>
                  <a:lnTo>
                    <a:pt x="157" y="430"/>
                  </a:lnTo>
                  <a:lnTo>
                    <a:pt x="162" y="436"/>
                  </a:lnTo>
                  <a:lnTo>
                    <a:pt x="164" y="441"/>
                  </a:lnTo>
                  <a:lnTo>
                    <a:pt x="167" y="446"/>
                  </a:lnTo>
                  <a:lnTo>
                    <a:pt x="170" y="453"/>
                  </a:lnTo>
                  <a:lnTo>
                    <a:pt x="170" y="459"/>
                  </a:lnTo>
                  <a:lnTo>
                    <a:pt x="170" y="501"/>
                  </a:lnTo>
                  <a:lnTo>
                    <a:pt x="170" y="507"/>
                  </a:lnTo>
                  <a:lnTo>
                    <a:pt x="168" y="513"/>
                  </a:lnTo>
                  <a:lnTo>
                    <a:pt x="166" y="518"/>
                  </a:lnTo>
                  <a:lnTo>
                    <a:pt x="163" y="522"/>
                  </a:lnTo>
                  <a:lnTo>
                    <a:pt x="161" y="528"/>
                  </a:lnTo>
                  <a:lnTo>
                    <a:pt x="157" y="532"/>
                  </a:lnTo>
                  <a:lnTo>
                    <a:pt x="151" y="534"/>
                  </a:lnTo>
                  <a:lnTo>
                    <a:pt x="147" y="537"/>
                  </a:lnTo>
                  <a:lnTo>
                    <a:pt x="184" y="566"/>
                  </a:lnTo>
                  <a:lnTo>
                    <a:pt x="184" y="566"/>
                  </a:lnTo>
                  <a:lnTo>
                    <a:pt x="221" y="367"/>
                  </a:lnTo>
                  <a:lnTo>
                    <a:pt x="225" y="347"/>
                  </a:lnTo>
                  <a:lnTo>
                    <a:pt x="230" y="332"/>
                  </a:lnTo>
                  <a:lnTo>
                    <a:pt x="234" y="324"/>
                  </a:lnTo>
                  <a:lnTo>
                    <a:pt x="238" y="318"/>
                  </a:lnTo>
                  <a:lnTo>
                    <a:pt x="243" y="312"/>
                  </a:lnTo>
                  <a:lnTo>
                    <a:pt x="247" y="308"/>
                  </a:lnTo>
                  <a:lnTo>
                    <a:pt x="254" y="304"/>
                  </a:lnTo>
                  <a:lnTo>
                    <a:pt x="259" y="300"/>
                  </a:lnTo>
                  <a:lnTo>
                    <a:pt x="267" y="297"/>
                  </a:lnTo>
                  <a:lnTo>
                    <a:pt x="274" y="295"/>
                  </a:lnTo>
                  <a:lnTo>
                    <a:pt x="291" y="292"/>
                  </a:lnTo>
                  <a:lnTo>
                    <a:pt x="312" y="291"/>
                  </a:lnTo>
                  <a:lnTo>
                    <a:pt x="807" y="291"/>
                  </a:lnTo>
                  <a:lnTo>
                    <a:pt x="824" y="293"/>
                  </a:lnTo>
                  <a:lnTo>
                    <a:pt x="840" y="296"/>
                  </a:lnTo>
                  <a:lnTo>
                    <a:pt x="853" y="303"/>
                  </a:lnTo>
                  <a:lnTo>
                    <a:pt x="865" y="309"/>
                  </a:lnTo>
                  <a:lnTo>
                    <a:pt x="875" y="320"/>
                  </a:lnTo>
                  <a:lnTo>
                    <a:pt x="884" y="330"/>
                  </a:lnTo>
                  <a:lnTo>
                    <a:pt x="891" y="345"/>
                  </a:lnTo>
                  <a:lnTo>
                    <a:pt x="896" y="361"/>
                  </a:lnTo>
                  <a:lnTo>
                    <a:pt x="934" y="563"/>
                  </a:lnTo>
                  <a:lnTo>
                    <a:pt x="934" y="566"/>
                  </a:lnTo>
                  <a:close/>
                  <a:moveTo>
                    <a:pt x="980" y="561"/>
                  </a:moveTo>
                  <a:lnTo>
                    <a:pt x="934" y="595"/>
                  </a:lnTo>
                  <a:lnTo>
                    <a:pt x="934" y="596"/>
                  </a:lnTo>
                  <a:lnTo>
                    <a:pt x="934" y="699"/>
                  </a:lnTo>
                  <a:lnTo>
                    <a:pt x="942" y="683"/>
                  </a:lnTo>
                  <a:lnTo>
                    <a:pt x="950" y="666"/>
                  </a:lnTo>
                  <a:lnTo>
                    <a:pt x="957" y="649"/>
                  </a:lnTo>
                  <a:lnTo>
                    <a:pt x="963" y="632"/>
                  </a:lnTo>
                  <a:lnTo>
                    <a:pt x="969" y="614"/>
                  </a:lnTo>
                  <a:lnTo>
                    <a:pt x="972" y="597"/>
                  </a:lnTo>
                  <a:lnTo>
                    <a:pt x="976" y="579"/>
                  </a:lnTo>
                  <a:lnTo>
                    <a:pt x="980" y="561"/>
                  </a:lnTo>
                  <a:close/>
                  <a:moveTo>
                    <a:pt x="988" y="445"/>
                  </a:moveTo>
                  <a:lnTo>
                    <a:pt x="982" y="446"/>
                  </a:lnTo>
                  <a:lnTo>
                    <a:pt x="976" y="449"/>
                  </a:lnTo>
                  <a:lnTo>
                    <a:pt x="974" y="454"/>
                  </a:lnTo>
                  <a:lnTo>
                    <a:pt x="972" y="459"/>
                  </a:lnTo>
                  <a:lnTo>
                    <a:pt x="972" y="501"/>
                  </a:lnTo>
                  <a:lnTo>
                    <a:pt x="974" y="508"/>
                  </a:lnTo>
                  <a:lnTo>
                    <a:pt x="976" y="512"/>
                  </a:lnTo>
                  <a:lnTo>
                    <a:pt x="982" y="516"/>
                  </a:lnTo>
                  <a:lnTo>
                    <a:pt x="988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6" y="517"/>
                  </a:lnTo>
                  <a:lnTo>
                    <a:pt x="1079" y="517"/>
                  </a:lnTo>
                  <a:lnTo>
                    <a:pt x="1086" y="516"/>
                  </a:lnTo>
                  <a:lnTo>
                    <a:pt x="1090" y="512"/>
                  </a:lnTo>
                  <a:lnTo>
                    <a:pt x="1094" y="508"/>
                  </a:lnTo>
                  <a:lnTo>
                    <a:pt x="1095" y="501"/>
                  </a:lnTo>
                  <a:lnTo>
                    <a:pt x="1095" y="459"/>
                  </a:lnTo>
                  <a:lnTo>
                    <a:pt x="1094" y="454"/>
                  </a:lnTo>
                  <a:lnTo>
                    <a:pt x="1090" y="449"/>
                  </a:lnTo>
                  <a:lnTo>
                    <a:pt x="1086" y="446"/>
                  </a:lnTo>
                  <a:lnTo>
                    <a:pt x="1079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1" y="445"/>
                  </a:lnTo>
                  <a:lnTo>
                    <a:pt x="991" y="445"/>
                  </a:lnTo>
                  <a:lnTo>
                    <a:pt x="988" y="445"/>
                  </a:lnTo>
                  <a:close/>
                  <a:moveTo>
                    <a:pt x="1079" y="541"/>
                  </a:moveTo>
                  <a:lnTo>
                    <a:pt x="1007" y="541"/>
                  </a:lnTo>
                  <a:lnTo>
                    <a:pt x="1003" y="568"/>
                  </a:lnTo>
                  <a:lnTo>
                    <a:pt x="997" y="595"/>
                  </a:lnTo>
                  <a:lnTo>
                    <a:pt x="991" y="621"/>
                  </a:lnTo>
                  <a:lnTo>
                    <a:pt x="983" y="647"/>
                  </a:lnTo>
                  <a:lnTo>
                    <a:pt x="974" y="674"/>
                  </a:lnTo>
                  <a:lnTo>
                    <a:pt x="962" y="699"/>
                  </a:lnTo>
                  <a:lnTo>
                    <a:pt x="949" y="722"/>
                  </a:lnTo>
                  <a:lnTo>
                    <a:pt x="934" y="746"/>
                  </a:lnTo>
                  <a:lnTo>
                    <a:pt x="934" y="817"/>
                  </a:lnTo>
                  <a:lnTo>
                    <a:pt x="954" y="817"/>
                  </a:lnTo>
                  <a:lnTo>
                    <a:pt x="959" y="818"/>
                  </a:lnTo>
                  <a:lnTo>
                    <a:pt x="963" y="821"/>
                  </a:lnTo>
                  <a:lnTo>
                    <a:pt x="966" y="825"/>
                  </a:lnTo>
                  <a:lnTo>
                    <a:pt x="966" y="829"/>
                  </a:lnTo>
                  <a:lnTo>
                    <a:pt x="966" y="1008"/>
                  </a:lnTo>
                  <a:lnTo>
                    <a:pt x="966" y="1013"/>
                  </a:lnTo>
                  <a:lnTo>
                    <a:pt x="963" y="1017"/>
                  </a:lnTo>
                  <a:lnTo>
                    <a:pt x="959" y="1020"/>
                  </a:lnTo>
                  <a:lnTo>
                    <a:pt x="954" y="1021"/>
                  </a:lnTo>
                  <a:lnTo>
                    <a:pt x="919" y="1021"/>
                  </a:lnTo>
                  <a:lnTo>
                    <a:pt x="919" y="1095"/>
                  </a:lnTo>
                  <a:lnTo>
                    <a:pt x="919" y="1103"/>
                  </a:lnTo>
                  <a:lnTo>
                    <a:pt x="916" y="1111"/>
                  </a:lnTo>
                  <a:lnTo>
                    <a:pt x="912" y="1119"/>
                  </a:lnTo>
                  <a:lnTo>
                    <a:pt x="907" y="1124"/>
                  </a:lnTo>
                  <a:lnTo>
                    <a:pt x="900" y="1129"/>
                  </a:lnTo>
                  <a:lnTo>
                    <a:pt x="894" y="1133"/>
                  </a:lnTo>
                  <a:lnTo>
                    <a:pt x="886" y="1136"/>
                  </a:lnTo>
                  <a:lnTo>
                    <a:pt x="876" y="1137"/>
                  </a:lnTo>
                  <a:lnTo>
                    <a:pt x="829" y="1137"/>
                  </a:lnTo>
                  <a:lnTo>
                    <a:pt x="821" y="1136"/>
                  </a:lnTo>
                  <a:lnTo>
                    <a:pt x="812" y="1133"/>
                  </a:lnTo>
                  <a:lnTo>
                    <a:pt x="805" y="1129"/>
                  </a:lnTo>
                  <a:lnTo>
                    <a:pt x="799" y="1124"/>
                  </a:lnTo>
                  <a:lnTo>
                    <a:pt x="794" y="1119"/>
                  </a:lnTo>
                  <a:lnTo>
                    <a:pt x="790" y="1111"/>
                  </a:lnTo>
                  <a:lnTo>
                    <a:pt x="788" y="1103"/>
                  </a:lnTo>
                  <a:lnTo>
                    <a:pt x="787" y="1095"/>
                  </a:lnTo>
                  <a:lnTo>
                    <a:pt x="787" y="1021"/>
                  </a:lnTo>
                  <a:lnTo>
                    <a:pt x="695" y="1021"/>
                  </a:lnTo>
                  <a:lnTo>
                    <a:pt x="422" y="1021"/>
                  </a:lnTo>
                  <a:lnTo>
                    <a:pt x="330" y="1021"/>
                  </a:lnTo>
                  <a:lnTo>
                    <a:pt x="330" y="1095"/>
                  </a:lnTo>
                  <a:lnTo>
                    <a:pt x="330" y="1103"/>
                  </a:lnTo>
                  <a:lnTo>
                    <a:pt x="328" y="1111"/>
                  </a:lnTo>
                  <a:lnTo>
                    <a:pt x="324" y="1119"/>
                  </a:lnTo>
                  <a:lnTo>
                    <a:pt x="318" y="1124"/>
                  </a:lnTo>
                  <a:lnTo>
                    <a:pt x="312" y="1129"/>
                  </a:lnTo>
                  <a:lnTo>
                    <a:pt x="305" y="1133"/>
                  </a:lnTo>
                  <a:lnTo>
                    <a:pt x="297" y="1136"/>
                  </a:lnTo>
                  <a:lnTo>
                    <a:pt x="288" y="1137"/>
                  </a:lnTo>
                  <a:lnTo>
                    <a:pt x="241" y="1137"/>
                  </a:lnTo>
                  <a:lnTo>
                    <a:pt x="233" y="1136"/>
                  </a:lnTo>
                  <a:lnTo>
                    <a:pt x="224" y="1133"/>
                  </a:lnTo>
                  <a:lnTo>
                    <a:pt x="217" y="1129"/>
                  </a:lnTo>
                  <a:lnTo>
                    <a:pt x="211" y="1124"/>
                  </a:lnTo>
                  <a:lnTo>
                    <a:pt x="205" y="1119"/>
                  </a:lnTo>
                  <a:lnTo>
                    <a:pt x="201" y="1111"/>
                  </a:lnTo>
                  <a:lnTo>
                    <a:pt x="199" y="1103"/>
                  </a:lnTo>
                  <a:lnTo>
                    <a:pt x="199" y="1095"/>
                  </a:lnTo>
                  <a:lnTo>
                    <a:pt x="199" y="1021"/>
                  </a:lnTo>
                  <a:lnTo>
                    <a:pt x="163" y="1021"/>
                  </a:lnTo>
                  <a:lnTo>
                    <a:pt x="158" y="1020"/>
                  </a:lnTo>
                  <a:lnTo>
                    <a:pt x="154" y="1017"/>
                  </a:lnTo>
                  <a:lnTo>
                    <a:pt x="151" y="1013"/>
                  </a:lnTo>
                  <a:lnTo>
                    <a:pt x="151" y="1008"/>
                  </a:lnTo>
                  <a:lnTo>
                    <a:pt x="151" y="829"/>
                  </a:lnTo>
                  <a:lnTo>
                    <a:pt x="151" y="825"/>
                  </a:lnTo>
                  <a:lnTo>
                    <a:pt x="154" y="821"/>
                  </a:lnTo>
                  <a:lnTo>
                    <a:pt x="158" y="818"/>
                  </a:lnTo>
                  <a:lnTo>
                    <a:pt x="163" y="817"/>
                  </a:lnTo>
                  <a:lnTo>
                    <a:pt x="184" y="817"/>
                  </a:lnTo>
                  <a:lnTo>
                    <a:pt x="184" y="747"/>
                  </a:lnTo>
                  <a:lnTo>
                    <a:pt x="170" y="724"/>
                  </a:lnTo>
                  <a:lnTo>
                    <a:pt x="157" y="700"/>
                  </a:lnTo>
                  <a:lnTo>
                    <a:pt x="145" y="675"/>
                  </a:lnTo>
                  <a:lnTo>
                    <a:pt x="134" y="649"/>
                  </a:lnTo>
                  <a:lnTo>
                    <a:pt x="126" y="622"/>
                  </a:lnTo>
                  <a:lnTo>
                    <a:pt x="120" y="596"/>
                  </a:lnTo>
                  <a:lnTo>
                    <a:pt x="114" y="568"/>
                  </a:lnTo>
                  <a:lnTo>
                    <a:pt x="111" y="541"/>
                  </a:lnTo>
                  <a:lnTo>
                    <a:pt x="39" y="541"/>
                  </a:lnTo>
                  <a:lnTo>
                    <a:pt x="32" y="539"/>
                  </a:lnTo>
                  <a:lnTo>
                    <a:pt x="24" y="538"/>
                  </a:lnTo>
                  <a:lnTo>
                    <a:pt x="17" y="534"/>
                  </a:lnTo>
                  <a:lnTo>
                    <a:pt x="12" y="529"/>
                  </a:lnTo>
                  <a:lnTo>
                    <a:pt x="7" y="524"/>
                  </a:lnTo>
                  <a:lnTo>
                    <a:pt x="3" y="517"/>
                  </a:lnTo>
                  <a:lnTo>
                    <a:pt x="1" y="509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1" y="451"/>
                  </a:lnTo>
                  <a:lnTo>
                    <a:pt x="3" y="445"/>
                  </a:lnTo>
                  <a:lnTo>
                    <a:pt x="7" y="438"/>
                  </a:lnTo>
                  <a:lnTo>
                    <a:pt x="12" y="432"/>
                  </a:lnTo>
                  <a:lnTo>
                    <a:pt x="17" y="428"/>
                  </a:lnTo>
                  <a:lnTo>
                    <a:pt x="24" y="424"/>
                  </a:lnTo>
                  <a:lnTo>
                    <a:pt x="32" y="421"/>
                  </a:lnTo>
                  <a:lnTo>
                    <a:pt x="39" y="420"/>
                  </a:lnTo>
                  <a:lnTo>
                    <a:pt x="116" y="420"/>
                  </a:lnTo>
                  <a:lnTo>
                    <a:pt x="121" y="392"/>
                  </a:lnTo>
                  <a:lnTo>
                    <a:pt x="129" y="364"/>
                  </a:lnTo>
                  <a:lnTo>
                    <a:pt x="138" y="338"/>
                  </a:lnTo>
                  <a:lnTo>
                    <a:pt x="149" y="312"/>
                  </a:lnTo>
                  <a:lnTo>
                    <a:pt x="162" y="287"/>
                  </a:lnTo>
                  <a:lnTo>
                    <a:pt x="175" y="263"/>
                  </a:lnTo>
                  <a:lnTo>
                    <a:pt x="191" y="241"/>
                  </a:lnTo>
                  <a:lnTo>
                    <a:pt x="208" y="218"/>
                  </a:lnTo>
                  <a:lnTo>
                    <a:pt x="225" y="197"/>
                  </a:lnTo>
                  <a:lnTo>
                    <a:pt x="245" y="178"/>
                  </a:lnTo>
                  <a:lnTo>
                    <a:pt x="264" y="158"/>
                  </a:lnTo>
                  <a:lnTo>
                    <a:pt x="286" y="141"/>
                  </a:lnTo>
                  <a:lnTo>
                    <a:pt x="309" y="125"/>
                  </a:lnTo>
                  <a:lnTo>
                    <a:pt x="332" y="110"/>
                  </a:lnTo>
                  <a:lnTo>
                    <a:pt x="357" y="97"/>
                  </a:lnTo>
                  <a:lnTo>
                    <a:pt x="382" y="85"/>
                  </a:lnTo>
                  <a:lnTo>
                    <a:pt x="382" y="12"/>
                  </a:lnTo>
                  <a:lnTo>
                    <a:pt x="382" y="6"/>
                  </a:lnTo>
                  <a:lnTo>
                    <a:pt x="384" y="3"/>
                  </a:lnTo>
                  <a:lnTo>
                    <a:pt x="388" y="0"/>
                  </a:lnTo>
                  <a:lnTo>
                    <a:pt x="393" y="0"/>
                  </a:lnTo>
                  <a:lnTo>
                    <a:pt x="724" y="0"/>
                  </a:lnTo>
                  <a:lnTo>
                    <a:pt x="729" y="0"/>
                  </a:lnTo>
                  <a:lnTo>
                    <a:pt x="733" y="3"/>
                  </a:lnTo>
                  <a:lnTo>
                    <a:pt x="736" y="6"/>
                  </a:lnTo>
                  <a:lnTo>
                    <a:pt x="736" y="12"/>
                  </a:lnTo>
                  <a:lnTo>
                    <a:pt x="736" y="85"/>
                  </a:lnTo>
                  <a:lnTo>
                    <a:pt x="761" y="97"/>
                  </a:lnTo>
                  <a:lnTo>
                    <a:pt x="786" y="110"/>
                  </a:lnTo>
                  <a:lnTo>
                    <a:pt x="809" y="125"/>
                  </a:lnTo>
                  <a:lnTo>
                    <a:pt x="832" y="141"/>
                  </a:lnTo>
                  <a:lnTo>
                    <a:pt x="853" y="158"/>
                  </a:lnTo>
                  <a:lnTo>
                    <a:pt x="872" y="178"/>
                  </a:lnTo>
                  <a:lnTo>
                    <a:pt x="892" y="197"/>
                  </a:lnTo>
                  <a:lnTo>
                    <a:pt x="911" y="218"/>
                  </a:lnTo>
                  <a:lnTo>
                    <a:pt x="926" y="239"/>
                  </a:lnTo>
                  <a:lnTo>
                    <a:pt x="942" y="263"/>
                  </a:lnTo>
                  <a:lnTo>
                    <a:pt x="955" y="287"/>
                  </a:lnTo>
                  <a:lnTo>
                    <a:pt x="969" y="312"/>
                  </a:lnTo>
                  <a:lnTo>
                    <a:pt x="979" y="338"/>
                  </a:lnTo>
                  <a:lnTo>
                    <a:pt x="988" y="364"/>
                  </a:lnTo>
                  <a:lnTo>
                    <a:pt x="996" y="392"/>
                  </a:lnTo>
                  <a:lnTo>
                    <a:pt x="1001" y="420"/>
                  </a:lnTo>
                  <a:lnTo>
                    <a:pt x="1079" y="420"/>
                  </a:lnTo>
                  <a:lnTo>
                    <a:pt x="1087" y="421"/>
                  </a:lnTo>
                  <a:lnTo>
                    <a:pt x="1095" y="424"/>
                  </a:lnTo>
                  <a:lnTo>
                    <a:pt x="1101" y="428"/>
                  </a:lnTo>
                  <a:lnTo>
                    <a:pt x="1107" y="432"/>
                  </a:lnTo>
                  <a:lnTo>
                    <a:pt x="1112" y="438"/>
                  </a:lnTo>
                  <a:lnTo>
                    <a:pt x="1116" y="445"/>
                  </a:lnTo>
                  <a:lnTo>
                    <a:pt x="1117" y="451"/>
                  </a:lnTo>
                  <a:lnTo>
                    <a:pt x="1119" y="459"/>
                  </a:lnTo>
                  <a:lnTo>
                    <a:pt x="1119" y="501"/>
                  </a:lnTo>
                  <a:lnTo>
                    <a:pt x="1117" y="509"/>
                  </a:lnTo>
                  <a:lnTo>
                    <a:pt x="1116" y="517"/>
                  </a:lnTo>
                  <a:lnTo>
                    <a:pt x="1112" y="524"/>
                  </a:lnTo>
                  <a:lnTo>
                    <a:pt x="1107" y="529"/>
                  </a:lnTo>
                  <a:lnTo>
                    <a:pt x="1101" y="534"/>
                  </a:lnTo>
                  <a:lnTo>
                    <a:pt x="1095" y="538"/>
                  </a:lnTo>
                  <a:lnTo>
                    <a:pt x="1087" y="539"/>
                  </a:lnTo>
                  <a:lnTo>
                    <a:pt x="1079" y="541"/>
                  </a:lnTo>
                  <a:close/>
                  <a:moveTo>
                    <a:pt x="184" y="596"/>
                  </a:moveTo>
                  <a:lnTo>
                    <a:pt x="183" y="595"/>
                  </a:lnTo>
                  <a:lnTo>
                    <a:pt x="137" y="561"/>
                  </a:lnTo>
                  <a:lnTo>
                    <a:pt x="141" y="579"/>
                  </a:lnTo>
                  <a:lnTo>
                    <a:pt x="145" y="597"/>
                  </a:lnTo>
                  <a:lnTo>
                    <a:pt x="149" y="614"/>
                  </a:lnTo>
                  <a:lnTo>
                    <a:pt x="155" y="633"/>
                  </a:lnTo>
                  <a:lnTo>
                    <a:pt x="161" y="650"/>
                  </a:lnTo>
                  <a:lnTo>
                    <a:pt x="168" y="667"/>
                  </a:lnTo>
                  <a:lnTo>
                    <a:pt x="176" y="684"/>
                  </a:lnTo>
                  <a:lnTo>
                    <a:pt x="184" y="701"/>
                  </a:lnTo>
                  <a:lnTo>
                    <a:pt x="184" y="596"/>
                  </a:lnTo>
                  <a:close/>
                  <a:moveTo>
                    <a:pt x="39" y="445"/>
                  </a:moveTo>
                  <a:lnTo>
                    <a:pt x="33" y="446"/>
                  </a:lnTo>
                  <a:lnTo>
                    <a:pt x="29" y="449"/>
                  </a:lnTo>
                  <a:lnTo>
                    <a:pt x="25" y="454"/>
                  </a:lnTo>
                  <a:lnTo>
                    <a:pt x="24" y="459"/>
                  </a:lnTo>
                  <a:lnTo>
                    <a:pt x="24" y="501"/>
                  </a:lnTo>
                  <a:lnTo>
                    <a:pt x="25" y="508"/>
                  </a:lnTo>
                  <a:lnTo>
                    <a:pt x="29" y="512"/>
                  </a:lnTo>
                  <a:lnTo>
                    <a:pt x="33" y="516"/>
                  </a:lnTo>
                  <a:lnTo>
                    <a:pt x="39" y="517"/>
                  </a:lnTo>
                  <a:lnTo>
                    <a:pt x="121" y="517"/>
                  </a:lnTo>
                  <a:lnTo>
                    <a:pt x="122" y="517"/>
                  </a:lnTo>
                  <a:lnTo>
                    <a:pt x="122" y="517"/>
                  </a:lnTo>
                  <a:lnTo>
                    <a:pt x="130" y="517"/>
                  </a:lnTo>
                  <a:lnTo>
                    <a:pt x="137" y="516"/>
                  </a:lnTo>
                  <a:lnTo>
                    <a:pt x="141" y="512"/>
                  </a:lnTo>
                  <a:lnTo>
                    <a:pt x="145" y="508"/>
                  </a:lnTo>
                  <a:lnTo>
                    <a:pt x="146" y="501"/>
                  </a:lnTo>
                  <a:lnTo>
                    <a:pt x="146" y="459"/>
                  </a:lnTo>
                  <a:lnTo>
                    <a:pt x="145" y="454"/>
                  </a:lnTo>
                  <a:lnTo>
                    <a:pt x="141" y="449"/>
                  </a:lnTo>
                  <a:lnTo>
                    <a:pt x="137" y="446"/>
                  </a:lnTo>
                  <a:lnTo>
                    <a:pt x="130" y="445"/>
                  </a:lnTo>
                  <a:lnTo>
                    <a:pt x="39" y="445"/>
                  </a:lnTo>
                  <a:close/>
                  <a:moveTo>
                    <a:pt x="682" y="996"/>
                  </a:moveTo>
                  <a:lnTo>
                    <a:pt x="682" y="961"/>
                  </a:lnTo>
                  <a:lnTo>
                    <a:pt x="436" y="961"/>
                  </a:lnTo>
                  <a:lnTo>
                    <a:pt x="436" y="996"/>
                  </a:lnTo>
                  <a:lnTo>
                    <a:pt x="682" y="996"/>
                  </a:lnTo>
                  <a:close/>
                  <a:moveTo>
                    <a:pt x="412" y="996"/>
                  </a:moveTo>
                  <a:lnTo>
                    <a:pt x="412" y="947"/>
                  </a:lnTo>
                  <a:lnTo>
                    <a:pt x="412" y="943"/>
                  </a:lnTo>
                  <a:lnTo>
                    <a:pt x="415" y="940"/>
                  </a:lnTo>
                  <a:lnTo>
                    <a:pt x="418" y="937"/>
                  </a:lnTo>
                  <a:lnTo>
                    <a:pt x="424" y="936"/>
                  </a:lnTo>
                  <a:lnTo>
                    <a:pt x="694" y="936"/>
                  </a:lnTo>
                  <a:lnTo>
                    <a:pt x="699" y="937"/>
                  </a:lnTo>
                  <a:lnTo>
                    <a:pt x="703" y="940"/>
                  </a:lnTo>
                  <a:lnTo>
                    <a:pt x="705" y="943"/>
                  </a:lnTo>
                  <a:lnTo>
                    <a:pt x="707" y="947"/>
                  </a:lnTo>
                  <a:lnTo>
                    <a:pt x="707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907" y="996"/>
                  </a:lnTo>
                  <a:lnTo>
                    <a:pt x="907" y="996"/>
                  </a:lnTo>
                  <a:lnTo>
                    <a:pt x="908" y="996"/>
                  </a:lnTo>
                  <a:lnTo>
                    <a:pt x="942" y="996"/>
                  </a:lnTo>
                  <a:lnTo>
                    <a:pt x="94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809" y="842"/>
                  </a:lnTo>
                  <a:lnTo>
                    <a:pt x="770" y="884"/>
                  </a:lnTo>
                  <a:lnTo>
                    <a:pt x="766" y="887"/>
                  </a:lnTo>
                  <a:lnTo>
                    <a:pt x="762" y="888"/>
                  </a:lnTo>
                  <a:lnTo>
                    <a:pt x="357" y="888"/>
                  </a:lnTo>
                  <a:lnTo>
                    <a:pt x="351" y="887"/>
                  </a:lnTo>
                  <a:lnTo>
                    <a:pt x="347" y="884"/>
                  </a:lnTo>
                  <a:lnTo>
                    <a:pt x="308" y="842"/>
                  </a:lnTo>
                  <a:lnTo>
                    <a:pt x="175" y="842"/>
                  </a:lnTo>
                  <a:lnTo>
                    <a:pt x="175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318" y="996"/>
                  </a:lnTo>
                  <a:lnTo>
                    <a:pt x="318" y="996"/>
                  </a:lnTo>
                  <a:lnTo>
                    <a:pt x="320" y="996"/>
                  </a:lnTo>
                  <a:lnTo>
                    <a:pt x="412" y="996"/>
                  </a:lnTo>
                  <a:close/>
                  <a:moveTo>
                    <a:pt x="447" y="734"/>
                  </a:moveTo>
                  <a:lnTo>
                    <a:pt x="443" y="734"/>
                  </a:lnTo>
                  <a:lnTo>
                    <a:pt x="441" y="737"/>
                  </a:lnTo>
                  <a:lnTo>
                    <a:pt x="438" y="741"/>
                  </a:lnTo>
                  <a:lnTo>
                    <a:pt x="438" y="745"/>
                  </a:lnTo>
                  <a:lnTo>
                    <a:pt x="438" y="788"/>
                  </a:lnTo>
                  <a:lnTo>
                    <a:pt x="438" y="792"/>
                  </a:lnTo>
                  <a:lnTo>
                    <a:pt x="441" y="796"/>
                  </a:lnTo>
                  <a:lnTo>
                    <a:pt x="443" y="797"/>
                  </a:lnTo>
                  <a:lnTo>
                    <a:pt x="447" y="799"/>
                  </a:lnTo>
                  <a:lnTo>
                    <a:pt x="670" y="799"/>
                  </a:lnTo>
                  <a:lnTo>
                    <a:pt x="674" y="797"/>
                  </a:lnTo>
                  <a:lnTo>
                    <a:pt x="676" y="796"/>
                  </a:lnTo>
                  <a:lnTo>
                    <a:pt x="679" y="792"/>
                  </a:lnTo>
                  <a:lnTo>
                    <a:pt x="679" y="788"/>
                  </a:lnTo>
                  <a:lnTo>
                    <a:pt x="679" y="745"/>
                  </a:lnTo>
                  <a:lnTo>
                    <a:pt x="679" y="741"/>
                  </a:lnTo>
                  <a:lnTo>
                    <a:pt x="676" y="737"/>
                  </a:lnTo>
                  <a:lnTo>
                    <a:pt x="674" y="734"/>
                  </a:lnTo>
                  <a:lnTo>
                    <a:pt x="670" y="734"/>
                  </a:lnTo>
                  <a:lnTo>
                    <a:pt x="447" y="734"/>
                  </a:lnTo>
                  <a:close/>
                  <a:moveTo>
                    <a:pt x="670" y="822"/>
                  </a:moveTo>
                  <a:lnTo>
                    <a:pt x="447" y="822"/>
                  </a:lnTo>
                  <a:lnTo>
                    <a:pt x="441" y="822"/>
                  </a:lnTo>
                  <a:lnTo>
                    <a:pt x="434" y="820"/>
                  </a:lnTo>
                  <a:lnTo>
                    <a:pt x="429" y="817"/>
                  </a:lnTo>
                  <a:lnTo>
                    <a:pt x="424" y="813"/>
                  </a:lnTo>
                  <a:lnTo>
                    <a:pt x="420" y="808"/>
                  </a:lnTo>
                  <a:lnTo>
                    <a:pt x="416" y="801"/>
                  </a:lnTo>
                  <a:lnTo>
                    <a:pt x="415" y="795"/>
                  </a:lnTo>
                  <a:lnTo>
                    <a:pt x="413" y="788"/>
                  </a:lnTo>
                  <a:lnTo>
                    <a:pt x="413" y="745"/>
                  </a:lnTo>
                  <a:lnTo>
                    <a:pt x="415" y="737"/>
                  </a:lnTo>
                  <a:lnTo>
                    <a:pt x="416" y="730"/>
                  </a:lnTo>
                  <a:lnTo>
                    <a:pt x="420" y="725"/>
                  </a:lnTo>
                  <a:lnTo>
                    <a:pt x="424" y="720"/>
                  </a:lnTo>
                  <a:lnTo>
                    <a:pt x="429" y="716"/>
                  </a:lnTo>
                  <a:lnTo>
                    <a:pt x="434" y="713"/>
                  </a:lnTo>
                  <a:lnTo>
                    <a:pt x="441" y="711"/>
                  </a:lnTo>
                  <a:lnTo>
                    <a:pt x="447" y="711"/>
                  </a:lnTo>
                  <a:lnTo>
                    <a:pt x="670" y="711"/>
                  </a:lnTo>
                  <a:lnTo>
                    <a:pt x="676" y="711"/>
                  </a:lnTo>
                  <a:lnTo>
                    <a:pt x="683" y="713"/>
                  </a:lnTo>
                  <a:lnTo>
                    <a:pt x="688" y="716"/>
                  </a:lnTo>
                  <a:lnTo>
                    <a:pt x="694" y="720"/>
                  </a:lnTo>
                  <a:lnTo>
                    <a:pt x="697" y="725"/>
                  </a:lnTo>
                  <a:lnTo>
                    <a:pt x="701" y="730"/>
                  </a:lnTo>
                  <a:lnTo>
                    <a:pt x="703" y="737"/>
                  </a:lnTo>
                  <a:lnTo>
                    <a:pt x="704" y="745"/>
                  </a:lnTo>
                  <a:lnTo>
                    <a:pt x="704" y="788"/>
                  </a:lnTo>
                  <a:lnTo>
                    <a:pt x="703" y="795"/>
                  </a:lnTo>
                  <a:lnTo>
                    <a:pt x="701" y="801"/>
                  </a:lnTo>
                  <a:lnTo>
                    <a:pt x="697" y="808"/>
                  </a:lnTo>
                  <a:lnTo>
                    <a:pt x="694" y="813"/>
                  </a:lnTo>
                  <a:lnTo>
                    <a:pt x="688" y="817"/>
                  </a:lnTo>
                  <a:lnTo>
                    <a:pt x="683" y="820"/>
                  </a:lnTo>
                  <a:lnTo>
                    <a:pt x="676" y="822"/>
                  </a:lnTo>
                  <a:lnTo>
                    <a:pt x="670" y="822"/>
                  </a:lnTo>
                  <a:close/>
                  <a:moveTo>
                    <a:pt x="895" y="1021"/>
                  </a:moveTo>
                  <a:lnTo>
                    <a:pt x="811" y="1021"/>
                  </a:lnTo>
                  <a:lnTo>
                    <a:pt x="811" y="1095"/>
                  </a:lnTo>
                  <a:lnTo>
                    <a:pt x="811" y="1097"/>
                  </a:lnTo>
                  <a:lnTo>
                    <a:pt x="812" y="1101"/>
                  </a:lnTo>
                  <a:lnTo>
                    <a:pt x="813" y="1104"/>
                  </a:lnTo>
                  <a:lnTo>
                    <a:pt x="816" y="1107"/>
                  </a:lnTo>
                  <a:lnTo>
                    <a:pt x="819" y="1109"/>
                  </a:lnTo>
                  <a:lnTo>
                    <a:pt x="821" y="1111"/>
                  </a:lnTo>
                  <a:lnTo>
                    <a:pt x="825" y="1112"/>
                  </a:lnTo>
                  <a:lnTo>
                    <a:pt x="829" y="1112"/>
                  </a:lnTo>
                  <a:lnTo>
                    <a:pt x="876" y="1112"/>
                  </a:lnTo>
                  <a:lnTo>
                    <a:pt x="880" y="1112"/>
                  </a:lnTo>
                  <a:lnTo>
                    <a:pt x="884" y="1111"/>
                  </a:lnTo>
                  <a:lnTo>
                    <a:pt x="887" y="1109"/>
                  </a:lnTo>
                  <a:lnTo>
                    <a:pt x="890" y="1107"/>
                  </a:lnTo>
                  <a:lnTo>
                    <a:pt x="892" y="1104"/>
                  </a:lnTo>
                  <a:lnTo>
                    <a:pt x="894" y="1101"/>
                  </a:lnTo>
                  <a:lnTo>
                    <a:pt x="895" y="1097"/>
                  </a:lnTo>
                  <a:lnTo>
                    <a:pt x="895" y="1095"/>
                  </a:lnTo>
                  <a:lnTo>
                    <a:pt x="895" y="1021"/>
                  </a:lnTo>
                  <a:close/>
                  <a:moveTo>
                    <a:pt x="307" y="1021"/>
                  </a:moveTo>
                  <a:lnTo>
                    <a:pt x="222" y="1021"/>
                  </a:lnTo>
                  <a:lnTo>
                    <a:pt x="222" y="1095"/>
                  </a:lnTo>
                  <a:lnTo>
                    <a:pt x="222" y="1097"/>
                  </a:lnTo>
                  <a:lnTo>
                    <a:pt x="224" y="1101"/>
                  </a:lnTo>
                  <a:lnTo>
                    <a:pt x="225" y="1104"/>
                  </a:lnTo>
                  <a:lnTo>
                    <a:pt x="228" y="1107"/>
                  </a:lnTo>
                  <a:lnTo>
                    <a:pt x="230" y="1109"/>
                  </a:lnTo>
                  <a:lnTo>
                    <a:pt x="234" y="1111"/>
                  </a:lnTo>
                  <a:lnTo>
                    <a:pt x="237" y="1112"/>
                  </a:lnTo>
                  <a:lnTo>
                    <a:pt x="241" y="1112"/>
                  </a:lnTo>
                  <a:lnTo>
                    <a:pt x="288" y="1112"/>
                  </a:lnTo>
                  <a:lnTo>
                    <a:pt x="292" y="1112"/>
                  </a:lnTo>
                  <a:lnTo>
                    <a:pt x="296" y="1111"/>
                  </a:lnTo>
                  <a:lnTo>
                    <a:pt x="299" y="1109"/>
                  </a:lnTo>
                  <a:lnTo>
                    <a:pt x="301" y="1107"/>
                  </a:lnTo>
                  <a:lnTo>
                    <a:pt x="304" y="1104"/>
                  </a:lnTo>
                  <a:lnTo>
                    <a:pt x="305" y="1101"/>
                  </a:lnTo>
                  <a:lnTo>
                    <a:pt x="307" y="1097"/>
                  </a:lnTo>
                  <a:lnTo>
                    <a:pt x="307" y="1095"/>
                  </a:lnTo>
                  <a:lnTo>
                    <a:pt x="307" y="1021"/>
                  </a:lnTo>
                  <a:close/>
                  <a:moveTo>
                    <a:pt x="208" y="817"/>
                  </a:moveTo>
                  <a:lnTo>
                    <a:pt x="313" y="817"/>
                  </a:lnTo>
                  <a:lnTo>
                    <a:pt x="317" y="818"/>
                  </a:lnTo>
                  <a:lnTo>
                    <a:pt x="321" y="822"/>
                  </a:lnTo>
                  <a:lnTo>
                    <a:pt x="362" y="863"/>
                  </a:lnTo>
                  <a:lnTo>
                    <a:pt x="757" y="863"/>
                  </a:lnTo>
                  <a:lnTo>
                    <a:pt x="796" y="822"/>
                  </a:lnTo>
                  <a:lnTo>
                    <a:pt x="800" y="818"/>
                  </a:lnTo>
                  <a:lnTo>
                    <a:pt x="805" y="817"/>
                  </a:lnTo>
                  <a:lnTo>
                    <a:pt x="911" y="817"/>
                  </a:lnTo>
                  <a:lnTo>
                    <a:pt x="911" y="566"/>
                  </a:lnTo>
                  <a:lnTo>
                    <a:pt x="874" y="366"/>
                  </a:lnTo>
                  <a:lnTo>
                    <a:pt x="870" y="354"/>
                  </a:lnTo>
                  <a:lnTo>
                    <a:pt x="865" y="343"/>
                  </a:lnTo>
                  <a:lnTo>
                    <a:pt x="858" y="335"/>
                  </a:lnTo>
                  <a:lnTo>
                    <a:pt x="850" y="329"/>
                  </a:lnTo>
                  <a:lnTo>
                    <a:pt x="841" y="322"/>
                  </a:lnTo>
                  <a:lnTo>
                    <a:pt x="830" y="318"/>
                  </a:lnTo>
                  <a:lnTo>
                    <a:pt x="820" y="316"/>
                  </a:lnTo>
                  <a:lnTo>
                    <a:pt x="807" y="316"/>
                  </a:lnTo>
                  <a:lnTo>
                    <a:pt x="312" y="316"/>
                  </a:lnTo>
                  <a:lnTo>
                    <a:pt x="296" y="316"/>
                  </a:lnTo>
                  <a:lnTo>
                    <a:pt x="283" y="317"/>
                  </a:lnTo>
                  <a:lnTo>
                    <a:pt x="271" y="321"/>
                  </a:lnTo>
                  <a:lnTo>
                    <a:pt x="263" y="326"/>
                  </a:lnTo>
                  <a:lnTo>
                    <a:pt x="257" y="333"/>
                  </a:lnTo>
                  <a:lnTo>
                    <a:pt x="251" y="343"/>
                  </a:lnTo>
                  <a:lnTo>
                    <a:pt x="247" y="355"/>
                  </a:lnTo>
                  <a:lnTo>
                    <a:pt x="245" y="371"/>
                  </a:lnTo>
                  <a:lnTo>
                    <a:pt x="208" y="567"/>
                  </a:lnTo>
                  <a:lnTo>
                    <a:pt x="208" y="817"/>
                  </a:lnTo>
                  <a:close/>
                  <a:moveTo>
                    <a:pt x="828" y="387"/>
                  </a:moveTo>
                  <a:lnTo>
                    <a:pt x="828" y="387"/>
                  </a:lnTo>
                  <a:lnTo>
                    <a:pt x="828" y="387"/>
                  </a:lnTo>
                  <a:close/>
                  <a:moveTo>
                    <a:pt x="328" y="374"/>
                  </a:moveTo>
                  <a:lnTo>
                    <a:pt x="322" y="375"/>
                  </a:lnTo>
                  <a:lnTo>
                    <a:pt x="318" y="378"/>
                  </a:lnTo>
                  <a:lnTo>
                    <a:pt x="316" y="382"/>
                  </a:lnTo>
                  <a:lnTo>
                    <a:pt x="314" y="387"/>
                  </a:lnTo>
                  <a:lnTo>
                    <a:pt x="286" y="546"/>
                  </a:lnTo>
                  <a:lnTo>
                    <a:pt x="286" y="554"/>
                  </a:lnTo>
                  <a:lnTo>
                    <a:pt x="286" y="561"/>
                  </a:lnTo>
                  <a:lnTo>
                    <a:pt x="288" y="567"/>
                  </a:lnTo>
                  <a:lnTo>
                    <a:pt x="292" y="572"/>
                  </a:lnTo>
                  <a:lnTo>
                    <a:pt x="296" y="576"/>
                  </a:lnTo>
                  <a:lnTo>
                    <a:pt x="303" y="579"/>
                  </a:lnTo>
                  <a:lnTo>
                    <a:pt x="309" y="582"/>
                  </a:lnTo>
                  <a:lnTo>
                    <a:pt x="316" y="582"/>
                  </a:lnTo>
                  <a:lnTo>
                    <a:pt x="801" y="582"/>
                  </a:lnTo>
                  <a:lnTo>
                    <a:pt x="809" y="582"/>
                  </a:lnTo>
                  <a:lnTo>
                    <a:pt x="816" y="579"/>
                  </a:lnTo>
                  <a:lnTo>
                    <a:pt x="822" y="576"/>
                  </a:lnTo>
                  <a:lnTo>
                    <a:pt x="826" y="572"/>
                  </a:lnTo>
                  <a:lnTo>
                    <a:pt x="830" y="567"/>
                  </a:lnTo>
                  <a:lnTo>
                    <a:pt x="833" y="561"/>
                  </a:lnTo>
                  <a:lnTo>
                    <a:pt x="833" y="554"/>
                  </a:lnTo>
                  <a:lnTo>
                    <a:pt x="833" y="546"/>
                  </a:lnTo>
                  <a:lnTo>
                    <a:pt x="804" y="389"/>
                  </a:lnTo>
                  <a:lnTo>
                    <a:pt x="804" y="388"/>
                  </a:lnTo>
                  <a:lnTo>
                    <a:pt x="804" y="387"/>
                  </a:lnTo>
                  <a:lnTo>
                    <a:pt x="803" y="382"/>
                  </a:lnTo>
                  <a:lnTo>
                    <a:pt x="800" y="378"/>
                  </a:lnTo>
                  <a:lnTo>
                    <a:pt x="795" y="375"/>
                  </a:lnTo>
                  <a:lnTo>
                    <a:pt x="790" y="374"/>
                  </a:lnTo>
                  <a:lnTo>
                    <a:pt x="328" y="374"/>
                  </a:lnTo>
                  <a:close/>
                  <a:moveTo>
                    <a:pt x="801" y="607"/>
                  </a:moveTo>
                  <a:lnTo>
                    <a:pt x="316" y="607"/>
                  </a:lnTo>
                  <a:lnTo>
                    <a:pt x="304" y="605"/>
                  </a:lnTo>
                  <a:lnTo>
                    <a:pt x="292" y="601"/>
                  </a:lnTo>
                  <a:lnTo>
                    <a:pt x="287" y="599"/>
                  </a:lnTo>
                  <a:lnTo>
                    <a:pt x="282" y="596"/>
                  </a:lnTo>
                  <a:lnTo>
                    <a:pt x="278" y="592"/>
                  </a:lnTo>
                  <a:lnTo>
                    <a:pt x="274" y="588"/>
                  </a:lnTo>
                  <a:lnTo>
                    <a:pt x="270" y="583"/>
                  </a:lnTo>
                  <a:lnTo>
                    <a:pt x="267" y="579"/>
                  </a:lnTo>
                  <a:lnTo>
                    <a:pt x="264" y="574"/>
                  </a:lnTo>
                  <a:lnTo>
                    <a:pt x="263" y="567"/>
                  </a:lnTo>
                  <a:lnTo>
                    <a:pt x="261" y="555"/>
                  </a:lnTo>
                  <a:lnTo>
                    <a:pt x="262" y="542"/>
                  </a:lnTo>
                  <a:lnTo>
                    <a:pt x="291" y="386"/>
                  </a:lnTo>
                  <a:lnTo>
                    <a:pt x="292" y="379"/>
                  </a:lnTo>
                  <a:lnTo>
                    <a:pt x="293" y="372"/>
                  </a:lnTo>
                  <a:lnTo>
                    <a:pt x="297" y="366"/>
                  </a:lnTo>
                  <a:lnTo>
                    <a:pt x="301" y="361"/>
                  </a:lnTo>
                  <a:lnTo>
                    <a:pt x="308" y="357"/>
                  </a:lnTo>
                  <a:lnTo>
                    <a:pt x="313" y="353"/>
                  </a:lnTo>
                  <a:lnTo>
                    <a:pt x="321" y="350"/>
                  </a:lnTo>
                  <a:lnTo>
                    <a:pt x="328" y="350"/>
                  </a:lnTo>
                  <a:lnTo>
                    <a:pt x="790" y="350"/>
                  </a:lnTo>
                  <a:lnTo>
                    <a:pt x="797" y="350"/>
                  </a:lnTo>
                  <a:lnTo>
                    <a:pt x="804" y="353"/>
                  </a:lnTo>
                  <a:lnTo>
                    <a:pt x="811" y="357"/>
                  </a:lnTo>
                  <a:lnTo>
                    <a:pt x="816" y="361"/>
                  </a:lnTo>
                  <a:lnTo>
                    <a:pt x="821" y="366"/>
                  </a:lnTo>
                  <a:lnTo>
                    <a:pt x="824" y="372"/>
                  </a:lnTo>
                  <a:lnTo>
                    <a:pt x="826" y="379"/>
                  </a:lnTo>
                  <a:lnTo>
                    <a:pt x="828" y="386"/>
                  </a:lnTo>
                  <a:lnTo>
                    <a:pt x="857" y="542"/>
                  </a:lnTo>
                  <a:lnTo>
                    <a:pt x="857" y="555"/>
                  </a:lnTo>
                  <a:lnTo>
                    <a:pt x="855" y="567"/>
                  </a:lnTo>
                  <a:lnTo>
                    <a:pt x="854" y="574"/>
                  </a:lnTo>
                  <a:lnTo>
                    <a:pt x="851" y="579"/>
                  </a:lnTo>
                  <a:lnTo>
                    <a:pt x="849" y="583"/>
                  </a:lnTo>
                  <a:lnTo>
                    <a:pt x="845" y="588"/>
                  </a:lnTo>
                  <a:lnTo>
                    <a:pt x="841" y="592"/>
                  </a:lnTo>
                  <a:lnTo>
                    <a:pt x="837" y="596"/>
                  </a:lnTo>
                  <a:lnTo>
                    <a:pt x="832" y="599"/>
                  </a:lnTo>
                  <a:lnTo>
                    <a:pt x="826" y="601"/>
                  </a:lnTo>
                  <a:lnTo>
                    <a:pt x="815" y="605"/>
                  </a:lnTo>
                  <a:lnTo>
                    <a:pt x="801" y="607"/>
                  </a:lnTo>
                  <a:close/>
                </a:path>
              </a:pathLst>
            </a:custGeom>
            <a:solidFill>
              <a:srgbClr val="009900"/>
            </a:solidFill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0" name="Freeform 405"/>
            <p:cNvSpPr>
              <a:spLocks noEditPoints="1"/>
            </p:cNvSpPr>
            <p:nvPr/>
          </p:nvSpPr>
          <p:spPr bwMode="auto">
            <a:xfrm>
              <a:off x="6701047" y="3507971"/>
              <a:ext cx="109637" cy="15126"/>
            </a:xfrm>
            <a:custGeom>
              <a:avLst/>
              <a:gdLst>
                <a:gd name="T0" fmla="*/ 604 w 708"/>
                <a:gd name="T1" fmla="*/ 25 h 88"/>
                <a:gd name="T2" fmla="*/ 600 w 708"/>
                <a:gd name="T3" fmla="*/ 29 h 88"/>
                <a:gd name="T4" fmla="*/ 598 w 708"/>
                <a:gd name="T5" fmla="*/ 57 h 88"/>
                <a:gd name="T6" fmla="*/ 601 w 708"/>
                <a:gd name="T7" fmla="*/ 62 h 88"/>
                <a:gd name="T8" fmla="*/ 608 w 708"/>
                <a:gd name="T9" fmla="*/ 65 h 88"/>
                <a:gd name="T10" fmla="*/ 680 w 708"/>
                <a:gd name="T11" fmla="*/ 63 h 88"/>
                <a:gd name="T12" fmla="*/ 684 w 708"/>
                <a:gd name="T13" fmla="*/ 59 h 88"/>
                <a:gd name="T14" fmla="*/ 684 w 708"/>
                <a:gd name="T15" fmla="*/ 32 h 88"/>
                <a:gd name="T16" fmla="*/ 681 w 708"/>
                <a:gd name="T17" fmla="*/ 27 h 88"/>
                <a:gd name="T18" fmla="*/ 676 w 708"/>
                <a:gd name="T19" fmla="*/ 25 h 88"/>
                <a:gd name="T20" fmla="*/ 31 w 708"/>
                <a:gd name="T21" fmla="*/ 25 h 88"/>
                <a:gd name="T22" fmla="*/ 26 w 708"/>
                <a:gd name="T23" fmla="*/ 27 h 88"/>
                <a:gd name="T24" fmla="*/ 23 w 708"/>
                <a:gd name="T25" fmla="*/ 32 h 88"/>
                <a:gd name="T26" fmla="*/ 23 w 708"/>
                <a:gd name="T27" fmla="*/ 59 h 88"/>
                <a:gd name="T28" fmla="*/ 29 w 708"/>
                <a:gd name="T29" fmla="*/ 63 h 88"/>
                <a:gd name="T30" fmla="*/ 100 w 708"/>
                <a:gd name="T31" fmla="*/ 65 h 88"/>
                <a:gd name="T32" fmla="*/ 106 w 708"/>
                <a:gd name="T33" fmla="*/ 62 h 88"/>
                <a:gd name="T34" fmla="*/ 109 w 708"/>
                <a:gd name="T35" fmla="*/ 57 h 88"/>
                <a:gd name="T36" fmla="*/ 108 w 708"/>
                <a:gd name="T37" fmla="*/ 29 h 88"/>
                <a:gd name="T38" fmla="*/ 104 w 708"/>
                <a:gd name="T39" fmla="*/ 25 h 88"/>
                <a:gd name="T40" fmla="*/ 31 w 708"/>
                <a:gd name="T41" fmla="*/ 25 h 88"/>
                <a:gd name="T42" fmla="*/ 31 w 708"/>
                <a:gd name="T43" fmla="*/ 88 h 88"/>
                <a:gd name="T44" fmla="*/ 18 w 708"/>
                <a:gd name="T45" fmla="*/ 86 h 88"/>
                <a:gd name="T46" fmla="*/ 9 w 708"/>
                <a:gd name="T47" fmla="*/ 79 h 88"/>
                <a:gd name="T48" fmla="*/ 2 w 708"/>
                <a:gd name="T49" fmla="*/ 69 h 88"/>
                <a:gd name="T50" fmla="*/ 0 w 708"/>
                <a:gd name="T51" fmla="*/ 57 h 88"/>
                <a:gd name="T52" fmla="*/ 0 w 708"/>
                <a:gd name="T53" fmla="*/ 27 h 88"/>
                <a:gd name="T54" fmla="*/ 5 w 708"/>
                <a:gd name="T55" fmla="*/ 15 h 88"/>
                <a:gd name="T56" fmla="*/ 13 w 708"/>
                <a:gd name="T57" fmla="*/ 6 h 88"/>
                <a:gd name="T58" fmla="*/ 25 w 708"/>
                <a:gd name="T59" fmla="*/ 2 h 88"/>
                <a:gd name="T60" fmla="*/ 100 w 708"/>
                <a:gd name="T61" fmla="*/ 0 h 88"/>
                <a:gd name="T62" fmla="*/ 113 w 708"/>
                <a:gd name="T63" fmla="*/ 3 h 88"/>
                <a:gd name="T64" fmla="*/ 123 w 708"/>
                <a:gd name="T65" fmla="*/ 9 h 88"/>
                <a:gd name="T66" fmla="*/ 130 w 708"/>
                <a:gd name="T67" fmla="*/ 20 h 88"/>
                <a:gd name="T68" fmla="*/ 133 w 708"/>
                <a:gd name="T69" fmla="*/ 32 h 88"/>
                <a:gd name="T70" fmla="*/ 131 w 708"/>
                <a:gd name="T71" fmla="*/ 63 h 88"/>
                <a:gd name="T72" fmla="*/ 127 w 708"/>
                <a:gd name="T73" fmla="*/ 74 h 88"/>
                <a:gd name="T74" fmla="*/ 118 w 708"/>
                <a:gd name="T75" fmla="*/ 83 h 88"/>
                <a:gd name="T76" fmla="*/ 106 w 708"/>
                <a:gd name="T77" fmla="*/ 88 h 88"/>
                <a:gd name="T78" fmla="*/ 676 w 708"/>
                <a:gd name="T79" fmla="*/ 88 h 88"/>
                <a:gd name="T80" fmla="*/ 601 w 708"/>
                <a:gd name="T81" fmla="*/ 88 h 88"/>
                <a:gd name="T82" fmla="*/ 589 w 708"/>
                <a:gd name="T83" fmla="*/ 83 h 88"/>
                <a:gd name="T84" fmla="*/ 581 w 708"/>
                <a:gd name="T85" fmla="*/ 74 h 88"/>
                <a:gd name="T86" fmla="*/ 576 w 708"/>
                <a:gd name="T87" fmla="*/ 63 h 88"/>
                <a:gd name="T88" fmla="*/ 575 w 708"/>
                <a:gd name="T89" fmla="*/ 32 h 88"/>
                <a:gd name="T90" fmla="*/ 577 w 708"/>
                <a:gd name="T91" fmla="*/ 20 h 88"/>
                <a:gd name="T92" fmla="*/ 584 w 708"/>
                <a:gd name="T93" fmla="*/ 9 h 88"/>
                <a:gd name="T94" fmla="*/ 594 w 708"/>
                <a:gd name="T95" fmla="*/ 3 h 88"/>
                <a:gd name="T96" fmla="*/ 608 w 708"/>
                <a:gd name="T97" fmla="*/ 0 h 88"/>
                <a:gd name="T98" fmla="*/ 683 w 708"/>
                <a:gd name="T99" fmla="*/ 2 h 88"/>
                <a:gd name="T100" fmla="*/ 694 w 708"/>
                <a:gd name="T101" fmla="*/ 6 h 88"/>
                <a:gd name="T102" fmla="*/ 702 w 708"/>
                <a:gd name="T103" fmla="*/ 15 h 88"/>
                <a:gd name="T104" fmla="*/ 708 w 708"/>
                <a:gd name="T105" fmla="*/ 27 h 88"/>
                <a:gd name="T106" fmla="*/ 708 w 708"/>
                <a:gd name="T107" fmla="*/ 57 h 88"/>
                <a:gd name="T108" fmla="*/ 705 w 708"/>
                <a:gd name="T109" fmla="*/ 69 h 88"/>
                <a:gd name="T110" fmla="*/ 698 w 708"/>
                <a:gd name="T111" fmla="*/ 79 h 88"/>
                <a:gd name="T112" fmla="*/ 689 w 708"/>
                <a:gd name="T113" fmla="*/ 86 h 88"/>
                <a:gd name="T114" fmla="*/ 676 w 708"/>
                <a:gd name="T1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8" h="88">
                  <a:moveTo>
                    <a:pt x="608" y="25"/>
                  </a:moveTo>
                  <a:lnTo>
                    <a:pt x="604" y="25"/>
                  </a:lnTo>
                  <a:lnTo>
                    <a:pt x="601" y="27"/>
                  </a:lnTo>
                  <a:lnTo>
                    <a:pt x="600" y="29"/>
                  </a:lnTo>
                  <a:lnTo>
                    <a:pt x="598" y="32"/>
                  </a:lnTo>
                  <a:lnTo>
                    <a:pt x="598" y="57"/>
                  </a:lnTo>
                  <a:lnTo>
                    <a:pt x="600" y="59"/>
                  </a:lnTo>
                  <a:lnTo>
                    <a:pt x="601" y="62"/>
                  </a:lnTo>
                  <a:lnTo>
                    <a:pt x="604" y="63"/>
                  </a:lnTo>
                  <a:lnTo>
                    <a:pt x="608" y="65"/>
                  </a:lnTo>
                  <a:lnTo>
                    <a:pt x="676" y="65"/>
                  </a:lnTo>
                  <a:lnTo>
                    <a:pt x="680" y="63"/>
                  </a:lnTo>
                  <a:lnTo>
                    <a:pt x="681" y="62"/>
                  </a:lnTo>
                  <a:lnTo>
                    <a:pt x="684" y="59"/>
                  </a:lnTo>
                  <a:lnTo>
                    <a:pt x="684" y="57"/>
                  </a:lnTo>
                  <a:lnTo>
                    <a:pt x="684" y="32"/>
                  </a:lnTo>
                  <a:lnTo>
                    <a:pt x="684" y="29"/>
                  </a:lnTo>
                  <a:lnTo>
                    <a:pt x="681" y="27"/>
                  </a:lnTo>
                  <a:lnTo>
                    <a:pt x="680" y="25"/>
                  </a:lnTo>
                  <a:lnTo>
                    <a:pt x="676" y="25"/>
                  </a:lnTo>
                  <a:lnTo>
                    <a:pt x="608" y="25"/>
                  </a:lnTo>
                  <a:close/>
                  <a:moveTo>
                    <a:pt x="31" y="25"/>
                  </a:moveTo>
                  <a:lnTo>
                    <a:pt x="29" y="25"/>
                  </a:lnTo>
                  <a:lnTo>
                    <a:pt x="26" y="27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9" y="63"/>
                  </a:lnTo>
                  <a:lnTo>
                    <a:pt x="31" y="65"/>
                  </a:lnTo>
                  <a:lnTo>
                    <a:pt x="100" y="65"/>
                  </a:lnTo>
                  <a:lnTo>
                    <a:pt x="104" y="63"/>
                  </a:lnTo>
                  <a:lnTo>
                    <a:pt x="106" y="62"/>
                  </a:lnTo>
                  <a:lnTo>
                    <a:pt x="108" y="59"/>
                  </a:lnTo>
                  <a:lnTo>
                    <a:pt x="109" y="57"/>
                  </a:lnTo>
                  <a:lnTo>
                    <a:pt x="109" y="32"/>
                  </a:lnTo>
                  <a:lnTo>
                    <a:pt x="108" y="29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31" y="25"/>
                  </a:lnTo>
                  <a:close/>
                  <a:moveTo>
                    <a:pt x="100" y="88"/>
                  </a:moveTo>
                  <a:lnTo>
                    <a:pt x="31" y="88"/>
                  </a:lnTo>
                  <a:lnTo>
                    <a:pt x="25" y="88"/>
                  </a:lnTo>
                  <a:lnTo>
                    <a:pt x="18" y="86"/>
                  </a:lnTo>
                  <a:lnTo>
                    <a:pt x="13" y="83"/>
                  </a:lnTo>
                  <a:lnTo>
                    <a:pt x="9" y="79"/>
                  </a:lnTo>
                  <a:lnTo>
                    <a:pt x="5" y="74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8" y="3"/>
                  </a:lnTo>
                  <a:lnTo>
                    <a:pt x="25" y="2"/>
                  </a:lnTo>
                  <a:lnTo>
                    <a:pt x="31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13" y="3"/>
                  </a:lnTo>
                  <a:lnTo>
                    <a:pt x="118" y="6"/>
                  </a:lnTo>
                  <a:lnTo>
                    <a:pt x="123" y="9"/>
                  </a:lnTo>
                  <a:lnTo>
                    <a:pt x="127" y="15"/>
                  </a:lnTo>
                  <a:lnTo>
                    <a:pt x="130" y="20"/>
                  </a:lnTo>
                  <a:lnTo>
                    <a:pt x="131" y="27"/>
                  </a:lnTo>
                  <a:lnTo>
                    <a:pt x="133" y="32"/>
                  </a:lnTo>
                  <a:lnTo>
                    <a:pt x="133" y="57"/>
                  </a:lnTo>
                  <a:lnTo>
                    <a:pt x="131" y="63"/>
                  </a:lnTo>
                  <a:lnTo>
                    <a:pt x="130" y="69"/>
                  </a:lnTo>
                  <a:lnTo>
                    <a:pt x="127" y="74"/>
                  </a:lnTo>
                  <a:lnTo>
                    <a:pt x="123" y="79"/>
                  </a:lnTo>
                  <a:lnTo>
                    <a:pt x="118" y="83"/>
                  </a:lnTo>
                  <a:lnTo>
                    <a:pt x="113" y="86"/>
                  </a:lnTo>
                  <a:lnTo>
                    <a:pt x="106" y="88"/>
                  </a:lnTo>
                  <a:lnTo>
                    <a:pt x="100" y="88"/>
                  </a:lnTo>
                  <a:close/>
                  <a:moveTo>
                    <a:pt x="676" y="88"/>
                  </a:moveTo>
                  <a:lnTo>
                    <a:pt x="608" y="88"/>
                  </a:lnTo>
                  <a:lnTo>
                    <a:pt x="601" y="88"/>
                  </a:lnTo>
                  <a:lnTo>
                    <a:pt x="594" y="86"/>
                  </a:lnTo>
                  <a:lnTo>
                    <a:pt x="589" y="83"/>
                  </a:lnTo>
                  <a:lnTo>
                    <a:pt x="584" y="79"/>
                  </a:lnTo>
                  <a:lnTo>
                    <a:pt x="581" y="74"/>
                  </a:lnTo>
                  <a:lnTo>
                    <a:pt x="577" y="69"/>
                  </a:lnTo>
                  <a:lnTo>
                    <a:pt x="576" y="63"/>
                  </a:lnTo>
                  <a:lnTo>
                    <a:pt x="575" y="57"/>
                  </a:lnTo>
                  <a:lnTo>
                    <a:pt x="575" y="32"/>
                  </a:lnTo>
                  <a:lnTo>
                    <a:pt x="576" y="27"/>
                  </a:lnTo>
                  <a:lnTo>
                    <a:pt x="577" y="20"/>
                  </a:lnTo>
                  <a:lnTo>
                    <a:pt x="581" y="15"/>
                  </a:lnTo>
                  <a:lnTo>
                    <a:pt x="584" y="9"/>
                  </a:lnTo>
                  <a:lnTo>
                    <a:pt x="589" y="6"/>
                  </a:lnTo>
                  <a:lnTo>
                    <a:pt x="594" y="3"/>
                  </a:lnTo>
                  <a:lnTo>
                    <a:pt x="601" y="2"/>
                  </a:lnTo>
                  <a:lnTo>
                    <a:pt x="608" y="0"/>
                  </a:lnTo>
                  <a:lnTo>
                    <a:pt x="676" y="0"/>
                  </a:lnTo>
                  <a:lnTo>
                    <a:pt x="683" y="2"/>
                  </a:lnTo>
                  <a:lnTo>
                    <a:pt x="689" y="3"/>
                  </a:lnTo>
                  <a:lnTo>
                    <a:pt x="694" y="6"/>
                  </a:lnTo>
                  <a:lnTo>
                    <a:pt x="698" y="9"/>
                  </a:lnTo>
                  <a:lnTo>
                    <a:pt x="702" y="15"/>
                  </a:lnTo>
                  <a:lnTo>
                    <a:pt x="705" y="20"/>
                  </a:lnTo>
                  <a:lnTo>
                    <a:pt x="708" y="27"/>
                  </a:lnTo>
                  <a:lnTo>
                    <a:pt x="708" y="32"/>
                  </a:lnTo>
                  <a:lnTo>
                    <a:pt x="708" y="57"/>
                  </a:lnTo>
                  <a:lnTo>
                    <a:pt x="708" y="63"/>
                  </a:lnTo>
                  <a:lnTo>
                    <a:pt x="705" y="69"/>
                  </a:lnTo>
                  <a:lnTo>
                    <a:pt x="702" y="74"/>
                  </a:lnTo>
                  <a:lnTo>
                    <a:pt x="698" y="79"/>
                  </a:lnTo>
                  <a:lnTo>
                    <a:pt x="694" y="83"/>
                  </a:lnTo>
                  <a:lnTo>
                    <a:pt x="689" y="86"/>
                  </a:lnTo>
                  <a:lnTo>
                    <a:pt x="683" y="88"/>
                  </a:lnTo>
                  <a:lnTo>
                    <a:pt x="676" y="88"/>
                  </a:lnTo>
                  <a:close/>
                </a:path>
              </a:pathLst>
            </a:custGeom>
            <a:solidFill>
              <a:srgbClr val="009900"/>
            </a:solidFill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401" name="Группа 400"/>
          <p:cNvGrpSpPr/>
          <p:nvPr/>
        </p:nvGrpSpPr>
        <p:grpSpPr>
          <a:xfrm>
            <a:off x="4581383" y="3261113"/>
            <a:ext cx="172817" cy="195263"/>
            <a:chOff x="6670076" y="3327834"/>
            <a:chExt cx="172817" cy="195263"/>
          </a:xfrm>
        </p:grpSpPr>
        <p:sp>
          <p:nvSpPr>
            <p:cNvPr id="402" name="Freeform 404"/>
            <p:cNvSpPr>
              <a:spLocks noEditPoints="1"/>
            </p:cNvSpPr>
            <p:nvPr/>
          </p:nvSpPr>
          <p:spPr bwMode="auto">
            <a:xfrm>
              <a:off x="6670076" y="3327834"/>
              <a:ext cx="172817" cy="195263"/>
            </a:xfrm>
            <a:custGeom>
              <a:avLst/>
              <a:gdLst>
                <a:gd name="T0" fmla="*/ 538 w 1119"/>
                <a:gd name="T1" fmla="*/ 49 h 1137"/>
                <a:gd name="T2" fmla="*/ 971 w 1119"/>
                <a:gd name="T3" fmla="*/ 537 h 1137"/>
                <a:gd name="T4" fmla="*/ 950 w 1119"/>
                <a:gd name="T5" fmla="*/ 447 h 1137"/>
                <a:gd name="T6" fmla="*/ 950 w 1119"/>
                <a:gd name="T7" fmla="*/ 332 h 1137"/>
                <a:gd name="T8" fmla="*/ 832 w 1119"/>
                <a:gd name="T9" fmla="*/ 172 h 1137"/>
                <a:gd name="T10" fmla="*/ 653 w 1119"/>
                <a:gd name="T11" fmla="*/ 83 h 1137"/>
                <a:gd name="T12" fmla="*/ 447 w 1119"/>
                <a:gd name="T13" fmla="*/ 87 h 1137"/>
                <a:gd name="T14" fmla="*/ 272 w 1119"/>
                <a:gd name="T15" fmla="*/ 184 h 1137"/>
                <a:gd name="T16" fmla="*/ 159 w 1119"/>
                <a:gd name="T17" fmla="*/ 349 h 1137"/>
                <a:gd name="T18" fmla="*/ 170 w 1119"/>
                <a:gd name="T19" fmla="*/ 453 h 1137"/>
                <a:gd name="T20" fmla="*/ 184 w 1119"/>
                <a:gd name="T21" fmla="*/ 566 h 1137"/>
                <a:gd name="T22" fmla="*/ 267 w 1119"/>
                <a:gd name="T23" fmla="*/ 297 h 1137"/>
                <a:gd name="T24" fmla="*/ 891 w 1119"/>
                <a:gd name="T25" fmla="*/ 345 h 1137"/>
                <a:gd name="T26" fmla="*/ 963 w 1119"/>
                <a:gd name="T27" fmla="*/ 632 h 1137"/>
                <a:gd name="T28" fmla="*/ 974 w 1119"/>
                <a:gd name="T29" fmla="*/ 508 h 1137"/>
                <a:gd name="T30" fmla="*/ 1095 w 1119"/>
                <a:gd name="T31" fmla="*/ 501 h 1137"/>
                <a:gd name="T32" fmla="*/ 991 w 1119"/>
                <a:gd name="T33" fmla="*/ 445 h 1137"/>
                <a:gd name="T34" fmla="*/ 934 w 1119"/>
                <a:gd name="T35" fmla="*/ 746 h 1137"/>
                <a:gd name="T36" fmla="*/ 954 w 1119"/>
                <a:gd name="T37" fmla="*/ 1021 h 1137"/>
                <a:gd name="T38" fmla="*/ 829 w 1119"/>
                <a:gd name="T39" fmla="*/ 1137 h 1137"/>
                <a:gd name="T40" fmla="*/ 422 w 1119"/>
                <a:gd name="T41" fmla="*/ 1021 h 1137"/>
                <a:gd name="T42" fmla="*/ 241 w 1119"/>
                <a:gd name="T43" fmla="*/ 1137 h 1137"/>
                <a:gd name="T44" fmla="*/ 158 w 1119"/>
                <a:gd name="T45" fmla="*/ 1020 h 1137"/>
                <a:gd name="T46" fmla="*/ 170 w 1119"/>
                <a:gd name="T47" fmla="*/ 724 h 1137"/>
                <a:gd name="T48" fmla="*/ 17 w 1119"/>
                <a:gd name="T49" fmla="*/ 534 h 1137"/>
                <a:gd name="T50" fmla="*/ 17 w 1119"/>
                <a:gd name="T51" fmla="*/ 428 h 1137"/>
                <a:gd name="T52" fmla="*/ 191 w 1119"/>
                <a:gd name="T53" fmla="*/ 241 h 1137"/>
                <a:gd name="T54" fmla="*/ 382 w 1119"/>
                <a:gd name="T55" fmla="*/ 6 h 1137"/>
                <a:gd name="T56" fmla="*/ 786 w 1119"/>
                <a:gd name="T57" fmla="*/ 110 h 1137"/>
                <a:gd name="T58" fmla="*/ 979 w 1119"/>
                <a:gd name="T59" fmla="*/ 338 h 1137"/>
                <a:gd name="T60" fmla="*/ 1117 w 1119"/>
                <a:gd name="T61" fmla="*/ 451 h 1137"/>
                <a:gd name="T62" fmla="*/ 184 w 1119"/>
                <a:gd name="T63" fmla="*/ 596 h 1137"/>
                <a:gd name="T64" fmla="*/ 184 w 1119"/>
                <a:gd name="T65" fmla="*/ 596 h 1137"/>
                <a:gd name="T66" fmla="*/ 121 w 1119"/>
                <a:gd name="T67" fmla="*/ 517 h 1137"/>
                <a:gd name="T68" fmla="*/ 137 w 1119"/>
                <a:gd name="T69" fmla="*/ 446 h 1137"/>
                <a:gd name="T70" fmla="*/ 415 w 1119"/>
                <a:gd name="T71" fmla="*/ 940 h 1137"/>
                <a:gd name="T72" fmla="*/ 799 w 1119"/>
                <a:gd name="T73" fmla="*/ 996 h 1137"/>
                <a:gd name="T74" fmla="*/ 766 w 1119"/>
                <a:gd name="T75" fmla="*/ 887 h 1137"/>
                <a:gd name="T76" fmla="*/ 318 w 1119"/>
                <a:gd name="T77" fmla="*/ 996 h 1137"/>
                <a:gd name="T78" fmla="*/ 441 w 1119"/>
                <a:gd name="T79" fmla="*/ 796 h 1137"/>
                <a:gd name="T80" fmla="*/ 674 w 1119"/>
                <a:gd name="T81" fmla="*/ 734 h 1137"/>
                <a:gd name="T82" fmla="*/ 415 w 1119"/>
                <a:gd name="T83" fmla="*/ 795 h 1137"/>
                <a:gd name="T84" fmla="*/ 670 w 1119"/>
                <a:gd name="T85" fmla="*/ 711 h 1137"/>
                <a:gd name="T86" fmla="*/ 701 w 1119"/>
                <a:gd name="T87" fmla="*/ 801 h 1137"/>
                <a:gd name="T88" fmla="*/ 812 w 1119"/>
                <a:gd name="T89" fmla="*/ 1101 h 1137"/>
                <a:gd name="T90" fmla="*/ 890 w 1119"/>
                <a:gd name="T91" fmla="*/ 1107 h 1137"/>
                <a:gd name="T92" fmla="*/ 225 w 1119"/>
                <a:gd name="T93" fmla="*/ 1104 h 1137"/>
                <a:gd name="T94" fmla="*/ 304 w 1119"/>
                <a:gd name="T95" fmla="*/ 1104 h 1137"/>
                <a:gd name="T96" fmla="*/ 796 w 1119"/>
                <a:gd name="T97" fmla="*/ 822 h 1137"/>
                <a:gd name="T98" fmla="*/ 830 w 1119"/>
                <a:gd name="T99" fmla="*/ 318 h 1137"/>
                <a:gd name="T100" fmla="*/ 245 w 1119"/>
                <a:gd name="T101" fmla="*/ 371 h 1137"/>
                <a:gd name="T102" fmla="*/ 286 w 1119"/>
                <a:gd name="T103" fmla="*/ 546 h 1137"/>
                <a:gd name="T104" fmla="*/ 816 w 1119"/>
                <a:gd name="T105" fmla="*/ 579 h 1137"/>
                <a:gd name="T106" fmla="*/ 800 w 1119"/>
                <a:gd name="T107" fmla="*/ 378 h 1137"/>
                <a:gd name="T108" fmla="*/ 274 w 1119"/>
                <a:gd name="T109" fmla="*/ 588 h 1137"/>
                <a:gd name="T110" fmla="*/ 301 w 1119"/>
                <a:gd name="T111" fmla="*/ 361 h 1137"/>
                <a:gd name="T112" fmla="*/ 824 w 1119"/>
                <a:gd name="T113" fmla="*/ 372 h 1137"/>
                <a:gd name="T114" fmla="*/ 837 w 1119"/>
                <a:gd name="T115" fmla="*/ 596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19" h="1137">
                  <a:moveTo>
                    <a:pt x="712" y="75"/>
                  </a:moveTo>
                  <a:lnTo>
                    <a:pt x="712" y="24"/>
                  </a:lnTo>
                  <a:lnTo>
                    <a:pt x="405" y="24"/>
                  </a:lnTo>
                  <a:lnTo>
                    <a:pt x="405" y="75"/>
                  </a:lnTo>
                  <a:lnTo>
                    <a:pt x="424" y="70"/>
                  </a:lnTo>
                  <a:lnTo>
                    <a:pt x="442" y="63"/>
                  </a:lnTo>
                  <a:lnTo>
                    <a:pt x="461" y="59"/>
                  </a:lnTo>
                  <a:lnTo>
                    <a:pt x="480" y="55"/>
                  </a:lnTo>
                  <a:lnTo>
                    <a:pt x="499" y="51"/>
                  </a:lnTo>
                  <a:lnTo>
                    <a:pt x="518" y="50"/>
                  </a:lnTo>
                  <a:lnTo>
                    <a:pt x="538" y="49"/>
                  </a:lnTo>
                  <a:lnTo>
                    <a:pt x="558" y="47"/>
                  </a:lnTo>
                  <a:lnTo>
                    <a:pt x="579" y="49"/>
                  </a:lnTo>
                  <a:lnTo>
                    <a:pt x="599" y="50"/>
                  </a:lnTo>
                  <a:lnTo>
                    <a:pt x="618" y="51"/>
                  </a:lnTo>
                  <a:lnTo>
                    <a:pt x="637" y="55"/>
                  </a:lnTo>
                  <a:lnTo>
                    <a:pt x="657" y="59"/>
                  </a:lnTo>
                  <a:lnTo>
                    <a:pt x="675" y="63"/>
                  </a:lnTo>
                  <a:lnTo>
                    <a:pt x="694" y="70"/>
                  </a:lnTo>
                  <a:lnTo>
                    <a:pt x="712" y="75"/>
                  </a:lnTo>
                  <a:close/>
                  <a:moveTo>
                    <a:pt x="934" y="566"/>
                  </a:moveTo>
                  <a:lnTo>
                    <a:pt x="971" y="537"/>
                  </a:lnTo>
                  <a:lnTo>
                    <a:pt x="967" y="534"/>
                  </a:lnTo>
                  <a:lnTo>
                    <a:pt x="962" y="532"/>
                  </a:lnTo>
                  <a:lnTo>
                    <a:pt x="958" y="528"/>
                  </a:lnTo>
                  <a:lnTo>
                    <a:pt x="955" y="522"/>
                  </a:lnTo>
                  <a:lnTo>
                    <a:pt x="953" y="518"/>
                  </a:lnTo>
                  <a:lnTo>
                    <a:pt x="950" y="513"/>
                  </a:lnTo>
                  <a:lnTo>
                    <a:pt x="949" y="507"/>
                  </a:lnTo>
                  <a:lnTo>
                    <a:pt x="949" y="501"/>
                  </a:lnTo>
                  <a:lnTo>
                    <a:pt x="949" y="459"/>
                  </a:lnTo>
                  <a:lnTo>
                    <a:pt x="949" y="453"/>
                  </a:lnTo>
                  <a:lnTo>
                    <a:pt x="950" y="447"/>
                  </a:lnTo>
                  <a:lnTo>
                    <a:pt x="953" y="441"/>
                  </a:lnTo>
                  <a:lnTo>
                    <a:pt x="957" y="436"/>
                  </a:lnTo>
                  <a:lnTo>
                    <a:pt x="961" y="432"/>
                  </a:lnTo>
                  <a:lnTo>
                    <a:pt x="966" y="428"/>
                  </a:lnTo>
                  <a:lnTo>
                    <a:pt x="971" y="424"/>
                  </a:lnTo>
                  <a:lnTo>
                    <a:pt x="978" y="422"/>
                  </a:lnTo>
                  <a:lnTo>
                    <a:pt x="974" y="403"/>
                  </a:lnTo>
                  <a:lnTo>
                    <a:pt x="969" y="384"/>
                  </a:lnTo>
                  <a:lnTo>
                    <a:pt x="963" y="367"/>
                  </a:lnTo>
                  <a:lnTo>
                    <a:pt x="958" y="349"/>
                  </a:lnTo>
                  <a:lnTo>
                    <a:pt x="950" y="332"/>
                  </a:lnTo>
                  <a:lnTo>
                    <a:pt x="944" y="316"/>
                  </a:lnTo>
                  <a:lnTo>
                    <a:pt x="934" y="299"/>
                  </a:lnTo>
                  <a:lnTo>
                    <a:pt x="925" y="283"/>
                  </a:lnTo>
                  <a:lnTo>
                    <a:pt x="916" y="267"/>
                  </a:lnTo>
                  <a:lnTo>
                    <a:pt x="905" y="253"/>
                  </a:lnTo>
                  <a:lnTo>
                    <a:pt x="895" y="237"/>
                  </a:lnTo>
                  <a:lnTo>
                    <a:pt x="883" y="224"/>
                  </a:lnTo>
                  <a:lnTo>
                    <a:pt x="871" y="209"/>
                  </a:lnTo>
                  <a:lnTo>
                    <a:pt x="858" y="196"/>
                  </a:lnTo>
                  <a:lnTo>
                    <a:pt x="845" y="184"/>
                  </a:lnTo>
                  <a:lnTo>
                    <a:pt x="832" y="172"/>
                  </a:lnTo>
                  <a:lnTo>
                    <a:pt x="817" y="160"/>
                  </a:lnTo>
                  <a:lnTo>
                    <a:pt x="803" y="150"/>
                  </a:lnTo>
                  <a:lnTo>
                    <a:pt x="787" y="139"/>
                  </a:lnTo>
                  <a:lnTo>
                    <a:pt x="771" y="130"/>
                  </a:lnTo>
                  <a:lnTo>
                    <a:pt x="755" y="121"/>
                  </a:lnTo>
                  <a:lnTo>
                    <a:pt x="740" y="113"/>
                  </a:lnTo>
                  <a:lnTo>
                    <a:pt x="722" y="105"/>
                  </a:lnTo>
                  <a:lnTo>
                    <a:pt x="705" y="99"/>
                  </a:lnTo>
                  <a:lnTo>
                    <a:pt x="688" y="92"/>
                  </a:lnTo>
                  <a:lnTo>
                    <a:pt x="670" y="87"/>
                  </a:lnTo>
                  <a:lnTo>
                    <a:pt x="653" y="83"/>
                  </a:lnTo>
                  <a:lnTo>
                    <a:pt x="634" y="79"/>
                  </a:lnTo>
                  <a:lnTo>
                    <a:pt x="616" y="76"/>
                  </a:lnTo>
                  <a:lnTo>
                    <a:pt x="596" y="74"/>
                  </a:lnTo>
                  <a:lnTo>
                    <a:pt x="578" y="72"/>
                  </a:lnTo>
                  <a:lnTo>
                    <a:pt x="558" y="72"/>
                  </a:lnTo>
                  <a:lnTo>
                    <a:pt x="540" y="72"/>
                  </a:lnTo>
                  <a:lnTo>
                    <a:pt x="521" y="74"/>
                  </a:lnTo>
                  <a:lnTo>
                    <a:pt x="501" y="76"/>
                  </a:lnTo>
                  <a:lnTo>
                    <a:pt x="483" y="79"/>
                  </a:lnTo>
                  <a:lnTo>
                    <a:pt x="465" y="83"/>
                  </a:lnTo>
                  <a:lnTo>
                    <a:pt x="447" y="87"/>
                  </a:lnTo>
                  <a:lnTo>
                    <a:pt x="429" y="92"/>
                  </a:lnTo>
                  <a:lnTo>
                    <a:pt x="412" y="99"/>
                  </a:lnTo>
                  <a:lnTo>
                    <a:pt x="395" y="105"/>
                  </a:lnTo>
                  <a:lnTo>
                    <a:pt x="378" y="113"/>
                  </a:lnTo>
                  <a:lnTo>
                    <a:pt x="362" y="121"/>
                  </a:lnTo>
                  <a:lnTo>
                    <a:pt x="346" y="130"/>
                  </a:lnTo>
                  <a:lnTo>
                    <a:pt x="330" y="139"/>
                  </a:lnTo>
                  <a:lnTo>
                    <a:pt x="314" y="150"/>
                  </a:lnTo>
                  <a:lnTo>
                    <a:pt x="300" y="160"/>
                  </a:lnTo>
                  <a:lnTo>
                    <a:pt x="286" y="172"/>
                  </a:lnTo>
                  <a:lnTo>
                    <a:pt x="272" y="184"/>
                  </a:lnTo>
                  <a:lnTo>
                    <a:pt x="259" y="196"/>
                  </a:lnTo>
                  <a:lnTo>
                    <a:pt x="246" y="209"/>
                  </a:lnTo>
                  <a:lnTo>
                    <a:pt x="234" y="224"/>
                  </a:lnTo>
                  <a:lnTo>
                    <a:pt x="222" y="237"/>
                  </a:lnTo>
                  <a:lnTo>
                    <a:pt x="212" y="251"/>
                  </a:lnTo>
                  <a:lnTo>
                    <a:pt x="201" y="267"/>
                  </a:lnTo>
                  <a:lnTo>
                    <a:pt x="192" y="283"/>
                  </a:lnTo>
                  <a:lnTo>
                    <a:pt x="183" y="299"/>
                  </a:lnTo>
                  <a:lnTo>
                    <a:pt x="175" y="314"/>
                  </a:lnTo>
                  <a:lnTo>
                    <a:pt x="167" y="332"/>
                  </a:lnTo>
                  <a:lnTo>
                    <a:pt x="159" y="349"/>
                  </a:lnTo>
                  <a:lnTo>
                    <a:pt x="154" y="367"/>
                  </a:lnTo>
                  <a:lnTo>
                    <a:pt x="149" y="384"/>
                  </a:lnTo>
                  <a:lnTo>
                    <a:pt x="143" y="403"/>
                  </a:lnTo>
                  <a:lnTo>
                    <a:pt x="139" y="421"/>
                  </a:lnTo>
                  <a:lnTo>
                    <a:pt x="146" y="424"/>
                  </a:lnTo>
                  <a:lnTo>
                    <a:pt x="151" y="426"/>
                  </a:lnTo>
                  <a:lnTo>
                    <a:pt x="157" y="430"/>
                  </a:lnTo>
                  <a:lnTo>
                    <a:pt x="162" y="436"/>
                  </a:lnTo>
                  <a:lnTo>
                    <a:pt x="164" y="441"/>
                  </a:lnTo>
                  <a:lnTo>
                    <a:pt x="167" y="446"/>
                  </a:lnTo>
                  <a:lnTo>
                    <a:pt x="170" y="453"/>
                  </a:lnTo>
                  <a:lnTo>
                    <a:pt x="170" y="459"/>
                  </a:lnTo>
                  <a:lnTo>
                    <a:pt x="170" y="501"/>
                  </a:lnTo>
                  <a:lnTo>
                    <a:pt x="170" y="507"/>
                  </a:lnTo>
                  <a:lnTo>
                    <a:pt x="168" y="513"/>
                  </a:lnTo>
                  <a:lnTo>
                    <a:pt x="166" y="518"/>
                  </a:lnTo>
                  <a:lnTo>
                    <a:pt x="163" y="522"/>
                  </a:lnTo>
                  <a:lnTo>
                    <a:pt x="161" y="528"/>
                  </a:lnTo>
                  <a:lnTo>
                    <a:pt x="157" y="532"/>
                  </a:lnTo>
                  <a:lnTo>
                    <a:pt x="151" y="534"/>
                  </a:lnTo>
                  <a:lnTo>
                    <a:pt x="147" y="537"/>
                  </a:lnTo>
                  <a:lnTo>
                    <a:pt x="184" y="566"/>
                  </a:lnTo>
                  <a:lnTo>
                    <a:pt x="184" y="566"/>
                  </a:lnTo>
                  <a:lnTo>
                    <a:pt x="221" y="367"/>
                  </a:lnTo>
                  <a:lnTo>
                    <a:pt x="225" y="347"/>
                  </a:lnTo>
                  <a:lnTo>
                    <a:pt x="230" y="332"/>
                  </a:lnTo>
                  <a:lnTo>
                    <a:pt x="234" y="324"/>
                  </a:lnTo>
                  <a:lnTo>
                    <a:pt x="238" y="318"/>
                  </a:lnTo>
                  <a:lnTo>
                    <a:pt x="243" y="312"/>
                  </a:lnTo>
                  <a:lnTo>
                    <a:pt x="247" y="308"/>
                  </a:lnTo>
                  <a:lnTo>
                    <a:pt x="254" y="304"/>
                  </a:lnTo>
                  <a:lnTo>
                    <a:pt x="259" y="300"/>
                  </a:lnTo>
                  <a:lnTo>
                    <a:pt x="267" y="297"/>
                  </a:lnTo>
                  <a:lnTo>
                    <a:pt x="274" y="295"/>
                  </a:lnTo>
                  <a:lnTo>
                    <a:pt x="291" y="292"/>
                  </a:lnTo>
                  <a:lnTo>
                    <a:pt x="312" y="291"/>
                  </a:lnTo>
                  <a:lnTo>
                    <a:pt x="807" y="291"/>
                  </a:lnTo>
                  <a:lnTo>
                    <a:pt x="824" y="293"/>
                  </a:lnTo>
                  <a:lnTo>
                    <a:pt x="840" y="296"/>
                  </a:lnTo>
                  <a:lnTo>
                    <a:pt x="853" y="303"/>
                  </a:lnTo>
                  <a:lnTo>
                    <a:pt x="865" y="309"/>
                  </a:lnTo>
                  <a:lnTo>
                    <a:pt x="875" y="320"/>
                  </a:lnTo>
                  <a:lnTo>
                    <a:pt x="884" y="330"/>
                  </a:lnTo>
                  <a:lnTo>
                    <a:pt x="891" y="345"/>
                  </a:lnTo>
                  <a:lnTo>
                    <a:pt x="896" y="361"/>
                  </a:lnTo>
                  <a:lnTo>
                    <a:pt x="934" y="563"/>
                  </a:lnTo>
                  <a:lnTo>
                    <a:pt x="934" y="566"/>
                  </a:lnTo>
                  <a:close/>
                  <a:moveTo>
                    <a:pt x="980" y="561"/>
                  </a:moveTo>
                  <a:lnTo>
                    <a:pt x="934" y="595"/>
                  </a:lnTo>
                  <a:lnTo>
                    <a:pt x="934" y="596"/>
                  </a:lnTo>
                  <a:lnTo>
                    <a:pt x="934" y="699"/>
                  </a:lnTo>
                  <a:lnTo>
                    <a:pt x="942" y="683"/>
                  </a:lnTo>
                  <a:lnTo>
                    <a:pt x="950" y="666"/>
                  </a:lnTo>
                  <a:lnTo>
                    <a:pt x="957" y="649"/>
                  </a:lnTo>
                  <a:lnTo>
                    <a:pt x="963" y="632"/>
                  </a:lnTo>
                  <a:lnTo>
                    <a:pt x="969" y="614"/>
                  </a:lnTo>
                  <a:lnTo>
                    <a:pt x="972" y="597"/>
                  </a:lnTo>
                  <a:lnTo>
                    <a:pt x="976" y="579"/>
                  </a:lnTo>
                  <a:lnTo>
                    <a:pt x="980" y="561"/>
                  </a:lnTo>
                  <a:close/>
                  <a:moveTo>
                    <a:pt x="988" y="445"/>
                  </a:moveTo>
                  <a:lnTo>
                    <a:pt x="982" y="446"/>
                  </a:lnTo>
                  <a:lnTo>
                    <a:pt x="976" y="449"/>
                  </a:lnTo>
                  <a:lnTo>
                    <a:pt x="974" y="454"/>
                  </a:lnTo>
                  <a:lnTo>
                    <a:pt x="972" y="459"/>
                  </a:lnTo>
                  <a:lnTo>
                    <a:pt x="972" y="501"/>
                  </a:lnTo>
                  <a:lnTo>
                    <a:pt x="974" y="508"/>
                  </a:lnTo>
                  <a:lnTo>
                    <a:pt x="976" y="512"/>
                  </a:lnTo>
                  <a:lnTo>
                    <a:pt x="982" y="516"/>
                  </a:lnTo>
                  <a:lnTo>
                    <a:pt x="988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6" y="517"/>
                  </a:lnTo>
                  <a:lnTo>
                    <a:pt x="1079" y="517"/>
                  </a:lnTo>
                  <a:lnTo>
                    <a:pt x="1086" y="516"/>
                  </a:lnTo>
                  <a:lnTo>
                    <a:pt x="1090" y="512"/>
                  </a:lnTo>
                  <a:lnTo>
                    <a:pt x="1094" y="508"/>
                  </a:lnTo>
                  <a:lnTo>
                    <a:pt x="1095" y="501"/>
                  </a:lnTo>
                  <a:lnTo>
                    <a:pt x="1095" y="459"/>
                  </a:lnTo>
                  <a:lnTo>
                    <a:pt x="1094" y="454"/>
                  </a:lnTo>
                  <a:lnTo>
                    <a:pt x="1090" y="449"/>
                  </a:lnTo>
                  <a:lnTo>
                    <a:pt x="1086" y="446"/>
                  </a:lnTo>
                  <a:lnTo>
                    <a:pt x="1079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1" y="445"/>
                  </a:lnTo>
                  <a:lnTo>
                    <a:pt x="991" y="445"/>
                  </a:lnTo>
                  <a:lnTo>
                    <a:pt x="988" y="445"/>
                  </a:lnTo>
                  <a:close/>
                  <a:moveTo>
                    <a:pt x="1079" y="541"/>
                  </a:moveTo>
                  <a:lnTo>
                    <a:pt x="1007" y="541"/>
                  </a:lnTo>
                  <a:lnTo>
                    <a:pt x="1003" y="568"/>
                  </a:lnTo>
                  <a:lnTo>
                    <a:pt x="997" y="595"/>
                  </a:lnTo>
                  <a:lnTo>
                    <a:pt x="991" y="621"/>
                  </a:lnTo>
                  <a:lnTo>
                    <a:pt x="983" y="647"/>
                  </a:lnTo>
                  <a:lnTo>
                    <a:pt x="974" y="674"/>
                  </a:lnTo>
                  <a:lnTo>
                    <a:pt x="962" y="699"/>
                  </a:lnTo>
                  <a:lnTo>
                    <a:pt x="949" y="722"/>
                  </a:lnTo>
                  <a:lnTo>
                    <a:pt x="934" y="746"/>
                  </a:lnTo>
                  <a:lnTo>
                    <a:pt x="934" y="817"/>
                  </a:lnTo>
                  <a:lnTo>
                    <a:pt x="954" y="817"/>
                  </a:lnTo>
                  <a:lnTo>
                    <a:pt x="959" y="818"/>
                  </a:lnTo>
                  <a:lnTo>
                    <a:pt x="963" y="821"/>
                  </a:lnTo>
                  <a:lnTo>
                    <a:pt x="966" y="825"/>
                  </a:lnTo>
                  <a:lnTo>
                    <a:pt x="966" y="829"/>
                  </a:lnTo>
                  <a:lnTo>
                    <a:pt x="966" y="1008"/>
                  </a:lnTo>
                  <a:lnTo>
                    <a:pt x="966" y="1013"/>
                  </a:lnTo>
                  <a:lnTo>
                    <a:pt x="963" y="1017"/>
                  </a:lnTo>
                  <a:lnTo>
                    <a:pt x="959" y="1020"/>
                  </a:lnTo>
                  <a:lnTo>
                    <a:pt x="954" y="1021"/>
                  </a:lnTo>
                  <a:lnTo>
                    <a:pt x="919" y="1021"/>
                  </a:lnTo>
                  <a:lnTo>
                    <a:pt x="919" y="1095"/>
                  </a:lnTo>
                  <a:lnTo>
                    <a:pt x="919" y="1103"/>
                  </a:lnTo>
                  <a:lnTo>
                    <a:pt x="916" y="1111"/>
                  </a:lnTo>
                  <a:lnTo>
                    <a:pt x="912" y="1119"/>
                  </a:lnTo>
                  <a:lnTo>
                    <a:pt x="907" y="1124"/>
                  </a:lnTo>
                  <a:lnTo>
                    <a:pt x="900" y="1129"/>
                  </a:lnTo>
                  <a:lnTo>
                    <a:pt x="894" y="1133"/>
                  </a:lnTo>
                  <a:lnTo>
                    <a:pt x="886" y="1136"/>
                  </a:lnTo>
                  <a:lnTo>
                    <a:pt x="876" y="1137"/>
                  </a:lnTo>
                  <a:lnTo>
                    <a:pt x="829" y="1137"/>
                  </a:lnTo>
                  <a:lnTo>
                    <a:pt x="821" y="1136"/>
                  </a:lnTo>
                  <a:lnTo>
                    <a:pt x="812" y="1133"/>
                  </a:lnTo>
                  <a:lnTo>
                    <a:pt x="805" y="1129"/>
                  </a:lnTo>
                  <a:lnTo>
                    <a:pt x="799" y="1124"/>
                  </a:lnTo>
                  <a:lnTo>
                    <a:pt x="794" y="1119"/>
                  </a:lnTo>
                  <a:lnTo>
                    <a:pt x="790" y="1111"/>
                  </a:lnTo>
                  <a:lnTo>
                    <a:pt x="788" y="1103"/>
                  </a:lnTo>
                  <a:lnTo>
                    <a:pt x="787" y="1095"/>
                  </a:lnTo>
                  <a:lnTo>
                    <a:pt x="787" y="1021"/>
                  </a:lnTo>
                  <a:lnTo>
                    <a:pt x="695" y="1021"/>
                  </a:lnTo>
                  <a:lnTo>
                    <a:pt x="422" y="1021"/>
                  </a:lnTo>
                  <a:lnTo>
                    <a:pt x="330" y="1021"/>
                  </a:lnTo>
                  <a:lnTo>
                    <a:pt x="330" y="1095"/>
                  </a:lnTo>
                  <a:lnTo>
                    <a:pt x="330" y="1103"/>
                  </a:lnTo>
                  <a:lnTo>
                    <a:pt x="328" y="1111"/>
                  </a:lnTo>
                  <a:lnTo>
                    <a:pt x="324" y="1119"/>
                  </a:lnTo>
                  <a:lnTo>
                    <a:pt x="318" y="1124"/>
                  </a:lnTo>
                  <a:lnTo>
                    <a:pt x="312" y="1129"/>
                  </a:lnTo>
                  <a:lnTo>
                    <a:pt x="305" y="1133"/>
                  </a:lnTo>
                  <a:lnTo>
                    <a:pt x="297" y="1136"/>
                  </a:lnTo>
                  <a:lnTo>
                    <a:pt x="288" y="1137"/>
                  </a:lnTo>
                  <a:lnTo>
                    <a:pt x="241" y="1137"/>
                  </a:lnTo>
                  <a:lnTo>
                    <a:pt x="233" y="1136"/>
                  </a:lnTo>
                  <a:lnTo>
                    <a:pt x="224" y="1133"/>
                  </a:lnTo>
                  <a:lnTo>
                    <a:pt x="217" y="1129"/>
                  </a:lnTo>
                  <a:lnTo>
                    <a:pt x="211" y="1124"/>
                  </a:lnTo>
                  <a:lnTo>
                    <a:pt x="205" y="1119"/>
                  </a:lnTo>
                  <a:lnTo>
                    <a:pt x="201" y="1111"/>
                  </a:lnTo>
                  <a:lnTo>
                    <a:pt x="199" y="1103"/>
                  </a:lnTo>
                  <a:lnTo>
                    <a:pt x="199" y="1095"/>
                  </a:lnTo>
                  <a:lnTo>
                    <a:pt x="199" y="1021"/>
                  </a:lnTo>
                  <a:lnTo>
                    <a:pt x="163" y="1021"/>
                  </a:lnTo>
                  <a:lnTo>
                    <a:pt x="158" y="1020"/>
                  </a:lnTo>
                  <a:lnTo>
                    <a:pt x="154" y="1017"/>
                  </a:lnTo>
                  <a:lnTo>
                    <a:pt x="151" y="1013"/>
                  </a:lnTo>
                  <a:lnTo>
                    <a:pt x="151" y="1008"/>
                  </a:lnTo>
                  <a:lnTo>
                    <a:pt x="151" y="829"/>
                  </a:lnTo>
                  <a:lnTo>
                    <a:pt x="151" y="825"/>
                  </a:lnTo>
                  <a:lnTo>
                    <a:pt x="154" y="821"/>
                  </a:lnTo>
                  <a:lnTo>
                    <a:pt x="158" y="818"/>
                  </a:lnTo>
                  <a:lnTo>
                    <a:pt x="163" y="817"/>
                  </a:lnTo>
                  <a:lnTo>
                    <a:pt x="184" y="817"/>
                  </a:lnTo>
                  <a:lnTo>
                    <a:pt x="184" y="747"/>
                  </a:lnTo>
                  <a:lnTo>
                    <a:pt x="170" y="724"/>
                  </a:lnTo>
                  <a:lnTo>
                    <a:pt x="157" y="700"/>
                  </a:lnTo>
                  <a:lnTo>
                    <a:pt x="145" y="675"/>
                  </a:lnTo>
                  <a:lnTo>
                    <a:pt x="134" y="649"/>
                  </a:lnTo>
                  <a:lnTo>
                    <a:pt x="126" y="622"/>
                  </a:lnTo>
                  <a:lnTo>
                    <a:pt x="120" y="596"/>
                  </a:lnTo>
                  <a:lnTo>
                    <a:pt x="114" y="568"/>
                  </a:lnTo>
                  <a:lnTo>
                    <a:pt x="111" y="541"/>
                  </a:lnTo>
                  <a:lnTo>
                    <a:pt x="39" y="541"/>
                  </a:lnTo>
                  <a:lnTo>
                    <a:pt x="32" y="539"/>
                  </a:lnTo>
                  <a:lnTo>
                    <a:pt x="24" y="538"/>
                  </a:lnTo>
                  <a:lnTo>
                    <a:pt x="17" y="534"/>
                  </a:lnTo>
                  <a:lnTo>
                    <a:pt x="12" y="529"/>
                  </a:lnTo>
                  <a:lnTo>
                    <a:pt x="7" y="524"/>
                  </a:lnTo>
                  <a:lnTo>
                    <a:pt x="3" y="517"/>
                  </a:lnTo>
                  <a:lnTo>
                    <a:pt x="1" y="509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1" y="451"/>
                  </a:lnTo>
                  <a:lnTo>
                    <a:pt x="3" y="445"/>
                  </a:lnTo>
                  <a:lnTo>
                    <a:pt x="7" y="438"/>
                  </a:lnTo>
                  <a:lnTo>
                    <a:pt x="12" y="432"/>
                  </a:lnTo>
                  <a:lnTo>
                    <a:pt x="17" y="428"/>
                  </a:lnTo>
                  <a:lnTo>
                    <a:pt x="24" y="424"/>
                  </a:lnTo>
                  <a:lnTo>
                    <a:pt x="32" y="421"/>
                  </a:lnTo>
                  <a:lnTo>
                    <a:pt x="39" y="420"/>
                  </a:lnTo>
                  <a:lnTo>
                    <a:pt x="116" y="420"/>
                  </a:lnTo>
                  <a:lnTo>
                    <a:pt x="121" y="392"/>
                  </a:lnTo>
                  <a:lnTo>
                    <a:pt x="129" y="364"/>
                  </a:lnTo>
                  <a:lnTo>
                    <a:pt x="138" y="338"/>
                  </a:lnTo>
                  <a:lnTo>
                    <a:pt x="149" y="312"/>
                  </a:lnTo>
                  <a:lnTo>
                    <a:pt x="162" y="287"/>
                  </a:lnTo>
                  <a:lnTo>
                    <a:pt x="175" y="263"/>
                  </a:lnTo>
                  <a:lnTo>
                    <a:pt x="191" y="241"/>
                  </a:lnTo>
                  <a:lnTo>
                    <a:pt x="208" y="218"/>
                  </a:lnTo>
                  <a:lnTo>
                    <a:pt x="225" y="197"/>
                  </a:lnTo>
                  <a:lnTo>
                    <a:pt x="245" y="178"/>
                  </a:lnTo>
                  <a:lnTo>
                    <a:pt x="264" y="158"/>
                  </a:lnTo>
                  <a:lnTo>
                    <a:pt x="286" y="141"/>
                  </a:lnTo>
                  <a:lnTo>
                    <a:pt x="309" y="125"/>
                  </a:lnTo>
                  <a:lnTo>
                    <a:pt x="332" y="110"/>
                  </a:lnTo>
                  <a:lnTo>
                    <a:pt x="357" y="97"/>
                  </a:lnTo>
                  <a:lnTo>
                    <a:pt x="382" y="85"/>
                  </a:lnTo>
                  <a:lnTo>
                    <a:pt x="382" y="12"/>
                  </a:lnTo>
                  <a:lnTo>
                    <a:pt x="382" y="6"/>
                  </a:lnTo>
                  <a:lnTo>
                    <a:pt x="384" y="3"/>
                  </a:lnTo>
                  <a:lnTo>
                    <a:pt x="388" y="0"/>
                  </a:lnTo>
                  <a:lnTo>
                    <a:pt x="393" y="0"/>
                  </a:lnTo>
                  <a:lnTo>
                    <a:pt x="724" y="0"/>
                  </a:lnTo>
                  <a:lnTo>
                    <a:pt x="729" y="0"/>
                  </a:lnTo>
                  <a:lnTo>
                    <a:pt x="733" y="3"/>
                  </a:lnTo>
                  <a:lnTo>
                    <a:pt x="736" y="6"/>
                  </a:lnTo>
                  <a:lnTo>
                    <a:pt x="736" y="12"/>
                  </a:lnTo>
                  <a:lnTo>
                    <a:pt x="736" y="85"/>
                  </a:lnTo>
                  <a:lnTo>
                    <a:pt x="761" y="97"/>
                  </a:lnTo>
                  <a:lnTo>
                    <a:pt x="786" y="110"/>
                  </a:lnTo>
                  <a:lnTo>
                    <a:pt x="809" y="125"/>
                  </a:lnTo>
                  <a:lnTo>
                    <a:pt x="832" y="141"/>
                  </a:lnTo>
                  <a:lnTo>
                    <a:pt x="853" y="158"/>
                  </a:lnTo>
                  <a:lnTo>
                    <a:pt x="872" y="178"/>
                  </a:lnTo>
                  <a:lnTo>
                    <a:pt x="892" y="197"/>
                  </a:lnTo>
                  <a:lnTo>
                    <a:pt x="911" y="218"/>
                  </a:lnTo>
                  <a:lnTo>
                    <a:pt x="926" y="239"/>
                  </a:lnTo>
                  <a:lnTo>
                    <a:pt x="942" y="263"/>
                  </a:lnTo>
                  <a:lnTo>
                    <a:pt x="955" y="287"/>
                  </a:lnTo>
                  <a:lnTo>
                    <a:pt x="969" y="312"/>
                  </a:lnTo>
                  <a:lnTo>
                    <a:pt x="979" y="338"/>
                  </a:lnTo>
                  <a:lnTo>
                    <a:pt x="988" y="364"/>
                  </a:lnTo>
                  <a:lnTo>
                    <a:pt x="996" y="392"/>
                  </a:lnTo>
                  <a:lnTo>
                    <a:pt x="1001" y="420"/>
                  </a:lnTo>
                  <a:lnTo>
                    <a:pt x="1079" y="420"/>
                  </a:lnTo>
                  <a:lnTo>
                    <a:pt x="1087" y="421"/>
                  </a:lnTo>
                  <a:lnTo>
                    <a:pt x="1095" y="424"/>
                  </a:lnTo>
                  <a:lnTo>
                    <a:pt x="1101" y="428"/>
                  </a:lnTo>
                  <a:lnTo>
                    <a:pt x="1107" y="432"/>
                  </a:lnTo>
                  <a:lnTo>
                    <a:pt x="1112" y="438"/>
                  </a:lnTo>
                  <a:lnTo>
                    <a:pt x="1116" y="445"/>
                  </a:lnTo>
                  <a:lnTo>
                    <a:pt x="1117" y="451"/>
                  </a:lnTo>
                  <a:lnTo>
                    <a:pt x="1119" y="459"/>
                  </a:lnTo>
                  <a:lnTo>
                    <a:pt x="1119" y="501"/>
                  </a:lnTo>
                  <a:lnTo>
                    <a:pt x="1117" y="509"/>
                  </a:lnTo>
                  <a:lnTo>
                    <a:pt x="1116" y="517"/>
                  </a:lnTo>
                  <a:lnTo>
                    <a:pt x="1112" y="524"/>
                  </a:lnTo>
                  <a:lnTo>
                    <a:pt x="1107" y="529"/>
                  </a:lnTo>
                  <a:lnTo>
                    <a:pt x="1101" y="534"/>
                  </a:lnTo>
                  <a:lnTo>
                    <a:pt x="1095" y="538"/>
                  </a:lnTo>
                  <a:lnTo>
                    <a:pt x="1087" y="539"/>
                  </a:lnTo>
                  <a:lnTo>
                    <a:pt x="1079" y="541"/>
                  </a:lnTo>
                  <a:close/>
                  <a:moveTo>
                    <a:pt x="184" y="596"/>
                  </a:moveTo>
                  <a:lnTo>
                    <a:pt x="183" y="595"/>
                  </a:lnTo>
                  <a:lnTo>
                    <a:pt x="137" y="561"/>
                  </a:lnTo>
                  <a:lnTo>
                    <a:pt x="141" y="579"/>
                  </a:lnTo>
                  <a:lnTo>
                    <a:pt x="145" y="597"/>
                  </a:lnTo>
                  <a:lnTo>
                    <a:pt x="149" y="614"/>
                  </a:lnTo>
                  <a:lnTo>
                    <a:pt x="155" y="633"/>
                  </a:lnTo>
                  <a:lnTo>
                    <a:pt x="161" y="650"/>
                  </a:lnTo>
                  <a:lnTo>
                    <a:pt x="168" y="667"/>
                  </a:lnTo>
                  <a:lnTo>
                    <a:pt x="176" y="684"/>
                  </a:lnTo>
                  <a:lnTo>
                    <a:pt x="184" y="701"/>
                  </a:lnTo>
                  <a:lnTo>
                    <a:pt x="184" y="596"/>
                  </a:lnTo>
                  <a:close/>
                  <a:moveTo>
                    <a:pt x="39" y="445"/>
                  </a:moveTo>
                  <a:lnTo>
                    <a:pt x="33" y="446"/>
                  </a:lnTo>
                  <a:lnTo>
                    <a:pt x="29" y="449"/>
                  </a:lnTo>
                  <a:lnTo>
                    <a:pt x="25" y="454"/>
                  </a:lnTo>
                  <a:lnTo>
                    <a:pt x="24" y="459"/>
                  </a:lnTo>
                  <a:lnTo>
                    <a:pt x="24" y="501"/>
                  </a:lnTo>
                  <a:lnTo>
                    <a:pt x="25" y="508"/>
                  </a:lnTo>
                  <a:lnTo>
                    <a:pt x="29" y="512"/>
                  </a:lnTo>
                  <a:lnTo>
                    <a:pt x="33" y="516"/>
                  </a:lnTo>
                  <a:lnTo>
                    <a:pt x="39" y="517"/>
                  </a:lnTo>
                  <a:lnTo>
                    <a:pt x="121" y="517"/>
                  </a:lnTo>
                  <a:lnTo>
                    <a:pt x="122" y="517"/>
                  </a:lnTo>
                  <a:lnTo>
                    <a:pt x="122" y="517"/>
                  </a:lnTo>
                  <a:lnTo>
                    <a:pt x="130" y="517"/>
                  </a:lnTo>
                  <a:lnTo>
                    <a:pt x="137" y="516"/>
                  </a:lnTo>
                  <a:lnTo>
                    <a:pt x="141" y="512"/>
                  </a:lnTo>
                  <a:lnTo>
                    <a:pt x="145" y="508"/>
                  </a:lnTo>
                  <a:lnTo>
                    <a:pt x="146" y="501"/>
                  </a:lnTo>
                  <a:lnTo>
                    <a:pt x="146" y="459"/>
                  </a:lnTo>
                  <a:lnTo>
                    <a:pt x="145" y="454"/>
                  </a:lnTo>
                  <a:lnTo>
                    <a:pt x="141" y="449"/>
                  </a:lnTo>
                  <a:lnTo>
                    <a:pt x="137" y="446"/>
                  </a:lnTo>
                  <a:lnTo>
                    <a:pt x="130" y="445"/>
                  </a:lnTo>
                  <a:lnTo>
                    <a:pt x="39" y="445"/>
                  </a:lnTo>
                  <a:close/>
                  <a:moveTo>
                    <a:pt x="682" y="996"/>
                  </a:moveTo>
                  <a:lnTo>
                    <a:pt x="682" y="961"/>
                  </a:lnTo>
                  <a:lnTo>
                    <a:pt x="436" y="961"/>
                  </a:lnTo>
                  <a:lnTo>
                    <a:pt x="436" y="996"/>
                  </a:lnTo>
                  <a:lnTo>
                    <a:pt x="682" y="996"/>
                  </a:lnTo>
                  <a:close/>
                  <a:moveTo>
                    <a:pt x="412" y="996"/>
                  </a:moveTo>
                  <a:lnTo>
                    <a:pt x="412" y="947"/>
                  </a:lnTo>
                  <a:lnTo>
                    <a:pt x="412" y="943"/>
                  </a:lnTo>
                  <a:lnTo>
                    <a:pt x="415" y="940"/>
                  </a:lnTo>
                  <a:lnTo>
                    <a:pt x="418" y="937"/>
                  </a:lnTo>
                  <a:lnTo>
                    <a:pt x="424" y="936"/>
                  </a:lnTo>
                  <a:lnTo>
                    <a:pt x="694" y="936"/>
                  </a:lnTo>
                  <a:lnTo>
                    <a:pt x="699" y="937"/>
                  </a:lnTo>
                  <a:lnTo>
                    <a:pt x="703" y="940"/>
                  </a:lnTo>
                  <a:lnTo>
                    <a:pt x="705" y="943"/>
                  </a:lnTo>
                  <a:lnTo>
                    <a:pt x="707" y="947"/>
                  </a:lnTo>
                  <a:lnTo>
                    <a:pt x="707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799" y="996"/>
                  </a:lnTo>
                  <a:lnTo>
                    <a:pt x="907" y="996"/>
                  </a:lnTo>
                  <a:lnTo>
                    <a:pt x="907" y="996"/>
                  </a:lnTo>
                  <a:lnTo>
                    <a:pt x="908" y="996"/>
                  </a:lnTo>
                  <a:lnTo>
                    <a:pt x="942" y="996"/>
                  </a:lnTo>
                  <a:lnTo>
                    <a:pt x="94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922" y="842"/>
                  </a:lnTo>
                  <a:lnTo>
                    <a:pt x="809" y="842"/>
                  </a:lnTo>
                  <a:lnTo>
                    <a:pt x="770" y="884"/>
                  </a:lnTo>
                  <a:lnTo>
                    <a:pt x="766" y="887"/>
                  </a:lnTo>
                  <a:lnTo>
                    <a:pt x="762" y="888"/>
                  </a:lnTo>
                  <a:lnTo>
                    <a:pt x="357" y="888"/>
                  </a:lnTo>
                  <a:lnTo>
                    <a:pt x="351" y="887"/>
                  </a:lnTo>
                  <a:lnTo>
                    <a:pt x="347" y="884"/>
                  </a:lnTo>
                  <a:lnTo>
                    <a:pt x="308" y="842"/>
                  </a:lnTo>
                  <a:lnTo>
                    <a:pt x="175" y="842"/>
                  </a:lnTo>
                  <a:lnTo>
                    <a:pt x="175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211" y="996"/>
                  </a:lnTo>
                  <a:lnTo>
                    <a:pt x="318" y="996"/>
                  </a:lnTo>
                  <a:lnTo>
                    <a:pt x="318" y="996"/>
                  </a:lnTo>
                  <a:lnTo>
                    <a:pt x="320" y="996"/>
                  </a:lnTo>
                  <a:lnTo>
                    <a:pt x="412" y="996"/>
                  </a:lnTo>
                  <a:close/>
                  <a:moveTo>
                    <a:pt x="447" y="734"/>
                  </a:moveTo>
                  <a:lnTo>
                    <a:pt x="443" y="734"/>
                  </a:lnTo>
                  <a:lnTo>
                    <a:pt x="441" y="737"/>
                  </a:lnTo>
                  <a:lnTo>
                    <a:pt x="438" y="741"/>
                  </a:lnTo>
                  <a:lnTo>
                    <a:pt x="438" y="745"/>
                  </a:lnTo>
                  <a:lnTo>
                    <a:pt x="438" y="788"/>
                  </a:lnTo>
                  <a:lnTo>
                    <a:pt x="438" y="792"/>
                  </a:lnTo>
                  <a:lnTo>
                    <a:pt x="441" y="796"/>
                  </a:lnTo>
                  <a:lnTo>
                    <a:pt x="443" y="797"/>
                  </a:lnTo>
                  <a:lnTo>
                    <a:pt x="447" y="799"/>
                  </a:lnTo>
                  <a:lnTo>
                    <a:pt x="670" y="799"/>
                  </a:lnTo>
                  <a:lnTo>
                    <a:pt x="674" y="797"/>
                  </a:lnTo>
                  <a:lnTo>
                    <a:pt x="676" y="796"/>
                  </a:lnTo>
                  <a:lnTo>
                    <a:pt x="679" y="792"/>
                  </a:lnTo>
                  <a:lnTo>
                    <a:pt x="679" y="788"/>
                  </a:lnTo>
                  <a:lnTo>
                    <a:pt x="679" y="745"/>
                  </a:lnTo>
                  <a:lnTo>
                    <a:pt x="679" y="741"/>
                  </a:lnTo>
                  <a:lnTo>
                    <a:pt x="676" y="737"/>
                  </a:lnTo>
                  <a:lnTo>
                    <a:pt x="674" y="734"/>
                  </a:lnTo>
                  <a:lnTo>
                    <a:pt x="670" y="734"/>
                  </a:lnTo>
                  <a:lnTo>
                    <a:pt x="447" y="734"/>
                  </a:lnTo>
                  <a:close/>
                  <a:moveTo>
                    <a:pt x="670" y="822"/>
                  </a:moveTo>
                  <a:lnTo>
                    <a:pt x="447" y="822"/>
                  </a:lnTo>
                  <a:lnTo>
                    <a:pt x="441" y="822"/>
                  </a:lnTo>
                  <a:lnTo>
                    <a:pt x="434" y="820"/>
                  </a:lnTo>
                  <a:lnTo>
                    <a:pt x="429" y="817"/>
                  </a:lnTo>
                  <a:lnTo>
                    <a:pt x="424" y="813"/>
                  </a:lnTo>
                  <a:lnTo>
                    <a:pt x="420" y="808"/>
                  </a:lnTo>
                  <a:lnTo>
                    <a:pt x="416" y="801"/>
                  </a:lnTo>
                  <a:lnTo>
                    <a:pt x="415" y="795"/>
                  </a:lnTo>
                  <a:lnTo>
                    <a:pt x="413" y="788"/>
                  </a:lnTo>
                  <a:lnTo>
                    <a:pt x="413" y="745"/>
                  </a:lnTo>
                  <a:lnTo>
                    <a:pt x="415" y="737"/>
                  </a:lnTo>
                  <a:lnTo>
                    <a:pt x="416" y="730"/>
                  </a:lnTo>
                  <a:lnTo>
                    <a:pt x="420" y="725"/>
                  </a:lnTo>
                  <a:lnTo>
                    <a:pt x="424" y="720"/>
                  </a:lnTo>
                  <a:lnTo>
                    <a:pt x="429" y="716"/>
                  </a:lnTo>
                  <a:lnTo>
                    <a:pt x="434" y="713"/>
                  </a:lnTo>
                  <a:lnTo>
                    <a:pt x="441" y="711"/>
                  </a:lnTo>
                  <a:lnTo>
                    <a:pt x="447" y="711"/>
                  </a:lnTo>
                  <a:lnTo>
                    <a:pt x="670" y="711"/>
                  </a:lnTo>
                  <a:lnTo>
                    <a:pt x="676" y="711"/>
                  </a:lnTo>
                  <a:lnTo>
                    <a:pt x="683" y="713"/>
                  </a:lnTo>
                  <a:lnTo>
                    <a:pt x="688" y="716"/>
                  </a:lnTo>
                  <a:lnTo>
                    <a:pt x="694" y="720"/>
                  </a:lnTo>
                  <a:lnTo>
                    <a:pt x="697" y="725"/>
                  </a:lnTo>
                  <a:lnTo>
                    <a:pt x="701" y="730"/>
                  </a:lnTo>
                  <a:lnTo>
                    <a:pt x="703" y="737"/>
                  </a:lnTo>
                  <a:lnTo>
                    <a:pt x="704" y="745"/>
                  </a:lnTo>
                  <a:lnTo>
                    <a:pt x="704" y="788"/>
                  </a:lnTo>
                  <a:lnTo>
                    <a:pt x="703" y="795"/>
                  </a:lnTo>
                  <a:lnTo>
                    <a:pt x="701" y="801"/>
                  </a:lnTo>
                  <a:lnTo>
                    <a:pt x="697" y="808"/>
                  </a:lnTo>
                  <a:lnTo>
                    <a:pt x="694" y="813"/>
                  </a:lnTo>
                  <a:lnTo>
                    <a:pt x="688" y="817"/>
                  </a:lnTo>
                  <a:lnTo>
                    <a:pt x="683" y="820"/>
                  </a:lnTo>
                  <a:lnTo>
                    <a:pt x="676" y="822"/>
                  </a:lnTo>
                  <a:lnTo>
                    <a:pt x="670" y="822"/>
                  </a:lnTo>
                  <a:close/>
                  <a:moveTo>
                    <a:pt x="895" y="1021"/>
                  </a:moveTo>
                  <a:lnTo>
                    <a:pt x="811" y="1021"/>
                  </a:lnTo>
                  <a:lnTo>
                    <a:pt x="811" y="1095"/>
                  </a:lnTo>
                  <a:lnTo>
                    <a:pt x="811" y="1097"/>
                  </a:lnTo>
                  <a:lnTo>
                    <a:pt x="812" y="1101"/>
                  </a:lnTo>
                  <a:lnTo>
                    <a:pt x="813" y="1104"/>
                  </a:lnTo>
                  <a:lnTo>
                    <a:pt x="816" y="1107"/>
                  </a:lnTo>
                  <a:lnTo>
                    <a:pt x="819" y="1109"/>
                  </a:lnTo>
                  <a:lnTo>
                    <a:pt x="821" y="1111"/>
                  </a:lnTo>
                  <a:lnTo>
                    <a:pt x="825" y="1112"/>
                  </a:lnTo>
                  <a:lnTo>
                    <a:pt x="829" y="1112"/>
                  </a:lnTo>
                  <a:lnTo>
                    <a:pt x="876" y="1112"/>
                  </a:lnTo>
                  <a:lnTo>
                    <a:pt x="880" y="1112"/>
                  </a:lnTo>
                  <a:lnTo>
                    <a:pt x="884" y="1111"/>
                  </a:lnTo>
                  <a:lnTo>
                    <a:pt x="887" y="1109"/>
                  </a:lnTo>
                  <a:lnTo>
                    <a:pt x="890" y="1107"/>
                  </a:lnTo>
                  <a:lnTo>
                    <a:pt x="892" y="1104"/>
                  </a:lnTo>
                  <a:lnTo>
                    <a:pt x="894" y="1101"/>
                  </a:lnTo>
                  <a:lnTo>
                    <a:pt x="895" y="1097"/>
                  </a:lnTo>
                  <a:lnTo>
                    <a:pt x="895" y="1095"/>
                  </a:lnTo>
                  <a:lnTo>
                    <a:pt x="895" y="1021"/>
                  </a:lnTo>
                  <a:close/>
                  <a:moveTo>
                    <a:pt x="307" y="1021"/>
                  </a:moveTo>
                  <a:lnTo>
                    <a:pt x="222" y="1021"/>
                  </a:lnTo>
                  <a:lnTo>
                    <a:pt x="222" y="1095"/>
                  </a:lnTo>
                  <a:lnTo>
                    <a:pt x="222" y="1097"/>
                  </a:lnTo>
                  <a:lnTo>
                    <a:pt x="224" y="1101"/>
                  </a:lnTo>
                  <a:lnTo>
                    <a:pt x="225" y="1104"/>
                  </a:lnTo>
                  <a:lnTo>
                    <a:pt x="228" y="1107"/>
                  </a:lnTo>
                  <a:lnTo>
                    <a:pt x="230" y="1109"/>
                  </a:lnTo>
                  <a:lnTo>
                    <a:pt x="234" y="1111"/>
                  </a:lnTo>
                  <a:lnTo>
                    <a:pt x="237" y="1112"/>
                  </a:lnTo>
                  <a:lnTo>
                    <a:pt x="241" y="1112"/>
                  </a:lnTo>
                  <a:lnTo>
                    <a:pt x="288" y="1112"/>
                  </a:lnTo>
                  <a:lnTo>
                    <a:pt x="292" y="1112"/>
                  </a:lnTo>
                  <a:lnTo>
                    <a:pt x="296" y="1111"/>
                  </a:lnTo>
                  <a:lnTo>
                    <a:pt x="299" y="1109"/>
                  </a:lnTo>
                  <a:lnTo>
                    <a:pt x="301" y="1107"/>
                  </a:lnTo>
                  <a:lnTo>
                    <a:pt x="304" y="1104"/>
                  </a:lnTo>
                  <a:lnTo>
                    <a:pt x="305" y="1101"/>
                  </a:lnTo>
                  <a:lnTo>
                    <a:pt x="307" y="1097"/>
                  </a:lnTo>
                  <a:lnTo>
                    <a:pt x="307" y="1095"/>
                  </a:lnTo>
                  <a:lnTo>
                    <a:pt x="307" y="1021"/>
                  </a:lnTo>
                  <a:close/>
                  <a:moveTo>
                    <a:pt x="208" y="817"/>
                  </a:moveTo>
                  <a:lnTo>
                    <a:pt x="313" y="817"/>
                  </a:lnTo>
                  <a:lnTo>
                    <a:pt x="317" y="818"/>
                  </a:lnTo>
                  <a:lnTo>
                    <a:pt x="321" y="822"/>
                  </a:lnTo>
                  <a:lnTo>
                    <a:pt x="362" y="863"/>
                  </a:lnTo>
                  <a:lnTo>
                    <a:pt x="757" y="863"/>
                  </a:lnTo>
                  <a:lnTo>
                    <a:pt x="796" y="822"/>
                  </a:lnTo>
                  <a:lnTo>
                    <a:pt x="800" y="818"/>
                  </a:lnTo>
                  <a:lnTo>
                    <a:pt x="805" y="817"/>
                  </a:lnTo>
                  <a:lnTo>
                    <a:pt x="911" y="817"/>
                  </a:lnTo>
                  <a:lnTo>
                    <a:pt x="911" y="566"/>
                  </a:lnTo>
                  <a:lnTo>
                    <a:pt x="874" y="366"/>
                  </a:lnTo>
                  <a:lnTo>
                    <a:pt x="870" y="354"/>
                  </a:lnTo>
                  <a:lnTo>
                    <a:pt x="865" y="343"/>
                  </a:lnTo>
                  <a:lnTo>
                    <a:pt x="858" y="335"/>
                  </a:lnTo>
                  <a:lnTo>
                    <a:pt x="850" y="329"/>
                  </a:lnTo>
                  <a:lnTo>
                    <a:pt x="841" y="322"/>
                  </a:lnTo>
                  <a:lnTo>
                    <a:pt x="830" y="318"/>
                  </a:lnTo>
                  <a:lnTo>
                    <a:pt x="820" y="316"/>
                  </a:lnTo>
                  <a:lnTo>
                    <a:pt x="807" y="316"/>
                  </a:lnTo>
                  <a:lnTo>
                    <a:pt x="312" y="316"/>
                  </a:lnTo>
                  <a:lnTo>
                    <a:pt x="296" y="316"/>
                  </a:lnTo>
                  <a:lnTo>
                    <a:pt x="283" y="317"/>
                  </a:lnTo>
                  <a:lnTo>
                    <a:pt x="271" y="321"/>
                  </a:lnTo>
                  <a:lnTo>
                    <a:pt x="263" y="326"/>
                  </a:lnTo>
                  <a:lnTo>
                    <a:pt x="257" y="333"/>
                  </a:lnTo>
                  <a:lnTo>
                    <a:pt x="251" y="343"/>
                  </a:lnTo>
                  <a:lnTo>
                    <a:pt x="247" y="355"/>
                  </a:lnTo>
                  <a:lnTo>
                    <a:pt x="245" y="371"/>
                  </a:lnTo>
                  <a:lnTo>
                    <a:pt x="208" y="567"/>
                  </a:lnTo>
                  <a:lnTo>
                    <a:pt x="208" y="817"/>
                  </a:lnTo>
                  <a:close/>
                  <a:moveTo>
                    <a:pt x="828" y="387"/>
                  </a:moveTo>
                  <a:lnTo>
                    <a:pt x="828" y="387"/>
                  </a:lnTo>
                  <a:lnTo>
                    <a:pt x="828" y="387"/>
                  </a:lnTo>
                  <a:close/>
                  <a:moveTo>
                    <a:pt x="328" y="374"/>
                  </a:moveTo>
                  <a:lnTo>
                    <a:pt x="322" y="375"/>
                  </a:lnTo>
                  <a:lnTo>
                    <a:pt x="318" y="378"/>
                  </a:lnTo>
                  <a:lnTo>
                    <a:pt x="316" y="382"/>
                  </a:lnTo>
                  <a:lnTo>
                    <a:pt x="314" y="387"/>
                  </a:lnTo>
                  <a:lnTo>
                    <a:pt x="286" y="546"/>
                  </a:lnTo>
                  <a:lnTo>
                    <a:pt x="286" y="554"/>
                  </a:lnTo>
                  <a:lnTo>
                    <a:pt x="286" y="561"/>
                  </a:lnTo>
                  <a:lnTo>
                    <a:pt x="288" y="567"/>
                  </a:lnTo>
                  <a:lnTo>
                    <a:pt x="292" y="572"/>
                  </a:lnTo>
                  <a:lnTo>
                    <a:pt x="296" y="576"/>
                  </a:lnTo>
                  <a:lnTo>
                    <a:pt x="303" y="579"/>
                  </a:lnTo>
                  <a:lnTo>
                    <a:pt x="309" y="582"/>
                  </a:lnTo>
                  <a:lnTo>
                    <a:pt x="316" y="582"/>
                  </a:lnTo>
                  <a:lnTo>
                    <a:pt x="801" y="582"/>
                  </a:lnTo>
                  <a:lnTo>
                    <a:pt x="809" y="582"/>
                  </a:lnTo>
                  <a:lnTo>
                    <a:pt x="816" y="579"/>
                  </a:lnTo>
                  <a:lnTo>
                    <a:pt x="822" y="576"/>
                  </a:lnTo>
                  <a:lnTo>
                    <a:pt x="826" y="572"/>
                  </a:lnTo>
                  <a:lnTo>
                    <a:pt x="830" y="567"/>
                  </a:lnTo>
                  <a:lnTo>
                    <a:pt x="833" y="561"/>
                  </a:lnTo>
                  <a:lnTo>
                    <a:pt x="833" y="554"/>
                  </a:lnTo>
                  <a:lnTo>
                    <a:pt x="833" y="546"/>
                  </a:lnTo>
                  <a:lnTo>
                    <a:pt x="804" y="389"/>
                  </a:lnTo>
                  <a:lnTo>
                    <a:pt x="804" y="388"/>
                  </a:lnTo>
                  <a:lnTo>
                    <a:pt x="804" y="387"/>
                  </a:lnTo>
                  <a:lnTo>
                    <a:pt x="803" y="382"/>
                  </a:lnTo>
                  <a:lnTo>
                    <a:pt x="800" y="378"/>
                  </a:lnTo>
                  <a:lnTo>
                    <a:pt x="795" y="375"/>
                  </a:lnTo>
                  <a:lnTo>
                    <a:pt x="790" y="374"/>
                  </a:lnTo>
                  <a:lnTo>
                    <a:pt x="328" y="374"/>
                  </a:lnTo>
                  <a:close/>
                  <a:moveTo>
                    <a:pt x="801" y="607"/>
                  </a:moveTo>
                  <a:lnTo>
                    <a:pt x="316" y="607"/>
                  </a:lnTo>
                  <a:lnTo>
                    <a:pt x="304" y="605"/>
                  </a:lnTo>
                  <a:lnTo>
                    <a:pt x="292" y="601"/>
                  </a:lnTo>
                  <a:lnTo>
                    <a:pt x="287" y="599"/>
                  </a:lnTo>
                  <a:lnTo>
                    <a:pt x="282" y="596"/>
                  </a:lnTo>
                  <a:lnTo>
                    <a:pt x="278" y="592"/>
                  </a:lnTo>
                  <a:lnTo>
                    <a:pt x="274" y="588"/>
                  </a:lnTo>
                  <a:lnTo>
                    <a:pt x="270" y="583"/>
                  </a:lnTo>
                  <a:lnTo>
                    <a:pt x="267" y="579"/>
                  </a:lnTo>
                  <a:lnTo>
                    <a:pt x="264" y="574"/>
                  </a:lnTo>
                  <a:lnTo>
                    <a:pt x="263" y="567"/>
                  </a:lnTo>
                  <a:lnTo>
                    <a:pt x="261" y="555"/>
                  </a:lnTo>
                  <a:lnTo>
                    <a:pt x="262" y="542"/>
                  </a:lnTo>
                  <a:lnTo>
                    <a:pt x="291" y="386"/>
                  </a:lnTo>
                  <a:lnTo>
                    <a:pt x="292" y="379"/>
                  </a:lnTo>
                  <a:lnTo>
                    <a:pt x="293" y="372"/>
                  </a:lnTo>
                  <a:lnTo>
                    <a:pt x="297" y="366"/>
                  </a:lnTo>
                  <a:lnTo>
                    <a:pt x="301" y="361"/>
                  </a:lnTo>
                  <a:lnTo>
                    <a:pt x="308" y="357"/>
                  </a:lnTo>
                  <a:lnTo>
                    <a:pt x="313" y="353"/>
                  </a:lnTo>
                  <a:lnTo>
                    <a:pt x="321" y="350"/>
                  </a:lnTo>
                  <a:lnTo>
                    <a:pt x="328" y="350"/>
                  </a:lnTo>
                  <a:lnTo>
                    <a:pt x="790" y="350"/>
                  </a:lnTo>
                  <a:lnTo>
                    <a:pt x="797" y="350"/>
                  </a:lnTo>
                  <a:lnTo>
                    <a:pt x="804" y="353"/>
                  </a:lnTo>
                  <a:lnTo>
                    <a:pt x="811" y="357"/>
                  </a:lnTo>
                  <a:lnTo>
                    <a:pt x="816" y="361"/>
                  </a:lnTo>
                  <a:lnTo>
                    <a:pt x="821" y="366"/>
                  </a:lnTo>
                  <a:lnTo>
                    <a:pt x="824" y="372"/>
                  </a:lnTo>
                  <a:lnTo>
                    <a:pt x="826" y="379"/>
                  </a:lnTo>
                  <a:lnTo>
                    <a:pt x="828" y="386"/>
                  </a:lnTo>
                  <a:lnTo>
                    <a:pt x="857" y="542"/>
                  </a:lnTo>
                  <a:lnTo>
                    <a:pt x="857" y="555"/>
                  </a:lnTo>
                  <a:lnTo>
                    <a:pt x="855" y="567"/>
                  </a:lnTo>
                  <a:lnTo>
                    <a:pt x="854" y="574"/>
                  </a:lnTo>
                  <a:lnTo>
                    <a:pt x="851" y="579"/>
                  </a:lnTo>
                  <a:lnTo>
                    <a:pt x="849" y="583"/>
                  </a:lnTo>
                  <a:lnTo>
                    <a:pt x="845" y="588"/>
                  </a:lnTo>
                  <a:lnTo>
                    <a:pt x="841" y="592"/>
                  </a:lnTo>
                  <a:lnTo>
                    <a:pt x="837" y="596"/>
                  </a:lnTo>
                  <a:lnTo>
                    <a:pt x="832" y="599"/>
                  </a:lnTo>
                  <a:lnTo>
                    <a:pt x="826" y="601"/>
                  </a:lnTo>
                  <a:lnTo>
                    <a:pt x="815" y="605"/>
                  </a:lnTo>
                  <a:lnTo>
                    <a:pt x="801" y="607"/>
                  </a:lnTo>
                  <a:close/>
                </a:path>
              </a:pathLst>
            </a:custGeom>
            <a:solidFill>
              <a:srgbClr val="009900"/>
            </a:solidFill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4" name="Freeform 405"/>
            <p:cNvSpPr>
              <a:spLocks noEditPoints="1"/>
            </p:cNvSpPr>
            <p:nvPr/>
          </p:nvSpPr>
          <p:spPr bwMode="auto">
            <a:xfrm>
              <a:off x="6701047" y="3507971"/>
              <a:ext cx="109637" cy="15126"/>
            </a:xfrm>
            <a:custGeom>
              <a:avLst/>
              <a:gdLst>
                <a:gd name="T0" fmla="*/ 604 w 708"/>
                <a:gd name="T1" fmla="*/ 25 h 88"/>
                <a:gd name="T2" fmla="*/ 600 w 708"/>
                <a:gd name="T3" fmla="*/ 29 h 88"/>
                <a:gd name="T4" fmla="*/ 598 w 708"/>
                <a:gd name="T5" fmla="*/ 57 h 88"/>
                <a:gd name="T6" fmla="*/ 601 w 708"/>
                <a:gd name="T7" fmla="*/ 62 h 88"/>
                <a:gd name="T8" fmla="*/ 608 w 708"/>
                <a:gd name="T9" fmla="*/ 65 h 88"/>
                <a:gd name="T10" fmla="*/ 680 w 708"/>
                <a:gd name="T11" fmla="*/ 63 h 88"/>
                <a:gd name="T12" fmla="*/ 684 w 708"/>
                <a:gd name="T13" fmla="*/ 59 h 88"/>
                <a:gd name="T14" fmla="*/ 684 w 708"/>
                <a:gd name="T15" fmla="*/ 32 h 88"/>
                <a:gd name="T16" fmla="*/ 681 w 708"/>
                <a:gd name="T17" fmla="*/ 27 h 88"/>
                <a:gd name="T18" fmla="*/ 676 w 708"/>
                <a:gd name="T19" fmla="*/ 25 h 88"/>
                <a:gd name="T20" fmla="*/ 31 w 708"/>
                <a:gd name="T21" fmla="*/ 25 h 88"/>
                <a:gd name="T22" fmla="*/ 26 w 708"/>
                <a:gd name="T23" fmla="*/ 27 h 88"/>
                <a:gd name="T24" fmla="*/ 23 w 708"/>
                <a:gd name="T25" fmla="*/ 32 h 88"/>
                <a:gd name="T26" fmla="*/ 23 w 708"/>
                <a:gd name="T27" fmla="*/ 59 h 88"/>
                <a:gd name="T28" fmla="*/ 29 w 708"/>
                <a:gd name="T29" fmla="*/ 63 h 88"/>
                <a:gd name="T30" fmla="*/ 100 w 708"/>
                <a:gd name="T31" fmla="*/ 65 h 88"/>
                <a:gd name="T32" fmla="*/ 106 w 708"/>
                <a:gd name="T33" fmla="*/ 62 h 88"/>
                <a:gd name="T34" fmla="*/ 109 w 708"/>
                <a:gd name="T35" fmla="*/ 57 h 88"/>
                <a:gd name="T36" fmla="*/ 108 w 708"/>
                <a:gd name="T37" fmla="*/ 29 h 88"/>
                <a:gd name="T38" fmla="*/ 104 w 708"/>
                <a:gd name="T39" fmla="*/ 25 h 88"/>
                <a:gd name="T40" fmla="*/ 31 w 708"/>
                <a:gd name="T41" fmla="*/ 25 h 88"/>
                <a:gd name="T42" fmla="*/ 31 w 708"/>
                <a:gd name="T43" fmla="*/ 88 h 88"/>
                <a:gd name="T44" fmla="*/ 18 w 708"/>
                <a:gd name="T45" fmla="*/ 86 h 88"/>
                <a:gd name="T46" fmla="*/ 9 w 708"/>
                <a:gd name="T47" fmla="*/ 79 h 88"/>
                <a:gd name="T48" fmla="*/ 2 w 708"/>
                <a:gd name="T49" fmla="*/ 69 h 88"/>
                <a:gd name="T50" fmla="*/ 0 w 708"/>
                <a:gd name="T51" fmla="*/ 57 h 88"/>
                <a:gd name="T52" fmla="*/ 0 w 708"/>
                <a:gd name="T53" fmla="*/ 27 h 88"/>
                <a:gd name="T54" fmla="*/ 5 w 708"/>
                <a:gd name="T55" fmla="*/ 15 h 88"/>
                <a:gd name="T56" fmla="*/ 13 w 708"/>
                <a:gd name="T57" fmla="*/ 6 h 88"/>
                <a:gd name="T58" fmla="*/ 25 w 708"/>
                <a:gd name="T59" fmla="*/ 2 h 88"/>
                <a:gd name="T60" fmla="*/ 100 w 708"/>
                <a:gd name="T61" fmla="*/ 0 h 88"/>
                <a:gd name="T62" fmla="*/ 113 w 708"/>
                <a:gd name="T63" fmla="*/ 3 h 88"/>
                <a:gd name="T64" fmla="*/ 123 w 708"/>
                <a:gd name="T65" fmla="*/ 9 h 88"/>
                <a:gd name="T66" fmla="*/ 130 w 708"/>
                <a:gd name="T67" fmla="*/ 20 h 88"/>
                <a:gd name="T68" fmla="*/ 133 w 708"/>
                <a:gd name="T69" fmla="*/ 32 h 88"/>
                <a:gd name="T70" fmla="*/ 131 w 708"/>
                <a:gd name="T71" fmla="*/ 63 h 88"/>
                <a:gd name="T72" fmla="*/ 127 w 708"/>
                <a:gd name="T73" fmla="*/ 74 h 88"/>
                <a:gd name="T74" fmla="*/ 118 w 708"/>
                <a:gd name="T75" fmla="*/ 83 h 88"/>
                <a:gd name="T76" fmla="*/ 106 w 708"/>
                <a:gd name="T77" fmla="*/ 88 h 88"/>
                <a:gd name="T78" fmla="*/ 676 w 708"/>
                <a:gd name="T79" fmla="*/ 88 h 88"/>
                <a:gd name="T80" fmla="*/ 601 w 708"/>
                <a:gd name="T81" fmla="*/ 88 h 88"/>
                <a:gd name="T82" fmla="*/ 589 w 708"/>
                <a:gd name="T83" fmla="*/ 83 h 88"/>
                <a:gd name="T84" fmla="*/ 581 w 708"/>
                <a:gd name="T85" fmla="*/ 74 h 88"/>
                <a:gd name="T86" fmla="*/ 576 w 708"/>
                <a:gd name="T87" fmla="*/ 63 h 88"/>
                <a:gd name="T88" fmla="*/ 575 w 708"/>
                <a:gd name="T89" fmla="*/ 32 h 88"/>
                <a:gd name="T90" fmla="*/ 577 w 708"/>
                <a:gd name="T91" fmla="*/ 20 h 88"/>
                <a:gd name="T92" fmla="*/ 584 w 708"/>
                <a:gd name="T93" fmla="*/ 9 h 88"/>
                <a:gd name="T94" fmla="*/ 594 w 708"/>
                <a:gd name="T95" fmla="*/ 3 h 88"/>
                <a:gd name="T96" fmla="*/ 608 w 708"/>
                <a:gd name="T97" fmla="*/ 0 h 88"/>
                <a:gd name="T98" fmla="*/ 683 w 708"/>
                <a:gd name="T99" fmla="*/ 2 h 88"/>
                <a:gd name="T100" fmla="*/ 694 w 708"/>
                <a:gd name="T101" fmla="*/ 6 h 88"/>
                <a:gd name="T102" fmla="*/ 702 w 708"/>
                <a:gd name="T103" fmla="*/ 15 h 88"/>
                <a:gd name="T104" fmla="*/ 708 w 708"/>
                <a:gd name="T105" fmla="*/ 27 h 88"/>
                <a:gd name="T106" fmla="*/ 708 w 708"/>
                <a:gd name="T107" fmla="*/ 57 h 88"/>
                <a:gd name="T108" fmla="*/ 705 w 708"/>
                <a:gd name="T109" fmla="*/ 69 h 88"/>
                <a:gd name="T110" fmla="*/ 698 w 708"/>
                <a:gd name="T111" fmla="*/ 79 h 88"/>
                <a:gd name="T112" fmla="*/ 689 w 708"/>
                <a:gd name="T113" fmla="*/ 86 h 88"/>
                <a:gd name="T114" fmla="*/ 676 w 708"/>
                <a:gd name="T1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8" h="88">
                  <a:moveTo>
                    <a:pt x="608" y="25"/>
                  </a:moveTo>
                  <a:lnTo>
                    <a:pt x="604" y="25"/>
                  </a:lnTo>
                  <a:lnTo>
                    <a:pt x="601" y="27"/>
                  </a:lnTo>
                  <a:lnTo>
                    <a:pt x="600" y="29"/>
                  </a:lnTo>
                  <a:lnTo>
                    <a:pt x="598" y="32"/>
                  </a:lnTo>
                  <a:lnTo>
                    <a:pt x="598" y="57"/>
                  </a:lnTo>
                  <a:lnTo>
                    <a:pt x="600" y="59"/>
                  </a:lnTo>
                  <a:lnTo>
                    <a:pt x="601" y="62"/>
                  </a:lnTo>
                  <a:lnTo>
                    <a:pt x="604" y="63"/>
                  </a:lnTo>
                  <a:lnTo>
                    <a:pt x="608" y="65"/>
                  </a:lnTo>
                  <a:lnTo>
                    <a:pt x="676" y="65"/>
                  </a:lnTo>
                  <a:lnTo>
                    <a:pt x="680" y="63"/>
                  </a:lnTo>
                  <a:lnTo>
                    <a:pt x="681" y="62"/>
                  </a:lnTo>
                  <a:lnTo>
                    <a:pt x="684" y="59"/>
                  </a:lnTo>
                  <a:lnTo>
                    <a:pt x="684" y="57"/>
                  </a:lnTo>
                  <a:lnTo>
                    <a:pt x="684" y="32"/>
                  </a:lnTo>
                  <a:lnTo>
                    <a:pt x="684" y="29"/>
                  </a:lnTo>
                  <a:lnTo>
                    <a:pt x="681" y="27"/>
                  </a:lnTo>
                  <a:lnTo>
                    <a:pt x="680" y="25"/>
                  </a:lnTo>
                  <a:lnTo>
                    <a:pt x="676" y="25"/>
                  </a:lnTo>
                  <a:lnTo>
                    <a:pt x="608" y="25"/>
                  </a:lnTo>
                  <a:close/>
                  <a:moveTo>
                    <a:pt x="31" y="25"/>
                  </a:moveTo>
                  <a:lnTo>
                    <a:pt x="29" y="25"/>
                  </a:lnTo>
                  <a:lnTo>
                    <a:pt x="26" y="27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6" y="62"/>
                  </a:lnTo>
                  <a:lnTo>
                    <a:pt x="29" y="63"/>
                  </a:lnTo>
                  <a:lnTo>
                    <a:pt x="31" y="65"/>
                  </a:lnTo>
                  <a:lnTo>
                    <a:pt x="100" y="65"/>
                  </a:lnTo>
                  <a:lnTo>
                    <a:pt x="104" y="63"/>
                  </a:lnTo>
                  <a:lnTo>
                    <a:pt x="106" y="62"/>
                  </a:lnTo>
                  <a:lnTo>
                    <a:pt x="108" y="59"/>
                  </a:lnTo>
                  <a:lnTo>
                    <a:pt x="109" y="57"/>
                  </a:lnTo>
                  <a:lnTo>
                    <a:pt x="109" y="32"/>
                  </a:lnTo>
                  <a:lnTo>
                    <a:pt x="108" y="29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31" y="25"/>
                  </a:lnTo>
                  <a:close/>
                  <a:moveTo>
                    <a:pt x="100" y="88"/>
                  </a:moveTo>
                  <a:lnTo>
                    <a:pt x="31" y="88"/>
                  </a:lnTo>
                  <a:lnTo>
                    <a:pt x="25" y="88"/>
                  </a:lnTo>
                  <a:lnTo>
                    <a:pt x="18" y="86"/>
                  </a:lnTo>
                  <a:lnTo>
                    <a:pt x="13" y="83"/>
                  </a:lnTo>
                  <a:lnTo>
                    <a:pt x="9" y="79"/>
                  </a:lnTo>
                  <a:lnTo>
                    <a:pt x="5" y="74"/>
                  </a:lnTo>
                  <a:lnTo>
                    <a:pt x="2" y="69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32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3" y="6"/>
                  </a:lnTo>
                  <a:lnTo>
                    <a:pt x="18" y="3"/>
                  </a:lnTo>
                  <a:lnTo>
                    <a:pt x="25" y="2"/>
                  </a:lnTo>
                  <a:lnTo>
                    <a:pt x="31" y="0"/>
                  </a:lnTo>
                  <a:lnTo>
                    <a:pt x="100" y="0"/>
                  </a:lnTo>
                  <a:lnTo>
                    <a:pt x="106" y="2"/>
                  </a:lnTo>
                  <a:lnTo>
                    <a:pt x="113" y="3"/>
                  </a:lnTo>
                  <a:lnTo>
                    <a:pt x="118" y="6"/>
                  </a:lnTo>
                  <a:lnTo>
                    <a:pt x="123" y="9"/>
                  </a:lnTo>
                  <a:lnTo>
                    <a:pt x="127" y="15"/>
                  </a:lnTo>
                  <a:lnTo>
                    <a:pt x="130" y="20"/>
                  </a:lnTo>
                  <a:lnTo>
                    <a:pt x="131" y="27"/>
                  </a:lnTo>
                  <a:lnTo>
                    <a:pt x="133" y="32"/>
                  </a:lnTo>
                  <a:lnTo>
                    <a:pt x="133" y="57"/>
                  </a:lnTo>
                  <a:lnTo>
                    <a:pt x="131" y="63"/>
                  </a:lnTo>
                  <a:lnTo>
                    <a:pt x="130" y="69"/>
                  </a:lnTo>
                  <a:lnTo>
                    <a:pt x="127" y="74"/>
                  </a:lnTo>
                  <a:lnTo>
                    <a:pt x="123" y="79"/>
                  </a:lnTo>
                  <a:lnTo>
                    <a:pt x="118" y="83"/>
                  </a:lnTo>
                  <a:lnTo>
                    <a:pt x="113" y="86"/>
                  </a:lnTo>
                  <a:lnTo>
                    <a:pt x="106" y="88"/>
                  </a:lnTo>
                  <a:lnTo>
                    <a:pt x="100" y="88"/>
                  </a:lnTo>
                  <a:close/>
                  <a:moveTo>
                    <a:pt x="676" y="88"/>
                  </a:moveTo>
                  <a:lnTo>
                    <a:pt x="608" y="88"/>
                  </a:lnTo>
                  <a:lnTo>
                    <a:pt x="601" y="88"/>
                  </a:lnTo>
                  <a:lnTo>
                    <a:pt x="594" y="86"/>
                  </a:lnTo>
                  <a:lnTo>
                    <a:pt x="589" y="83"/>
                  </a:lnTo>
                  <a:lnTo>
                    <a:pt x="584" y="79"/>
                  </a:lnTo>
                  <a:lnTo>
                    <a:pt x="581" y="74"/>
                  </a:lnTo>
                  <a:lnTo>
                    <a:pt x="577" y="69"/>
                  </a:lnTo>
                  <a:lnTo>
                    <a:pt x="576" y="63"/>
                  </a:lnTo>
                  <a:lnTo>
                    <a:pt x="575" y="57"/>
                  </a:lnTo>
                  <a:lnTo>
                    <a:pt x="575" y="32"/>
                  </a:lnTo>
                  <a:lnTo>
                    <a:pt x="576" y="27"/>
                  </a:lnTo>
                  <a:lnTo>
                    <a:pt x="577" y="20"/>
                  </a:lnTo>
                  <a:lnTo>
                    <a:pt x="581" y="15"/>
                  </a:lnTo>
                  <a:lnTo>
                    <a:pt x="584" y="9"/>
                  </a:lnTo>
                  <a:lnTo>
                    <a:pt x="589" y="6"/>
                  </a:lnTo>
                  <a:lnTo>
                    <a:pt x="594" y="3"/>
                  </a:lnTo>
                  <a:lnTo>
                    <a:pt x="601" y="2"/>
                  </a:lnTo>
                  <a:lnTo>
                    <a:pt x="608" y="0"/>
                  </a:lnTo>
                  <a:lnTo>
                    <a:pt x="676" y="0"/>
                  </a:lnTo>
                  <a:lnTo>
                    <a:pt x="683" y="2"/>
                  </a:lnTo>
                  <a:lnTo>
                    <a:pt x="689" y="3"/>
                  </a:lnTo>
                  <a:lnTo>
                    <a:pt x="694" y="6"/>
                  </a:lnTo>
                  <a:lnTo>
                    <a:pt x="698" y="9"/>
                  </a:lnTo>
                  <a:lnTo>
                    <a:pt x="702" y="15"/>
                  </a:lnTo>
                  <a:lnTo>
                    <a:pt x="705" y="20"/>
                  </a:lnTo>
                  <a:lnTo>
                    <a:pt x="708" y="27"/>
                  </a:lnTo>
                  <a:lnTo>
                    <a:pt x="708" y="32"/>
                  </a:lnTo>
                  <a:lnTo>
                    <a:pt x="708" y="57"/>
                  </a:lnTo>
                  <a:lnTo>
                    <a:pt x="708" y="63"/>
                  </a:lnTo>
                  <a:lnTo>
                    <a:pt x="705" y="69"/>
                  </a:lnTo>
                  <a:lnTo>
                    <a:pt x="702" y="74"/>
                  </a:lnTo>
                  <a:lnTo>
                    <a:pt x="698" y="79"/>
                  </a:lnTo>
                  <a:lnTo>
                    <a:pt x="694" y="83"/>
                  </a:lnTo>
                  <a:lnTo>
                    <a:pt x="689" y="86"/>
                  </a:lnTo>
                  <a:lnTo>
                    <a:pt x="683" y="88"/>
                  </a:lnTo>
                  <a:lnTo>
                    <a:pt x="676" y="88"/>
                  </a:lnTo>
                  <a:close/>
                </a:path>
              </a:pathLst>
            </a:custGeom>
            <a:solidFill>
              <a:srgbClr val="009900"/>
            </a:solidFill>
            <a:ln w="3175">
              <a:solidFill>
                <a:srgbClr val="009900">
                  <a:alpha val="4000"/>
                </a:srgb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05" name="Picture42"/>
          <p:cNvSpPr>
            <a:spLocks noChangeAspect="1" noEditPoints="1"/>
          </p:cNvSpPr>
          <p:nvPr/>
        </p:nvSpPr>
        <p:spPr bwMode="auto">
          <a:xfrm>
            <a:off x="1075340" y="3251980"/>
            <a:ext cx="118911" cy="204396"/>
          </a:xfrm>
          <a:custGeom>
            <a:avLst/>
            <a:gdLst>
              <a:gd name="T0" fmla="*/ 580 w 740"/>
              <a:gd name="T1" fmla="*/ 1238 h 1272"/>
              <a:gd name="T2" fmla="*/ 514 w 740"/>
              <a:gd name="T3" fmla="*/ 1188 h 1272"/>
              <a:gd name="T4" fmla="*/ 437 w 740"/>
              <a:gd name="T5" fmla="*/ 1205 h 1272"/>
              <a:gd name="T6" fmla="*/ 158 w 740"/>
              <a:gd name="T7" fmla="*/ 1251 h 1272"/>
              <a:gd name="T8" fmla="*/ 321 w 740"/>
              <a:gd name="T9" fmla="*/ 1226 h 1272"/>
              <a:gd name="T10" fmla="*/ 242 w 740"/>
              <a:gd name="T11" fmla="*/ 1187 h 1272"/>
              <a:gd name="T12" fmla="*/ 172 w 740"/>
              <a:gd name="T13" fmla="*/ 1215 h 1272"/>
              <a:gd name="T14" fmla="*/ 309 w 740"/>
              <a:gd name="T15" fmla="*/ 339 h 1272"/>
              <a:gd name="T16" fmla="*/ 176 w 740"/>
              <a:gd name="T17" fmla="*/ 363 h 1272"/>
              <a:gd name="T18" fmla="*/ 1 w 740"/>
              <a:gd name="T19" fmla="*/ 717 h 1272"/>
              <a:gd name="T20" fmla="*/ 19 w 740"/>
              <a:gd name="T21" fmla="*/ 770 h 1272"/>
              <a:gd name="T22" fmla="*/ 72 w 740"/>
              <a:gd name="T23" fmla="*/ 776 h 1272"/>
              <a:gd name="T24" fmla="*/ 190 w 740"/>
              <a:gd name="T25" fmla="*/ 357 h 1272"/>
              <a:gd name="T26" fmla="*/ 562 w 740"/>
              <a:gd name="T27" fmla="*/ 363 h 1272"/>
              <a:gd name="T28" fmla="*/ 647 w 740"/>
              <a:gd name="T29" fmla="*/ 759 h 1272"/>
              <a:gd name="T30" fmla="*/ 710 w 740"/>
              <a:gd name="T31" fmla="*/ 776 h 1272"/>
              <a:gd name="T32" fmla="*/ 740 w 740"/>
              <a:gd name="T33" fmla="*/ 737 h 1272"/>
              <a:gd name="T34" fmla="*/ 523 w 740"/>
              <a:gd name="T35" fmla="*/ 184 h 1272"/>
              <a:gd name="T36" fmla="*/ 308 w 740"/>
              <a:gd name="T37" fmla="*/ 188 h 1272"/>
              <a:gd name="T38" fmla="*/ 232 w 740"/>
              <a:gd name="T39" fmla="*/ 170 h 1272"/>
              <a:gd name="T40" fmla="*/ 266 w 740"/>
              <a:gd name="T41" fmla="*/ 247 h 1272"/>
              <a:gd name="T42" fmla="*/ 335 w 740"/>
              <a:gd name="T43" fmla="*/ 291 h 1272"/>
              <a:gd name="T44" fmla="*/ 404 w 740"/>
              <a:gd name="T45" fmla="*/ 294 h 1272"/>
              <a:gd name="T46" fmla="*/ 471 w 740"/>
              <a:gd name="T47" fmla="*/ 265 h 1272"/>
              <a:gd name="T48" fmla="*/ 514 w 740"/>
              <a:gd name="T49" fmla="*/ 208 h 1272"/>
              <a:gd name="T50" fmla="*/ 286 w 740"/>
              <a:gd name="T51" fmla="*/ 138 h 1272"/>
              <a:gd name="T52" fmla="*/ 454 w 740"/>
              <a:gd name="T53" fmla="*/ 155 h 1272"/>
              <a:gd name="T54" fmla="*/ 526 w 740"/>
              <a:gd name="T55" fmla="*/ 141 h 1272"/>
              <a:gd name="T56" fmla="*/ 517 w 740"/>
              <a:gd name="T57" fmla="*/ 97 h 1272"/>
              <a:gd name="T58" fmla="*/ 469 w 740"/>
              <a:gd name="T59" fmla="*/ 31 h 1272"/>
              <a:gd name="T60" fmla="*/ 393 w 740"/>
              <a:gd name="T61" fmla="*/ 1 h 1272"/>
              <a:gd name="T62" fmla="*/ 297 w 740"/>
              <a:gd name="T63" fmla="*/ 25 h 1272"/>
              <a:gd name="T64" fmla="*/ 362 w 740"/>
              <a:gd name="T65" fmla="*/ 82 h 1272"/>
              <a:gd name="T66" fmla="*/ 434 w 740"/>
              <a:gd name="T67" fmla="*/ 133 h 1272"/>
              <a:gd name="T68" fmla="*/ 339 w 740"/>
              <a:gd name="T69" fmla="*/ 108 h 1272"/>
              <a:gd name="T70" fmla="*/ 236 w 740"/>
              <a:gd name="T71" fmla="*/ 46 h 1272"/>
              <a:gd name="T72" fmla="*/ 151 w 740"/>
              <a:gd name="T73" fmla="*/ 52 h 1272"/>
              <a:gd name="T74" fmla="*/ 132 w 740"/>
              <a:gd name="T75" fmla="*/ 96 h 1272"/>
              <a:gd name="T76" fmla="*/ 163 w 740"/>
              <a:gd name="T77" fmla="*/ 112 h 1272"/>
              <a:gd name="T78" fmla="*/ 250 w 740"/>
              <a:gd name="T79" fmla="*/ 123 h 1272"/>
              <a:gd name="T80" fmla="*/ 431 w 740"/>
              <a:gd name="T81" fmla="*/ 623 h 1272"/>
              <a:gd name="T82" fmla="*/ 158 w 740"/>
              <a:gd name="T83" fmla="*/ 1157 h 1272"/>
              <a:gd name="T84" fmla="*/ 169 w 740"/>
              <a:gd name="T85" fmla="*/ 972 h 1272"/>
              <a:gd name="T86" fmla="*/ 217 w 740"/>
              <a:gd name="T87" fmla="*/ 921 h 1272"/>
              <a:gd name="T88" fmla="*/ 238 w 740"/>
              <a:gd name="T89" fmla="*/ 831 h 1272"/>
              <a:gd name="T90" fmla="*/ 507 w 740"/>
              <a:gd name="T91" fmla="*/ 865 h 1272"/>
              <a:gd name="T92" fmla="*/ 543 w 740"/>
              <a:gd name="T93" fmla="*/ 951 h 1272"/>
              <a:gd name="T94" fmla="*/ 387 w 740"/>
              <a:gd name="T95" fmla="*/ 1187 h 1272"/>
              <a:gd name="T96" fmla="*/ 522 w 740"/>
              <a:gd name="T97" fmla="*/ 341 h 1272"/>
              <a:gd name="T98" fmla="*/ 280 w 740"/>
              <a:gd name="T99" fmla="*/ 341 h 1272"/>
              <a:gd name="T100" fmla="*/ 218 w 740"/>
              <a:gd name="T101" fmla="*/ 604 h 1272"/>
              <a:gd name="T102" fmla="*/ 158 w 740"/>
              <a:gd name="T103" fmla="*/ 741 h 1272"/>
              <a:gd name="T104" fmla="*/ 263 w 740"/>
              <a:gd name="T105" fmla="*/ 868 h 1272"/>
              <a:gd name="T106" fmla="*/ 221 w 740"/>
              <a:gd name="T107" fmla="*/ 967 h 1272"/>
              <a:gd name="T108" fmla="*/ 158 w 740"/>
              <a:gd name="T109" fmla="*/ 1127 h 1272"/>
              <a:gd name="T110" fmla="*/ 582 w 740"/>
              <a:gd name="T111" fmla="*/ 1006 h 1272"/>
              <a:gd name="T112" fmla="*/ 517 w 740"/>
              <a:gd name="T113" fmla="*/ 967 h 1272"/>
              <a:gd name="T114" fmla="*/ 477 w 740"/>
              <a:gd name="T115" fmla="*/ 868 h 1272"/>
              <a:gd name="T116" fmla="*/ 582 w 740"/>
              <a:gd name="T117" fmla="*/ 741 h 1272"/>
              <a:gd name="T118" fmla="*/ 522 w 740"/>
              <a:gd name="T119" fmla="*/ 604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40" h="1272">
                <a:moveTo>
                  <a:pt x="413" y="1251"/>
                </a:moveTo>
                <a:lnTo>
                  <a:pt x="413" y="1272"/>
                </a:lnTo>
                <a:lnTo>
                  <a:pt x="582" y="1272"/>
                </a:lnTo>
                <a:lnTo>
                  <a:pt x="582" y="1251"/>
                </a:lnTo>
                <a:lnTo>
                  <a:pt x="582" y="1251"/>
                </a:lnTo>
                <a:lnTo>
                  <a:pt x="580" y="1238"/>
                </a:lnTo>
                <a:lnTo>
                  <a:pt x="576" y="1226"/>
                </a:lnTo>
                <a:lnTo>
                  <a:pt x="567" y="1215"/>
                </a:lnTo>
                <a:lnTo>
                  <a:pt x="556" y="1205"/>
                </a:lnTo>
                <a:lnTo>
                  <a:pt x="544" y="1197"/>
                </a:lnTo>
                <a:lnTo>
                  <a:pt x="529" y="1191"/>
                </a:lnTo>
                <a:lnTo>
                  <a:pt x="514" y="1188"/>
                </a:lnTo>
                <a:lnTo>
                  <a:pt x="496" y="1187"/>
                </a:lnTo>
                <a:lnTo>
                  <a:pt x="496" y="1187"/>
                </a:lnTo>
                <a:lnTo>
                  <a:pt x="480" y="1188"/>
                </a:lnTo>
                <a:lnTo>
                  <a:pt x="463" y="1191"/>
                </a:lnTo>
                <a:lnTo>
                  <a:pt x="450" y="1197"/>
                </a:lnTo>
                <a:lnTo>
                  <a:pt x="437" y="1205"/>
                </a:lnTo>
                <a:lnTo>
                  <a:pt x="426" y="1215"/>
                </a:lnTo>
                <a:lnTo>
                  <a:pt x="419" y="1226"/>
                </a:lnTo>
                <a:lnTo>
                  <a:pt x="414" y="1238"/>
                </a:lnTo>
                <a:lnTo>
                  <a:pt x="413" y="1251"/>
                </a:lnTo>
                <a:lnTo>
                  <a:pt x="413" y="1251"/>
                </a:lnTo>
                <a:close/>
                <a:moveTo>
                  <a:pt x="158" y="1251"/>
                </a:moveTo>
                <a:lnTo>
                  <a:pt x="158" y="1272"/>
                </a:lnTo>
                <a:lnTo>
                  <a:pt x="327" y="1272"/>
                </a:lnTo>
                <a:lnTo>
                  <a:pt x="327" y="1251"/>
                </a:lnTo>
                <a:lnTo>
                  <a:pt x="327" y="1251"/>
                </a:lnTo>
                <a:lnTo>
                  <a:pt x="326" y="1238"/>
                </a:lnTo>
                <a:lnTo>
                  <a:pt x="321" y="1226"/>
                </a:lnTo>
                <a:lnTo>
                  <a:pt x="312" y="1215"/>
                </a:lnTo>
                <a:lnTo>
                  <a:pt x="302" y="1205"/>
                </a:lnTo>
                <a:lnTo>
                  <a:pt x="290" y="1197"/>
                </a:lnTo>
                <a:lnTo>
                  <a:pt x="275" y="1191"/>
                </a:lnTo>
                <a:lnTo>
                  <a:pt x="260" y="1188"/>
                </a:lnTo>
                <a:lnTo>
                  <a:pt x="242" y="1187"/>
                </a:lnTo>
                <a:lnTo>
                  <a:pt x="242" y="1187"/>
                </a:lnTo>
                <a:lnTo>
                  <a:pt x="226" y="1188"/>
                </a:lnTo>
                <a:lnTo>
                  <a:pt x="209" y="1191"/>
                </a:lnTo>
                <a:lnTo>
                  <a:pt x="196" y="1197"/>
                </a:lnTo>
                <a:lnTo>
                  <a:pt x="182" y="1205"/>
                </a:lnTo>
                <a:lnTo>
                  <a:pt x="172" y="1215"/>
                </a:lnTo>
                <a:lnTo>
                  <a:pt x="164" y="1226"/>
                </a:lnTo>
                <a:lnTo>
                  <a:pt x="160" y="1238"/>
                </a:lnTo>
                <a:lnTo>
                  <a:pt x="158" y="1251"/>
                </a:lnTo>
                <a:lnTo>
                  <a:pt x="158" y="1251"/>
                </a:lnTo>
                <a:close/>
                <a:moveTo>
                  <a:pt x="431" y="339"/>
                </a:moveTo>
                <a:lnTo>
                  <a:pt x="309" y="339"/>
                </a:lnTo>
                <a:lnTo>
                  <a:pt x="309" y="432"/>
                </a:lnTo>
                <a:lnTo>
                  <a:pt x="431" y="432"/>
                </a:lnTo>
                <a:lnTo>
                  <a:pt x="431" y="339"/>
                </a:lnTo>
                <a:close/>
                <a:moveTo>
                  <a:pt x="190" y="357"/>
                </a:moveTo>
                <a:lnTo>
                  <a:pt x="190" y="357"/>
                </a:lnTo>
                <a:lnTo>
                  <a:pt x="176" y="363"/>
                </a:lnTo>
                <a:lnTo>
                  <a:pt x="166" y="371"/>
                </a:lnTo>
                <a:lnTo>
                  <a:pt x="155" y="381"/>
                </a:lnTo>
                <a:lnTo>
                  <a:pt x="149" y="393"/>
                </a:lnTo>
                <a:lnTo>
                  <a:pt x="4" y="707"/>
                </a:lnTo>
                <a:lnTo>
                  <a:pt x="4" y="707"/>
                </a:lnTo>
                <a:lnTo>
                  <a:pt x="1" y="717"/>
                </a:lnTo>
                <a:lnTo>
                  <a:pt x="0" y="726"/>
                </a:lnTo>
                <a:lnTo>
                  <a:pt x="0" y="737"/>
                </a:lnTo>
                <a:lnTo>
                  <a:pt x="1" y="746"/>
                </a:lnTo>
                <a:lnTo>
                  <a:pt x="6" y="755"/>
                </a:lnTo>
                <a:lnTo>
                  <a:pt x="12" y="762"/>
                </a:lnTo>
                <a:lnTo>
                  <a:pt x="19" y="770"/>
                </a:lnTo>
                <a:lnTo>
                  <a:pt x="30" y="776"/>
                </a:lnTo>
                <a:lnTo>
                  <a:pt x="30" y="776"/>
                </a:lnTo>
                <a:lnTo>
                  <a:pt x="39" y="780"/>
                </a:lnTo>
                <a:lnTo>
                  <a:pt x="51" y="782"/>
                </a:lnTo>
                <a:lnTo>
                  <a:pt x="61" y="780"/>
                </a:lnTo>
                <a:lnTo>
                  <a:pt x="72" y="776"/>
                </a:lnTo>
                <a:lnTo>
                  <a:pt x="82" y="768"/>
                </a:lnTo>
                <a:lnTo>
                  <a:pt x="93" y="759"/>
                </a:lnTo>
                <a:lnTo>
                  <a:pt x="102" y="750"/>
                </a:lnTo>
                <a:lnTo>
                  <a:pt x="109" y="738"/>
                </a:lnTo>
                <a:lnTo>
                  <a:pt x="190" y="568"/>
                </a:lnTo>
                <a:lnTo>
                  <a:pt x="190" y="357"/>
                </a:lnTo>
                <a:close/>
                <a:moveTo>
                  <a:pt x="736" y="707"/>
                </a:moveTo>
                <a:lnTo>
                  <a:pt x="591" y="393"/>
                </a:lnTo>
                <a:lnTo>
                  <a:pt x="591" y="393"/>
                </a:lnTo>
                <a:lnTo>
                  <a:pt x="583" y="381"/>
                </a:lnTo>
                <a:lnTo>
                  <a:pt x="574" y="371"/>
                </a:lnTo>
                <a:lnTo>
                  <a:pt x="562" y="363"/>
                </a:lnTo>
                <a:lnTo>
                  <a:pt x="550" y="357"/>
                </a:lnTo>
                <a:lnTo>
                  <a:pt x="550" y="568"/>
                </a:lnTo>
                <a:lnTo>
                  <a:pt x="631" y="738"/>
                </a:lnTo>
                <a:lnTo>
                  <a:pt x="631" y="738"/>
                </a:lnTo>
                <a:lnTo>
                  <a:pt x="638" y="750"/>
                </a:lnTo>
                <a:lnTo>
                  <a:pt x="647" y="759"/>
                </a:lnTo>
                <a:lnTo>
                  <a:pt x="656" y="768"/>
                </a:lnTo>
                <a:lnTo>
                  <a:pt x="667" y="776"/>
                </a:lnTo>
                <a:lnTo>
                  <a:pt x="679" y="780"/>
                </a:lnTo>
                <a:lnTo>
                  <a:pt x="689" y="782"/>
                </a:lnTo>
                <a:lnTo>
                  <a:pt x="700" y="780"/>
                </a:lnTo>
                <a:lnTo>
                  <a:pt x="710" y="776"/>
                </a:lnTo>
                <a:lnTo>
                  <a:pt x="710" y="776"/>
                </a:lnTo>
                <a:lnTo>
                  <a:pt x="719" y="770"/>
                </a:lnTo>
                <a:lnTo>
                  <a:pt x="727" y="762"/>
                </a:lnTo>
                <a:lnTo>
                  <a:pt x="733" y="755"/>
                </a:lnTo>
                <a:lnTo>
                  <a:pt x="737" y="746"/>
                </a:lnTo>
                <a:lnTo>
                  <a:pt x="740" y="737"/>
                </a:lnTo>
                <a:lnTo>
                  <a:pt x="740" y="726"/>
                </a:lnTo>
                <a:lnTo>
                  <a:pt x="739" y="717"/>
                </a:lnTo>
                <a:lnTo>
                  <a:pt x="736" y="707"/>
                </a:lnTo>
                <a:lnTo>
                  <a:pt x="736" y="707"/>
                </a:lnTo>
                <a:close/>
                <a:moveTo>
                  <a:pt x="523" y="184"/>
                </a:moveTo>
                <a:lnTo>
                  <a:pt x="523" y="184"/>
                </a:lnTo>
                <a:lnTo>
                  <a:pt x="480" y="193"/>
                </a:lnTo>
                <a:lnTo>
                  <a:pt x="441" y="199"/>
                </a:lnTo>
                <a:lnTo>
                  <a:pt x="404" y="200"/>
                </a:lnTo>
                <a:lnTo>
                  <a:pt x="371" y="199"/>
                </a:lnTo>
                <a:lnTo>
                  <a:pt x="338" y="194"/>
                </a:lnTo>
                <a:lnTo>
                  <a:pt x="308" y="188"/>
                </a:lnTo>
                <a:lnTo>
                  <a:pt x="280" y="179"/>
                </a:lnTo>
                <a:lnTo>
                  <a:pt x="251" y="167"/>
                </a:lnTo>
                <a:lnTo>
                  <a:pt x="251" y="167"/>
                </a:lnTo>
                <a:lnTo>
                  <a:pt x="230" y="155"/>
                </a:lnTo>
                <a:lnTo>
                  <a:pt x="230" y="155"/>
                </a:lnTo>
                <a:lnTo>
                  <a:pt x="232" y="170"/>
                </a:lnTo>
                <a:lnTo>
                  <a:pt x="235" y="184"/>
                </a:lnTo>
                <a:lnTo>
                  <a:pt x="239" y="199"/>
                </a:lnTo>
                <a:lnTo>
                  <a:pt x="244" y="211"/>
                </a:lnTo>
                <a:lnTo>
                  <a:pt x="250" y="223"/>
                </a:lnTo>
                <a:lnTo>
                  <a:pt x="257" y="235"/>
                </a:lnTo>
                <a:lnTo>
                  <a:pt x="266" y="247"/>
                </a:lnTo>
                <a:lnTo>
                  <a:pt x="277" y="256"/>
                </a:lnTo>
                <a:lnTo>
                  <a:pt x="287" y="265"/>
                </a:lnTo>
                <a:lnTo>
                  <a:pt x="297" y="274"/>
                </a:lnTo>
                <a:lnTo>
                  <a:pt x="309" y="280"/>
                </a:lnTo>
                <a:lnTo>
                  <a:pt x="323" y="285"/>
                </a:lnTo>
                <a:lnTo>
                  <a:pt x="335" y="291"/>
                </a:lnTo>
                <a:lnTo>
                  <a:pt x="350" y="294"/>
                </a:lnTo>
                <a:lnTo>
                  <a:pt x="363" y="296"/>
                </a:lnTo>
                <a:lnTo>
                  <a:pt x="378" y="297"/>
                </a:lnTo>
                <a:lnTo>
                  <a:pt x="378" y="297"/>
                </a:lnTo>
                <a:lnTo>
                  <a:pt x="392" y="296"/>
                </a:lnTo>
                <a:lnTo>
                  <a:pt x="404" y="294"/>
                </a:lnTo>
                <a:lnTo>
                  <a:pt x="416" y="291"/>
                </a:lnTo>
                <a:lnTo>
                  <a:pt x="428" y="288"/>
                </a:lnTo>
                <a:lnTo>
                  <a:pt x="440" y="284"/>
                </a:lnTo>
                <a:lnTo>
                  <a:pt x="450" y="278"/>
                </a:lnTo>
                <a:lnTo>
                  <a:pt x="460" y="272"/>
                </a:lnTo>
                <a:lnTo>
                  <a:pt x="471" y="265"/>
                </a:lnTo>
                <a:lnTo>
                  <a:pt x="480" y="257"/>
                </a:lnTo>
                <a:lnTo>
                  <a:pt x="489" y="248"/>
                </a:lnTo>
                <a:lnTo>
                  <a:pt x="496" y="239"/>
                </a:lnTo>
                <a:lnTo>
                  <a:pt x="504" y="229"/>
                </a:lnTo>
                <a:lnTo>
                  <a:pt x="510" y="218"/>
                </a:lnTo>
                <a:lnTo>
                  <a:pt x="514" y="208"/>
                </a:lnTo>
                <a:lnTo>
                  <a:pt x="519" y="196"/>
                </a:lnTo>
                <a:lnTo>
                  <a:pt x="523" y="184"/>
                </a:lnTo>
                <a:lnTo>
                  <a:pt x="523" y="184"/>
                </a:lnTo>
                <a:close/>
                <a:moveTo>
                  <a:pt x="268" y="130"/>
                </a:moveTo>
                <a:lnTo>
                  <a:pt x="268" y="130"/>
                </a:lnTo>
                <a:lnTo>
                  <a:pt x="286" y="138"/>
                </a:lnTo>
                <a:lnTo>
                  <a:pt x="305" y="145"/>
                </a:lnTo>
                <a:lnTo>
                  <a:pt x="327" y="151"/>
                </a:lnTo>
                <a:lnTo>
                  <a:pt x="353" y="155"/>
                </a:lnTo>
                <a:lnTo>
                  <a:pt x="383" y="158"/>
                </a:lnTo>
                <a:lnTo>
                  <a:pt x="416" y="158"/>
                </a:lnTo>
                <a:lnTo>
                  <a:pt x="454" y="155"/>
                </a:lnTo>
                <a:lnTo>
                  <a:pt x="477" y="151"/>
                </a:lnTo>
                <a:lnTo>
                  <a:pt x="499" y="146"/>
                </a:lnTo>
                <a:lnTo>
                  <a:pt x="499" y="146"/>
                </a:lnTo>
                <a:lnTo>
                  <a:pt x="526" y="145"/>
                </a:lnTo>
                <a:lnTo>
                  <a:pt x="526" y="145"/>
                </a:lnTo>
                <a:lnTo>
                  <a:pt x="526" y="141"/>
                </a:lnTo>
                <a:lnTo>
                  <a:pt x="526" y="141"/>
                </a:lnTo>
                <a:lnTo>
                  <a:pt x="526" y="139"/>
                </a:lnTo>
                <a:lnTo>
                  <a:pt x="526" y="139"/>
                </a:lnTo>
                <a:lnTo>
                  <a:pt x="525" y="126"/>
                </a:lnTo>
                <a:lnTo>
                  <a:pt x="522" y="111"/>
                </a:lnTo>
                <a:lnTo>
                  <a:pt x="517" y="97"/>
                </a:lnTo>
                <a:lnTo>
                  <a:pt x="513" y="85"/>
                </a:lnTo>
                <a:lnTo>
                  <a:pt x="505" y="73"/>
                </a:lnTo>
                <a:lnTo>
                  <a:pt x="498" y="61"/>
                </a:lnTo>
                <a:lnTo>
                  <a:pt x="489" y="51"/>
                </a:lnTo>
                <a:lnTo>
                  <a:pt x="480" y="40"/>
                </a:lnTo>
                <a:lnTo>
                  <a:pt x="469" y="31"/>
                </a:lnTo>
                <a:lnTo>
                  <a:pt x="459" y="24"/>
                </a:lnTo>
                <a:lnTo>
                  <a:pt x="447" y="16"/>
                </a:lnTo>
                <a:lnTo>
                  <a:pt x="434" y="12"/>
                </a:lnTo>
                <a:lnTo>
                  <a:pt x="422" y="6"/>
                </a:lnTo>
                <a:lnTo>
                  <a:pt x="407" y="3"/>
                </a:lnTo>
                <a:lnTo>
                  <a:pt x="393" y="1"/>
                </a:lnTo>
                <a:lnTo>
                  <a:pt x="378" y="0"/>
                </a:lnTo>
                <a:lnTo>
                  <a:pt x="378" y="0"/>
                </a:lnTo>
                <a:lnTo>
                  <a:pt x="356" y="1"/>
                </a:lnTo>
                <a:lnTo>
                  <a:pt x="335" y="7"/>
                </a:lnTo>
                <a:lnTo>
                  <a:pt x="315" y="15"/>
                </a:lnTo>
                <a:lnTo>
                  <a:pt x="297" y="25"/>
                </a:lnTo>
                <a:lnTo>
                  <a:pt x="297" y="25"/>
                </a:lnTo>
                <a:lnTo>
                  <a:pt x="309" y="34"/>
                </a:lnTo>
                <a:lnTo>
                  <a:pt x="323" y="43"/>
                </a:lnTo>
                <a:lnTo>
                  <a:pt x="350" y="69"/>
                </a:lnTo>
                <a:lnTo>
                  <a:pt x="350" y="69"/>
                </a:lnTo>
                <a:lnTo>
                  <a:pt x="362" y="82"/>
                </a:lnTo>
                <a:lnTo>
                  <a:pt x="375" y="93"/>
                </a:lnTo>
                <a:lnTo>
                  <a:pt x="398" y="111"/>
                </a:lnTo>
                <a:lnTo>
                  <a:pt x="420" y="123"/>
                </a:lnTo>
                <a:lnTo>
                  <a:pt x="440" y="132"/>
                </a:lnTo>
                <a:lnTo>
                  <a:pt x="440" y="132"/>
                </a:lnTo>
                <a:lnTo>
                  <a:pt x="434" y="133"/>
                </a:lnTo>
                <a:lnTo>
                  <a:pt x="426" y="136"/>
                </a:lnTo>
                <a:lnTo>
                  <a:pt x="416" y="138"/>
                </a:lnTo>
                <a:lnTo>
                  <a:pt x="402" y="136"/>
                </a:lnTo>
                <a:lnTo>
                  <a:pt x="386" y="132"/>
                </a:lnTo>
                <a:lnTo>
                  <a:pt x="365" y="123"/>
                </a:lnTo>
                <a:lnTo>
                  <a:pt x="339" y="108"/>
                </a:lnTo>
                <a:lnTo>
                  <a:pt x="309" y="85"/>
                </a:lnTo>
                <a:lnTo>
                  <a:pt x="309" y="85"/>
                </a:lnTo>
                <a:lnTo>
                  <a:pt x="290" y="72"/>
                </a:lnTo>
                <a:lnTo>
                  <a:pt x="272" y="60"/>
                </a:lnTo>
                <a:lnTo>
                  <a:pt x="254" y="52"/>
                </a:lnTo>
                <a:lnTo>
                  <a:pt x="236" y="46"/>
                </a:lnTo>
                <a:lnTo>
                  <a:pt x="218" y="42"/>
                </a:lnTo>
                <a:lnTo>
                  <a:pt x="202" y="40"/>
                </a:lnTo>
                <a:lnTo>
                  <a:pt x="187" y="42"/>
                </a:lnTo>
                <a:lnTo>
                  <a:pt x="173" y="43"/>
                </a:lnTo>
                <a:lnTo>
                  <a:pt x="161" y="46"/>
                </a:lnTo>
                <a:lnTo>
                  <a:pt x="151" y="52"/>
                </a:lnTo>
                <a:lnTo>
                  <a:pt x="142" y="58"/>
                </a:lnTo>
                <a:lnTo>
                  <a:pt x="135" y="64"/>
                </a:lnTo>
                <a:lnTo>
                  <a:pt x="130" y="72"/>
                </a:lnTo>
                <a:lnTo>
                  <a:pt x="129" y="79"/>
                </a:lnTo>
                <a:lnTo>
                  <a:pt x="129" y="88"/>
                </a:lnTo>
                <a:lnTo>
                  <a:pt x="132" y="96"/>
                </a:lnTo>
                <a:lnTo>
                  <a:pt x="132" y="96"/>
                </a:lnTo>
                <a:lnTo>
                  <a:pt x="138" y="103"/>
                </a:lnTo>
                <a:lnTo>
                  <a:pt x="142" y="106"/>
                </a:lnTo>
                <a:lnTo>
                  <a:pt x="148" y="109"/>
                </a:lnTo>
                <a:lnTo>
                  <a:pt x="152" y="112"/>
                </a:lnTo>
                <a:lnTo>
                  <a:pt x="163" y="112"/>
                </a:lnTo>
                <a:lnTo>
                  <a:pt x="175" y="111"/>
                </a:lnTo>
                <a:lnTo>
                  <a:pt x="190" y="111"/>
                </a:lnTo>
                <a:lnTo>
                  <a:pt x="209" y="112"/>
                </a:lnTo>
                <a:lnTo>
                  <a:pt x="221" y="114"/>
                </a:lnTo>
                <a:lnTo>
                  <a:pt x="235" y="118"/>
                </a:lnTo>
                <a:lnTo>
                  <a:pt x="250" y="123"/>
                </a:lnTo>
                <a:lnTo>
                  <a:pt x="268" y="130"/>
                </a:lnTo>
                <a:lnTo>
                  <a:pt x="268" y="130"/>
                </a:lnTo>
                <a:close/>
                <a:moveTo>
                  <a:pt x="431" y="471"/>
                </a:moveTo>
                <a:lnTo>
                  <a:pt x="309" y="471"/>
                </a:lnTo>
                <a:lnTo>
                  <a:pt x="309" y="623"/>
                </a:lnTo>
                <a:lnTo>
                  <a:pt x="431" y="623"/>
                </a:lnTo>
                <a:lnTo>
                  <a:pt x="431" y="471"/>
                </a:lnTo>
                <a:close/>
                <a:moveTo>
                  <a:pt x="158" y="1187"/>
                </a:moveTo>
                <a:lnTo>
                  <a:pt x="242" y="1187"/>
                </a:lnTo>
                <a:lnTo>
                  <a:pt x="353" y="1187"/>
                </a:lnTo>
                <a:lnTo>
                  <a:pt x="353" y="1157"/>
                </a:lnTo>
                <a:lnTo>
                  <a:pt x="158" y="1157"/>
                </a:lnTo>
                <a:lnTo>
                  <a:pt x="158" y="1187"/>
                </a:lnTo>
                <a:close/>
                <a:moveTo>
                  <a:pt x="238" y="831"/>
                </a:moveTo>
                <a:lnTo>
                  <a:pt x="158" y="831"/>
                </a:lnTo>
                <a:lnTo>
                  <a:pt x="158" y="976"/>
                </a:lnTo>
                <a:lnTo>
                  <a:pt x="158" y="976"/>
                </a:lnTo>
                <a:lnTo>
                  <a:pt x="169" y="972"/>
                </a:lnTo>
                <a:lnTo>
                  <a:pt x="179" y="966"/>
                </a:lnTo>
                <a:lnTo>
                  <a:pt x="188" y="958"/>
                </a:lnTo>
                <a:lnTo>
                  <a:pt x="197" y="951"/>
                </a:lnTo>
                <a:lnTo>
                  <a:pt x="205" y="942"/>
                </a:lnTo>
                <a:lnTo>
                  <a:pt x="211" y="931"/>
                </a:lnTo>
                <a:lnTo>
                  <a:pt x="217" y="921"/>
                </a:lnTo>
                <a:lnTo>
                  <a:pt x="221" y="910"/>
                </a:lnTo>
                <a:lnTo>
                  <a:pt x="229" y="888"/>
                </a:lnTo>
                <a:lnTo>
                  <a:pt x="233" y="865"/>
                </a:lnTo>
                <a:lnTo>
                  <a:pt x="236" y="846"/>
                </a:lnTo>
                <a:lnTo>
                  <a:pt x="238" y="831"/>
                </a:lnTo>
                <a:lnTo>
                  <a:pt x="238" y="831"/>
                </a:lnTo>
                <a:close/>
                <a:moveTo>
                  <a:pt x="582" y="976"/>
                </a:moveTo>
                <a:lnTo>
                  <a:pt x="582" y="831"/>
                </a:lnTo>
                <a:lnTo>
                  <a:pt x="502" y="831"/>
                </a:lnTo>
                <a:lnTo>
                  <a:pt x="502" y="831"/>
                </a:lnTo>
                <a:lnTo>
                  <a:pt x="504" y="846"/>
                </a:lnTo>
                <a:lnTo>
                  <a:pt x="507" y="865"/>
                </a:lnTo>
                <a:lnTo>
                  <a:pt x="511" y="888"/>
                </a:lnTo>
                <a:lnTo>
                  <a:pt x="519" y="910"/>
                </a:lnTo>
                <a:lnTo>
                  <a:pt x="523" y="921"/>
                </a:lnTo>
                <a:lnTo>
                  <a:pt x="529" y="931"/>
                </a:lnTo>
                <a:lnTo>
                  <a:pt x="535" y="942"/>
                </a:lnTo>
                <a:lnTo>
                  <a:pt x="543" y="951"/>
                </a:lnTo>
                <a:lnTo>
                  <a:pt x="550" y="958"/>
                </a:lnTo>
                <a:lnTo>
                  <a:pt x="561" y="966"/>
                </a:lnTo>
                <a:lnTo>
                  <a:pt x="570" y="972"/>
                </a:lnTo>
                <a:lnTo>
                  <a:pt x="582" y="976"/>
                </a:lnTo>
                <a:lnTo>
                  <a:pt x="582" y="976"/>
                </a:lnTo>
                <a:close/>
                <a:moveTo>
                  <a:pt x="387" y="1187"/>
                </a:moveTo>
                <a:lnTo>
                  <a:pt x="496" y="1187"/>
                </a:lnTo>
                <a:lnTo>
                  <a:pt x="582" y="1187"/>
                </a:lnTo>
                <a:lnTo>
                  <a:pt x="582" y="1157"/>
                </a:lnTo>
                <a:lnTo>
                  <a:pt x="387" y="1157"/>
                </a:lnTo>
                <a:lnTo>
                  <a:pt x="387" y="1187"/>
                </a:lnTo>
                <a:close/>
                <a:moveTo>
                  <a:pt x="522" y="341"/>
                </a:moveTo>
                <a:lnTo>
                  <a:pt x="520" y="341"/>
                </a:lnTo>
                <a:lnTo>
                  <a:pt x="520" y="341"/>
                </a:lnTo>
                <a:lnTo>
                  <a:pt x="459" y="341"/>
                </a:lnTo>
                <a:lnTo>
                  <a:pt x="459" y="653"/>
                </a:lnTo>
                <a:lnTo>
                  <a:pt x="280" y="653"/>
                </a:lnTo>
                <a:lnTo>
                  <a:pt x="280" y="341"/>
                </a:lnTo>
                <a:lnTo>
                  <a:pt x="218" y="341"/>
                </a:lnTo>
                <a:lnTo>
                  <a:pt x="218" y="341"/>
                </a:lnTo>
                <a:lnTo>
                  <a:pt x="218" y="549"/>
                </a:lnTo>
                <a:lnTo>
                  <a:pt x="218" y="549"/>
                </a:lnTo>
                <a:lnTo>
                  <a:pt x="218" y="578"/>
                </a:lnTo>
                <a:lnTo>
                  <a:pt x="218" y="604"/>
                </a:lnTo>
                <a:lnTo>
                  <a:pt x="215" y="625"/>
                </a:lnTo>
                <a:lnTo>
                  <a:pt x="211" y="644"/>
                </a:lnTo>
                <a:lnTo>
                  <a:pt x="203" y="665"/>
                </a:lnTo>
                <a:lnTo>
                  <a:pt x="193" y="686"/>
                </a:lnTo>
                <a:lnTo>
                  <a:pt x="178" y="711"/>
                </a:lnTo>
                <a:lnTo>
                  <a:pt x="158" y="741"/>
                </a:lnTo>
                <a:lnTo>
                  <a:pt x="158" y="801"/>
                </a:lnTo>
                <a:lnTo>
                  <a:pt x="269" y="801"/>
                </a:lnTo>
                <a:lnTo>
                  <a:pt x="269" y="816"/>
                </a:lnTo>
                <a:lnTo>
                  <a:pt x="269" y="816"/>
                </a:lnTo>
                <a:lnTo>
                  <a:pt x="268" y="842"/>
                </a:lnTo>
                <a:lnTo>
                  <a:pt x="263" y="868"/>
                </a:lnTo>
                <a:lnTo>
                  <a:pt x="256" y="898"/>
                </a:lnTo>
                <a:lnTo>
                  <a:pt x="251" y="913"/>
                </a:lnTo>
                <a:lnTo>
                  <a:pt x="245" y="927"/>
                </a:lnTo>
                <a:lnTo>
                  <a:pt x="239" y="942"/>
                </a:lnTo>
                <a:lnTo>
                  <a:pt x="232" y="954"/>
                </a:lnTo>
                <a:lnTo>
                  <a:pt x="221" y="967"/>
                </a:lnTo>
                <a:lnTo>
                  <a:pt x="212" y="978"/>
                </a:lnTo>
                <a:lnTo>
                  <a:pt x="200" y="987"/>
                </a:lnTo>
                <a:lnTo>
                  <a:pt x="187" y="995"/>
                </a:lnTo>
                <a:lnTo>
                  <a:pt x="173" y="1001"/>
                </a:lnTo>
                <a:lnTo>
                  <a:pt x="158" y="1006"/>
                </a:lnTo>
                <a:lnTo>
                  <a:pt x="158" y="1127"/>
                </a:lnTo>
                <a:lnTo>
                  <a:pt x="353" y="1127"/>
                </a:lnTo>
                <a:lnTo>
                  <a:pt x="353" y="831"/>
                </a:lnTo>
                <a:lnTo>
                  <a:pt x="387" y="831"/>
                </a:lnTo>
                <a:lnTo>
                  <a:pt x="387" y="1127"/>
                </a:lnTo>
                <a:lnTo>
                  <a:pt x="582" y="1127"/>
                </a:lnTo>
                <a:lnTo>
                  <a:pt x="582" y="1006"/>
                </a:lnTo>
                <a:lnTo>
                  <a:pt x="582" y="1006"/>
                </a:lnTo>
                <a:lnTo>
                  <a:pt x="567" y="1001"/>
                </a:lnTo>
                <a:lnTo>
                  <a:pt x="552" y="995"/>
                </a:lnTo>
                <a:lnTo>
                  <a:pt x="540" y="987"/>
                </a:lnTo>
                <a:lnTo>
                  <a:pt x="528" y="978"/>
                </a:lnTo>
                <a:lnTo>
                  <a:pt x="517" y="967"/>
                </a:lnTo>
                <a:lnTo>
                  <a:pt x="508" y="954"/>
                </a:lnTo>
                <a:lnTo>
                  <a:pt x="501" y="942"/>
                </a:lnTo>
                <a:lnTo>
                  <a:pt x="493" y="927"/>
                </a:lnTo>
                <a:lnTo>
                  <a:pt x="487" y="913"/>
                </a:lnTo>
                <a:lnTo>
                  <a:pt x="483" y="898"/>
                </a:lnTo>
                <a:lnTo>
                  <a:pt x="477" y="868"/>
                </a:lnTo>
                <a:lnTo>
                  <a:pt x="472" y="842"/>
                </a:lnTo>
                <a:lnTo>
                  <a:pt x="471" y="816"/>
                </a:lnTo>
                <a:lnTo>
                  <a:pt x="471" y="801"/>
                </a:lnTo>
                <a:lnTo>
                  <a:pt x="582" y="801"/>
                </a:lnTo>
                <a:lnTo>
                  <a:pt x="582" y="741"/>
                </a:lnTo>
                <a:lnTo>
                  <a:pt x="582" y="741"/>
                </a:lnTo>
                <a:lnTo>
                  <a:pt x="562" y="711"/>
                </a:lnTo>
                <a:lnTo>
                  <a:pt x="547" y="686"/>
                </a:lnTo>
                <a:lnTo>
                  <a:pt x="535" y="665"/>
                </a:lnTo>
                <a:lnTo>
                  <a:pt x="529" y="644"/>
                </a:lnTo>
                <a:lnTo>
                  <a:pt x="525" y="625"/>
                </a:lnTo>
                <a:lnTo>
                  <a:pt x="522" y="604"/>
                </a:lnTo>
                <a:lnTo>
                  <a:pt x="522" y="578"/>
                </a:lnTo>
                <a:lnTo>
                  <a:pt x="522" y="549"/>
                </a:lnTo>
                <a:lnTo>
                  <a:pt x="522" y="549"/>
                </a:lnTo>
                <a:lnTo>
                  <a:pt x="522" y="341"/>
                </a:lnTo>
                <a:lnTo>
                  <a:pt x="522" y="341"/>
                </a:lnTo>
                <a:close/>
              </a:path>
            </a:pathLst>
          </a:custGeom>
          <a:solidFill>
            <a:srgbClr val="EF621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8" name="Picture42"/>
          <p:cNvSpPr>
            <a:spLocks noChangeAspect="1" noEditPoints="1"/>
          </p:cNvSpPr>
          <p:nvPr/>
        </p:nvSpPr>
        <p:spPr bwMode="auto">
          <a:xfrm>
            <a:off x="8114575" y="3001988"/>
            <a:ext cx="118911" cy="204396"/>
          </a:xfrm>
          <a:custGeom>
            <a:avLst/>
            <a:gdLst>
              <a:gd name="T0" fmla="*/ 580 w 740"/>
              <a:gd name="T1" fmla="*/ 1238 h 1272"/>
              <a:gd name="T2" fmla="*/ 514 w 740"/>
              <a:gd name="T3" fmla="*/ 1188 h 1272"/>
              <a:gd name="T4" fmla="*/ 437 w 740"/>
              <a:gd name="T5" fmla="*/ 1205 h 1272"/>
              <a:gd name="T6" fmla="*/ 158 w 740"/>
              <a:gd name="T7" fmla="*/ 1251 h 1272"/>
              <a:gd name="T8" fmla="*/ 321 w 740"/>
              <a:gd name="T9" fmla="*/ 1226 h 1272"/>
              <a:gd name="T10" fmla="*/ 242 w 740"/>
              <a:gd name="T11" fmla="*/ 1187 h 1272"/>
              <a:gd name="T12" fmla="*/ 172 w 740"/>
              <a:gd name="T13" fmla="*/ 1215 h 1272"/>
              <a:gd name="T14" fmla="*/ 309 w 740"/>
              <a:gd name="T15" fmla="*/ 339 h 1272"/>
              <a:gd name="T16" fmla="*/ 176 w 740"/>
              <a:gd name="T17" fmla="*/ 363 h 1272"/>
              <a:gd name="T18" fmla="*/ 1 w 740"/>
              <a:gd name="T19" fmla="*/ 717 h 1272"/>
              <a:gd name="T20" fmla="*/ 19 w 740"/>
              <a:gd name="T21" fmla="*/ 770 h 1272"/>
              <a:gd name="T22" fmla="*/ 72 w 740"/>
              <a:gd name="T23" fmla="*/ 776 h 1272"/>
              <a:gd name="T24" fmla="*/ 190 w 740"/>
              <a:gd name="T25" fmla="*/ 357 h 1272"/>
              <a:gd name="T26" fmla="*/ 562 w 740"/>
              <a:gd name="T27" fmla="*/ 363 h 1272"/>
              <a:gd name="T28" fmla="*/ 647 w 740"/>
              <a:gd name="T29" fmla="*/ 759 h 1272"/>
              <a:gd name="T30" fmla="*/ 710 w 740"/>
              <a:gd name="T31" fmla="*/ 776 h 1272"/>
              <a:gd name="T32" fmla="*/ 740 w 740"/>
              <a:gd name="T33" fmla="*/ 737 h 1272"/>
              <a:gd name="T34" fmla="*/ 523 w 740"/>
              <a:gd name="T35" fmla="*/ 184 h 1272"/>
              <a:gd name="T36" fmla="*/ 308 w 740"/>
              <a:gd name="T37" fmla="*/ 188 h 1272"/>
              <a:gd name="T38" fmla="*/ 232 w 740"/>
              <a:gd name="T39" fmla="*/ 170 h 1272"/>
              <a:gd name="T40" fmla="*/ 266 w 740"/>
              <a:gd name="T41" fmla="*/ 247 h 1272"/>
              <a:gd name="T42" fmla="*/ 335 w 740"/>
              <a:gd name="T43" fmla="*/ 291 h 1272"/>
              <a:gd name="T44" fmla="*/ 404 w 740"/>
              <a:gd name="T45" fmla="*/ 294 h 1272"/>
              <a:gd name="T46" fmla="*/ 471 w 740"/>
              <a:gd name="T47" fmla="*/ 265 h 1272"/>
              <a:gd name="T48" fmla="*/ 514 w 740"/>
              <a:gd name="T49" fmla="*/ 208 h 1272"/>
              <a:gd name="T50" fmla="*/ 286 w 740"/>
              <a:gd name="T51" fmla="*/ 138 h 1272"/>
              <a:gd name="T52" fmla="*/ 454 w 740"/>
              <a:gd name="T53" fmla="*/ 155 h 1272"/>
              <a:gd name="T54" fmla="*/ 526 w 740"/>
              <a:gd name="T55" fmla="*/ 141 h 1272"/>
              <a:gd name="T56" fmla="*/ 517 w 740"/>
              <a:gd name="T57" fmla="*/ 97 h 1272"/>
              <a:gd name="T58" fmla="*/ 469 w 740"/>
              <a:gd name="T59" fmla="*/ 31 h 1272"/>
              <a:gd name="T60" fmla="*/ 393 w 740"/>
              <a:gd name="T61" fmla="*/ 1 h 1272"/>
              <a:gd name="T62" fmla="*/ 297 w 740"/>
              <a:gd name="T63" fmla="*/ 25 h 1272"/>
              <a:gd name="T64" fmla="*/ 362 w 740"/>
              <a:gd name="T65" fmla="*/ 82 h 1272"/>
              <a:gd name="T66" fmla="*/ 434 w 740"/>
              <a:gd name="T67" fmla="*/ 133 h 1272"/>
              <a:gd name="T68" fmla="*/ 339 w 740"/>
              <a:gd name="T69" fmla="*/ 108 h 1272"/>
              <a:gd name="T70" fmla="*/ 236 w 740"/>
              <a:gd name="T71" fmla="*/ 46 h 1272"/>
              <a:gd name="T72" fmla="*/ 151 w 740"/>
              <a:gd name="T73" fmla="*/ 52 h 1272"/>
              <a:gd name="T74" fmla="*/ 132 w 740"/>
              <a:gd name="T75" fmla="*/ 96 h 1272"/>
              <a:gd name="T76" fmla="*/ 163 w 740"/>
              <a:gd name="T77" fmla="*/ 112 h 1272"/>
              <a:gd name="T78" fmla="*/ 250 w 740"/>
              <a:gd name="T79" fmla="*/ 123 h 1272"/>
              <a:gd name="T80" fmla="*/ 431 w 740"/>
              <a:gd name="T81" fmla="*/ 623 h 1272"/>
              <a:gd name="T82" fmla="*/ 158 w 740"/>
              <a:gd name="T83" fmla="*/ 1157 h 1272"/>
              <a:gd name="T84" fmla="*/ 169 w 740"/>
              <a:gd name="T85" fmla="*/ 972 h 1272"/>
              <a:gd name="T86" fmla="*/ 217 w 740"/>
              <a:gd name="T87" fmla="*/ 921 h 1272"/>
              <a:gd name="T88" fmla="*/ 238 w 740"/>
              <a:gd name="T89" fmla="*/ 831 h 1272"/>
              <a:gd name="T90" fmla="*/ 507 w 740"/>
              <a:gd name="T91" fmla="*/ 865 h 1272"/>
              <a:gd name="T92" fmla="*/ 543 w 740"/>
              <a:gd name="T93" fmla="*/ 951 h 1272"/>
              <a:gd name="T94" fmla="*/ 387 w 740"/>
              <a:gd name="T95" fmla="*/ 1187 h 1272"/>
              <a:gd name="T96" fmla="*/ 522 w 740"/>
              <a:gd name="T97" fmla="*/ 341 h 1272"/>
              <a:gd name="T98" fmla="*/ 280 w 740"/>
              <a:gd name="T99" fmla="*/ 341 h 1272"/>
              <a:gd name="T100" fmla="*/ 218 w 740"/>
              <a:gd name="T101" fmla="*/ 604 h 1272"/>
              <a:gd name="T102" fmla="*/ 158 w 740"/>
              <a:gd name="T103" fmla="*/ 741 h 1272"/>
              <a:gd name="T104" fmla="*/ 263 w 740"/>
              <a:gd name="T105" fmla="*/ 868 h 1272"/>
              <a:gd name="T106" fmla="*/ 221 w 740"/>
              <a:gd name="T107" fmla="*/ 967 h 1272"/>
              <a:gd name="T108" fmla="*/ 158 w 740"/>
              <a:gd name="T109" fmla="*/ 1127 h 1272"/>
              <a:gd name="T110" fmla="*/ 582 w 740"/>
              <a:gd name="T111" fmla="*/ 1006 h 1272"/>
              <a:gd name="T112" fmla="*/ 517 w 740"/>
              <a:gd name="T113" fmla="*/ 967 h 1272"/>
              <a:gd name="T114" fmla="*/ 477 w 740"/>
              <a:gd name="T115" fmla="*/ 868 h 1272"/>
              <a:gd name="T116" fmla="*/ 582 w 740"/>
              <a:gd name="T117" fmla="*/ 741 h 1272"/>
              <a:gd name="T118" fmla="*/ 522 w 740"/>
              <a:gd name="T119" fmla="*/ 604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40" h="1272">
                <a:moveTo>
                  <a:pt x="413" y="1251"/>
                </a:moveTo>
                <a:lnTo>
                  <a:pt x="413" y="1272"/>
                </a:lnTo>
                <a:lnTo>
                  <a:pt x="582" y="1272"/>
                </a:lnTo>
                <a:lnTo>
                  <a:pt x="582" y="1251"/>
                </a:lnTo>
                <a:lnTo>
                  <a:pt x="582" y="1251"/>
                </a:lnTo>
                <a:lnTo>
                  <a:pt x="580" y="1238"/>
                </a:lnTo>
                <a:lnTo>
                  <a:pt x="576" y="1226"/>
                </a:lnTo>
                <a:lnTo>
                  <a:pt x="567" y="1215"/>
                </a:lnTo>
                <a:lnTo>
                  <a:pt x="556" y="1205"/>
                </a:lnTo>
                <a:lnTo>
                  <a:pt x="544" y="1197"/>
                </a:lnTo>
                <a:lnTo>
                  <a:pt x="529" y="1191"/>
                </a:lnTo>
                <a:lnTo>
                  <a:pt x="514" y="1188"/>
                </a:lnTo>
                <a:lnTo>
                  <a:pt x="496" y="1187"/>
                </a:lnTo>
                <a:lnTo>
                  <a:pt x="496" y="1187"/>
                </a:lnTo>
                <a:lnTo>
                  <a:pt x="480" y="1188"/>
                </a:lnTo>
                <a:lnTo>
                  <a:pt x="463" y="1191"/>
                </a:lnTo>
                <a:lnTo>
                  <a:pt x="450" y="1197"/>
                </a:lnTo>
                <a:lnTo>
                  <a:pt x="437" y="1205"/>
                </a:lnTo>
                <a:lnTo>
                  <a:pt x="426" y="1215"/>
                </a:lnTo>
                <a:lnTo>
                  <a:pt x="419" y="1226"/>
                </a:lnTo>
                <a:lnTo>
                  <a:pt x="414" y="1238"/>
                </a:lnTo>
                <a:lnTo>
                  <a:pt x="413" y="1251"/>
                </a:lnTo>
                <a:lnTo>
                  <a:pt x="413" y="1251"/>
                </a:lnTo>
                <a:close/>
                <a:moveTo>
                  <a:pt x="158" y="1251"/>
                </a:moveTo>
                <a:lnTo>
                  <a:pt x="158" y="1272"/>
                </a:lnTo>
                <a:lnTo>
                  <a:pt x="327" y="1272"/>
                </a:lnTo>
                <a:lnTo>
                  <a:pt x="327" y="1251"/>
                </a:lnTo>
                <a:lnTo>
                  <a:pt x="327" y="1251"/>
                </a:lnTo>
                <a:lnTo>
                  <a:pt x="326" y="1238"/>
                </a:lnTo>
                <a:lnTo>
                  <a:pt x="321" y="1226"/>
                </a:lnTo>
                <a:lnTo>
                  <a:pt x="312" y="1215"/>
                </a:lnTo>
                <a:lnTo>
                  <a:pt x="302" y="1205"/>
                </a:lnTo>
                <a:lnTo>
                  <a:pt x="290" y="1197"/>
                </a:lnTo>
                <a:lnTo>
                  <a:pt x="275" y="1191"/>
                </a:lnTo>
                <a:lnTo>
                  <a:pt x="260" y="1188"/>
                </a:lnTo>
                <a:lnTo>
                  <a:pt x="242" y="1187"/>
                </a:lnTo>
                <a:lnTo>
                  <a:pt x="242" y="1187"/>
                </a:lnTo>
                <a:lnTo>
                  <a:pt x="226" y="1188"/>
                </a:lnTo>
                <a:lnTo>
                  <a:pt x="209" y="1191"/>
                </a:lnTo>
                <a:lnTo>
                  <a:pt x="196" y="1197"/>
                </a:lnTo>
                <a:lnTo>
                  <a:pt x="182" y="1205"/>
                </a:lnTo>
                <a:lnTo>
                  <a:pt x="172" y="1215"/>
                </a:lnTo>
                <a:lnTo>
                  <a:pt x="164" y="1226"/>
                </a:lnTo>
                <a:lnTo>
                  <a:pt x="160" y="1238"/>
                </a:lnTo>
                <a:lnTo>
                  <a:pt x="158" y="1251"/>
                </a:lnTo>
                <a:lnTo>
                  <a:pt x="158" y="1251"/>
                </a:lnTo>
                <a:close/>
                <a:moveTo>
                  <a:pt x="431" y="339"/>
                </a:moveTo>
                <a:lnTo>
                  <a:pt x="309" y="339"/>
                </a:lnTo>
                <a:lnTo>
                  <a:pt x="309" y="432"/>
                </a:lnTo>
                <a:lnTo>
                  <a:pt x="431" y="432"/>
                </a:lnTo>
                <a:lnTo>
                  <a:pt x="431" y="339"/>
                </a:lnTo>
                <a:close/>
                <a:moveTo>
                  <a:pt x="190" y="357"/>
                </a:moveTo>
                <a:lnTo>
                  <a:pt x="190" y="357"/>
                </a:lnTo>
                <a:lnTo>
                  <a:pt x="176" y="363"/>
                </a:lnTo>
                <a:lnTo>
                  <a:pt x="166" y="371"/>
                </a:lnTo>
                <a:lnTo>
                  <a:pt x="155" y="381"/>
                </a:lnTo>
                <a:lnTo>
                  <a:pt x="149" y="393"/>
                </a:lnTo>
                <a:lnTo>
                  <a:pt x="4" y="707"/>
                </a:lnTo>
                <a:lnTo>
                  <a:pt x="4" y="707"/>
                </a:lnTo>
                <a:lnTo>
                  <a:pt x="1" y="717"/>
                </a:lnTo>
                <a:lnTo>
                  <a:pt x="0" y="726"/>
                </a:lnTo>
                <a:lnTo>
                  <a:pt x="0" y="737"/>
                </a:lnTo>
                <a:lnTo>
                  <a:pt x="1" y="746"/>
                </a:lnTo>
                <a:lnTo>
                  <a:pt x="6" y="755"/>
                </a:lnTo>
                <a:lnTo>
                  <a:pt x="12" y="762"/>
                </a:lnTo>
                <a:lnTo>
                  <a:pt x="19" y="770"/>
                </a:lnTo>
                <a:lnTo>
                  <a:pt x="30" y="776"/>
                </a:lnTo>
                <a:lnTo>
                  <a:pt x="30" y="776"/>
                </a:lnTo>
                <a:lnTo>
                  <a:pt x="39" y="780"/>
                </a:lnTo>
                <a:lnTo>
                  <a:pt x="51" y="782"/>
                </a:lnTo>
                <a:lnTo>
                  <a:pt x="61" y="780"/>
                </a:lnTo>
                <a:lnTo>
                  <a:pt x="72" y="776"/>
                </a:lnTo>
                <a:lnTo>
                  <a:pt x="82" y="768"/>
                </a:lnTo>
                <a:lnTo>
                  <a:pt x="93" y="759"/>
                </a:lnTo>
                <a:lnTo>
                  <a:pt x="102" y="750"/>
                </a:lnTo>
                <a:lnTo>
                  <a:pt x="109" y="738"/>
                </a:lnTo>
                <a:lnTo>
                  <a:pt x="190" y="568"/>
                </a:lnTo>
                <a:lnTo>
                  <a:pt x="190" y="357"/>
                </a:lnTo>
                <a:close/>
                <a:moveTo>
                  <a:pt x="736" y="707"/>
                </a:moveTo>
                <a:lnTo>
                  <a:pt x="591" y="393"/>
                </a:lnTo>
                <a:lnTo>
                  <a:pt x="591" y="393"/>
                </a:lnTo>
                <a:lnTo>
                  <a:pt x="583" y="381"/>
                </a:lnTo>
                <a:lnTo>
                  <a:pt x="574" y="371"/>
                </a:lnTo>
                <a:lnTo>
                  <a:pt x="562" y="363"/>
                </a:lnTo>
                <a:lnTo>
                  <a:pt x="550" y="357"/>
                </a:lnTo>
                <a:lnTo>
                  <a:pt x="550" y="568"/>
                </a:lnTo>
                <a:lnTo>
                  <a:pt x="631" y="738"/>
                </a:lnTo>
                <a:lnTo>
                  <a:pt x="631" y="738"/>
                </a:lnTo>
                <a:lnTo>
                  <a:pt x="638" y="750"/>
                </a:lnTo>
                <a:lnTo>
                  <a:pt x="647" y="759"/>
                </a:lnTo>
                <a:lnTo>
                  <a:pt x="656" y="768"/>
                </a:lnTo>
                <a:lnTo>
                  <a:pt x="667" y="776"/>
                </a:lnTo>
                <a:lnTo>
                  <a:pt x="679" y="780"/>
                </a:lnTo>
                <a:lnTo>
                  <a:pt x="689" y="782"/>
                </a:lnTo>
                <a:lnTo>
                  <a:pt x="700" y="780"/>
                </a:lnTo>
                <a:lnTo>
                  <a:pt x="710" y="776"/>
                </a:lnTo>
                <a:lnTo>
                  <a:pt x="710" y="776"/>
                </a:lnTo>
                <a:lnTo>
                  <a:pt x="719" y="770"/>
                </a:lnTo>
                <a:lnTo>
                  <a:pt x="727" y="762"/>
                </a:lnTo>
                <a:lnTo>
                  <a:pt x="733" y="755"/>
                </a:lnTo>
                <a:lnTo>
                  <a:pt x="737" y="746"/>
                </a:lnTo>
                <a:lnTo>
                  <a:pt x="740" y="737"/>
                </a:lnTo>
                <a:lnTo>
                  <a:pt x="740" y="726"/>
                </a:lnTo>
                <a:lnTo>
                  <a:pt x="739" y="717"/>
                </a:lnTo>
                <a:lnTo>
                  <a:pt x="736" y="707"/>
                </a:lnTo>
                <a:lnTo>
                  <a:pt x="736" y="707"/>
                </a:lnTo>
                <a:close/>
                <a:moveTo>
                  <a:pt x="523" y="184"/>
                </a:moveTo>
                <a:lnTo>
                  <a:pt x="523" y="184"/>
                </a:lnTo>
                <a:lnTo>
                  <a:pt x="480" y="193"/>
                </a:lnTo>
                <a:lnTo>
                  <a:pt x="441" y="199"/>
                </a:lnTo>
                <a:lnTo>
                  <a:pt x="404" y="200"/>
                </a:lnTo>
                <a:lnTo>
                  <a:pt x="371" y="199"/>
                </a:lnTo>
                <a:lnTo>
                  <a:pt x="338" y="194"/>
                </a:lnTo>
                <a:lnTo>
                  <a:pt x="308" y="188"/>
                </a:lnTo>
                <a:lnTo>
                  <a:pt x="280" y="179"/>
                </a:lnTo>
                <a:lnTo>
                  <a:pt x="251" y="167"/>
                </a:lnTo>
                <a:lnTo>
                  <a:pt x="251" y="167"/>
                </a:lnTo>
                <a:lnTo>
                  <a:pt x="230" y="155"/>
                </a:lnTo>
                <a:lnTo>
                  <a:pt x="230" y="155"/>
                </a:lnTo>
                <a:lnTo>
                  <a:pt x="232" y="170"/>
                </a:lnTo>
                <a:lnTo>
                  <a:pt x="235" y="184"/>
                </a:lnTo>
                <a:lnTo>
                  <a:pt x="239" y="199"/>
                </a:lnTo>
                <a:lnTo>
                  <a:pt x="244" y="211"/>
                </a:lnTo>
                <a:lnTo>
                  <a:pt x="250" y="223"/>
                </a:lnTo>
                <a:lnTo>
                  <a:pt x="257" y="235"/>
                </a:lnTo>
                <a:lnTo>
                  <a:pt x="266" y="247"/>
                </a:lnTo>
                <a:lnTo>
                  <a:pt x="277" y="256"/>
                </a:lnTo>
                <a:lnTo>
                  <a:pt x="287" y="265"/>
                </a:lnTo>
                <a:lnTo>
                  <a:pt x="297" y="274"/>
                </a:lnTo>
                <a:lnTo>
                  <a:pt x="309" y="280"/>
                </a:lnTo>
                <a:lnTo>
                  <a:pt x="323" y="285"/>
                </a:lnTo>
                <a:lnTo>
                  <a:pt x="335" y="291"/>
                </a:lnTo>
                <a:lnTo>
                  <a:pt x="350" y="294"/>
                </a:lnTo>
                <a:lnTo>
                  <a:pt x="363" y="296"/>
                </a:lnTo>
                <a:lnTo>
                  <a:pt x="378" y="297"/>
                </a:lnTo>
                <a:lnTo>
                  <a:pt x="378" y="297"/>
                </a:lnTo>
                <a:lnTo>
                  <a:pt x="392" y="296"/>
                </a:lnTo>
                <a:lnTo>
                  <a:pt x="404" y="294"/>
                </a:lnTo>
                <a:lnTo>
                  <a:pt x="416" y="291"/>
                </a:lnTo>
                <a:lnTo>
                  <a:pt x="428" y="288"/>
                </a:lnTo>
                <a:lnTo>
                  <a:pt x="440" y="284"/>
                </a:lnTo>
                <a:lnTo>
                  <a:pt x="450" y="278"/>
                </a:lnTo>
                <a:lnTo>
                  <a:pt x="460" y="272"/>
                </a:lnTo>
                <a:lnTo>
                  <a:pt x="471" y="265"/>
                </a:lnTo>
                <a:lnTo>
                  <a:pt x="480" y="257"/>
                </a:lnTo>
                <a:lnTo>
                  <a:pt x="489" y="248"/>
                </a:lnTo>
                <a:lnTo>
                  <a:pt x="496" y="239"/>
                </a:lnTo>
                <a:lnTo>
                  <a:pt x="504" y="229"/>
                </a:lnTo>
                <a:lnTo>
                  <a:pt x="510" y="218"/>
                </a:lnTo>
                <a:lnTo>
                  <a:pt x="514" y="208"/>
                </a:lnTo>
                <a:lnTo>
                  <a:pt x="519" y="196"/>
                </a:lnTo>
                <a:lnTo>
                  <a:pt x="523" y="184"/>
                </a:lnTo>
                <a:lnTo>
                  <a:pt x="523" y="184"/>
                </a:lnTo>
                <a:close/>
                <a:moveTo>
                  <a:pt x="268" y="130"/>
                </a:moveTo>
                <a:lnTo>
                  <a:pt x="268" y="130"/>
                </a:lnTo>
                <a:lnTo>
                  <a:pt x="286" y="138"/>
                </a:lnTo>
                <a:lnTo>
                  <a:pt x="305" y="145"/>
                </a:lnTo>
                <a:lnTo>
                  <a:pt x="327" y="151"/>
                </a:lnTo>
                <a:lnTo>
                  <a:pt x="353" y="155"/>
                </a:lnTo>
                <a:lnTo>
                  <a:pt x="383" y="158"/>
                </a:lnTo>
                <a:lnTo>
                  <a:pt x="416" y="158"/>
                </a:lnTo>
                <a:lnTo>
                  <a:pt x="454" y="155"/>
                </a:lnTo>
                <a:lnTo>
                  <a:pt x="477" y="151"/>
                </a:lnTo>
                <a:lnTo>
                  <a:pt x="499" y="146"/>
                </a:lnTo>
                <a:lnTo>
                  <a:pt x="499" y="146"/>
                </a:lnTo>
                <a:lnTo>
                  <a:pt x="526" y="145"/>
                </a:lnTo>
                <a:lnTo>
                  <a:pt x="526" y="145"/>
                </a:lnTo>
                <a:lnTo>
                  <a:pt x="526" y="141"/>
                </a:lnTo>
                <a:lnTo>
                  <a:pt x="526" y="141"/>
                </a:lnTo>
                <a:lnTo>
                  <a:pt x="526" y="139"/>
                </a:lnTo>
                <a:lnTo>
                  <a:pt x="526" y="139"/>
                </a:lnTo>
                <a:lnTo>
                  <a:pt x="525" y="126"/>
                </a:lnTo>
                <a:lnTo>
                  <a:pt x="522" y="111"/>
                </a:lnTo>
                <a:lnTo>
                  <a:pt x="517" y="97"/>
                </a:lnTo>
                <a:lnTo>
                  <a:pt x="513" y="85"/>
                </a:lnTo>
                <a:lnTo>
                  <a:pt x="505" y="73"/>
                </a:lnTo>
                <a:lnTo>
                  <a:pt x="498" y="61"/>
                </a:lnTo>
                <a:lnTo>
                  <a:pt x="489" y="51"/>
                </a:lnTo>
                <a:lnTo>
                  <a:pt x="480" y="40"/>
                </a:lnTo>
                <a:lnTo>
                  <a:pt x="469" y="31"/>
                </a:lnTo>
                <a:lnTo>
                  <a:pt x="459" y="24"/>
                </a:lnTo>
                <a:lnTo>
                  <a:pt x="447" y="16"/>
                </a:lnTo>
                <a:lnTo>
                  <a:pt x="434" y="12"/>
                </a:lnTo>
                <a:lnTo>
                  <a:pt x="422" y="6"/>
                </a:lnTo>
                <a:lnTo>
                  <a:pt x="407" y="3"/>
                </a:lnTo>
                <a:lnTo>
                  <a:pt x="393" y="1"/>
                </a:lnTo>
                <a:lnTo>
                  <a:pt x="378" y="0"/>
                </a:lnTo>
                <a:lnTo>
                  <a:pt x="378" y="0"/>
                </a:lnTo>
                <a:lnTo>
                  <a:pt x="356" y="1"/>
                </a:lnTo>
                <a:lnTo>
                  <a:pt x="335" y="7"/>
                </a:lnTo>
                <a:lnTo>
                  <a:pt x="315" y="15"/>
                </a:lnTo>
                <a:lnTo>
                  <a:pt x="297" y="25"/>
                </a:lnTo>
                <a:lnTo>
                  <a:pt x="297" y="25"/>
                </a:lnTo>
                <a:lnTo>
                  <a:pt x="309" y="34"/>
                </a:lnTo>
                <a:lnTo>
                  <a:pt x="323" y="43"/>
                </a:lnTo>
                <a:lnTo>
                  <a:pt x="350" y="69"/>
                </a:lnTo>
                <a:lnTo>
                  <a:pt x="350" y="69"/>
                </a:lnTo>
                <a:lnTo>
                  <a:pt x="362" y="82"/>
                </a:lnTo>
                <a:lnTo>
                  <a:pt x="375" y="93"/>
                </a:lnTo>
                <a:lnTo>
                  <a:pt x="398" y="111"/>
                </a:lnTo>
                <a:lnTo>
                  <a:pt x="420" y="123"/>
                </a:lnTo>
                <a:lnTo>
                  <a:pt x="440" y="132"/>
                </a:lnTo>
                <a:lnTo>
                  <a:pt x="440" y="132"/>
                </a:lnTo>
                <a:lnTo>
                  <a:pt x="434" y="133"/>
                </a:lnTo>
                <a:lnTo>
                  <a:pt x="426" y="136"/>
                </a:lnTo>
                <a:lnTo>
                  <a:pt x="416" y="138"/>
                </a:lnTo>
                <a:lnTo>
                  <a:pt x="402" y="136"/>
                </a:lnTo>
                <a:lnTo>
                  <a:pt x="386" y="132"/>
                </a:lnTo>
                <a:lnTo>
                  <a:pt x="365" y="123"/>
                </a:lnTo>
                <a:lnTo>
                  <a:pt x="339" y="108"/>
                </a:lnTo>
                <a:lnTo>
                  <a:pt x="309" y="85"/>
                </a:lnTo>
                <a:lnTo>
                  <a:pt x="309" y="85"/>
                </a:lnTo>
                <a:lnTo>
                  <a:pt x="290" y="72"/>
                </a:lnTo>
                <a:lnTo>
                  <a:pt x="272" y="60"/>
                </a:lnTo>
                <a:lnTo>
                  <a:pt x="254" y="52"/>
                </a:lnTo>
                <a:lnTo>
                  <a:pt x="236" y="46"/>
                </a:lnTo>
                <a:lnTo>
                  <a:pt x="218" y="42"/>
                </a:lnTo>
                <a:lnTo>
                  <a:pt x="202" y="40"/>
                </a:lnTo>
                <a:lnTo>
                  <a:pt x="187" y="42"/>
                </a:lnTo>
                <a:lnTo>
                  <a:pt x="173" y="43"/>
                </a:lnTo>
                <a:lnTo>
                  <a:pt x="161" y="46"/>
                </a:lnTo>
                <a:lnTo>
                  <a:pt x="151" y="52"/>
                </a:lnTo>
                <a:lnTo>
                  <a:pt x="142" y="58"/>
                </a:lnTo>
                <a:lnTo>
                  <a:pt x="135" y="64"/>
                </a:lnTo>
                <a:lnTo>
                  <a:pt x="130" y="72"/>
                </a:lnTo>
                <a:lnTo>
                  <a:pt x="129" y="79"/>
                </a:lnTo>
                <a:lnTo>
                  <a:pt x="129" y="88"/>
                </a:lnTo>
                <a:lnTo>
                  <a:pt x="132" y="96"/>
                </a:lnTo>
                <a:lnTo>
                  <a:pt x="132" y="96"/>
                </a:lnTo>
                <a:lnTo>
                  <a:pt x="138" y="103"/>
                </a:lnTo>
                <a:lnTo>
                  <a:pt x="142" y="106"/>
                </a:lnTo>
                <a:lnTo>
                  <a:pt x="148" y="109"/>
                </a:lnTo>
                <a:lnTo>
                  <a:pt x="152" y="112"/>
                </a:lnTo>
                <a:lnTo>
                  <a:pt x="163" y="112"/>
                </a:lnTo>
                <a:lnTo>
                  <a:pt x="175" y="111"/>
                </a:lnTo>
                <a:lnTo>
                  <a:pt x="190" y="111"/>
                </a:lnTo>
                <a:lnTo>
                  <a:pt x="209" y="112"/>
                </a:lnTo>
                <a:lnTo>
                  <a:pt x="221" y="114"/>
                </a:lnTo>
                <a:lnTo>
                  <a:pt x="235" y="118"/>
                </a:lnTo>
                <a:lnTo>
                  <a:pt x="250" y="123"/>
                </a:lnTo>
                <a:lnTo>
                  <a:pt x="268" y="130"/>
                </a:lnTo>
                <a:lnTo>
                  <a:pt x="268" y="130"/>
                </a:lnTo>
                <a:close/>
                <a:moveTo>
                  <a:pt x="431" y="471"/>
                </a:moveTo>
                <a:lnTo>
                  <a:pt x="309" y="471"/>
                </a:lnTo>
                <a:lnTo>
                  <a:pt x="309" y="623"/>
                </a:lnTo>
                <a:lnTo>
                  <a:pt x="431" y="623"/>
                </a:lnTo>
                <a:lnTo>
                  <a:pt x="431" y="471"/>
                </a:lnTo>
                <a:close/>
                <a:moveTo>
                  <a:pt x="158" y="1187"/>
                </a:moveTo>
                <a:lnTo>
                  <a:pt x="242" y="1187"/>
                </a:lnTo>
                <a:lnTo>
                  <a:pt x="353" y="1187"/>
                </a:lnTo>
                <a:lnTo>
                  <a:pt x="353" y="1157"/>
                </a:lnTo>
                <a:lnTo>
                  <a:pt x="158" y="1157"/>
                </a:lnTo>
                <a:lnTo>
                  <a:pt x="158" y="1187"/>
                </a:lnTo>
                <a:close/>
                <a:moveTo>
                  <a:pt x="238" y="831"/>
                </a:moveTo>
                <a:lnTo>
                  <a:pt x="158" y="831"/>
                </a:lnTo>
                <a:lnTo>
                  <a:pt x="158" y="976"/>
                </a:lnTo>
                <a:lnTo>
                  <a:pt x="158" y="976"/>
                </a:lnTo>
                <a:lnTo>
                  <a:pt x="169" y="972"/>
                </a:lnTo>
                <a:lnTo>
                  <a:pt x="179" y="966"/>
                </a:lnTo>
                <a:lnTo>
                  <a:pt x="188" y="958"/>
                </a:lnTo>
                <a:lnTo>
                  <a:pt x="197" y="951"/>
                </a:lnTo>
                <a:lnTo>
                  <a:pt x="205" y="942"/>
                </a:lnTo>
                <a:lnTo>
                  <a:pt x="211" y="931"/>
                </a:lnTo>
                <a:lnTo>
                  <a:pt x="217" y="921"/>
                </a:lnTo>
                <a:lnTo>
                  <a:pt x="221" y="910"/>
                </a:lnTo>
                <a:lnTo>
                  <a:pt x="229" y="888"/>
                </a:lnTo>
                <a:lnTo>
                  <a:pt x="233" y="865"/>
                </a:lnTo>
                <a:lnTo>
                  <a:pt x="236" y="846"/>
                </a:lnTo>
                <a:lnTo>
                  <a:pt x="238" y="831"/>
                </a:lnTo>
                <a:lnTo>
                  <a:pt x="238" y="831"/>
                </a:lnTo>
                <a:close/>
                <a:moveTo>
                  <a:pt x="582" y="976"/>
                </a:moveTo>
                <a:lnTo>
                  <a:pt x="582" y="831"/>
                </a:lnTo>
                <a:lnTo>
                  <a:pt x="502" y="831"/>
                </a:lnTo>
                <a:lnTo>
                  <a:pt x="502" y="831"/>
                </a:lnTo>
                <a:lnTo>
                  <a:pt x="504" y="846"/>
                </a:lnTo>
                <a:lnTo>
                  <a:pt x="507" y="865"/>
                </a:lnTo>
                <a:lnTo>
                  <a:pt x="511" y="888"/>
                </a:lnTo>
                <a:lnTo>
                  <a:pt x="519" y="910"/>
                </a:lnTo>
                <a:lnTo>
                  <a:pt x="523" y="921"/>
                </a:lnTo>
                <a:lnTo>
                  <a:pt x="529" y="931"/>
                </a:lnTo>
                <a:lnTo>
                  <a:pt x="535" y="942"/>
                </a:lnTo>
                <a:lnTo>
                  <a:pt x="543" y="951"/>
                </a:lnTo>
                <a:lnTo>
                  <a:pt x="550" y="958"/>
                </a:lnTo>
                <a:lnTo>
                  <a:pt x="561" y="966"/>
                </a:lnTo>
                <a:lnTo>
                  <a:pt x="570" y="972"/>
                </a:lnTo>
                <a:lnTo>
                  <a:pt x="582" y="976"/>
                </a:lnTo>
                <a:lnTo>
                  <a:pt x="582" y="976"/>
                </a:lnTo>
                <a:close/>
                <a:moveTo>
                  <a:pt x="387" y="1187"/>
                </a:moveTo>
                <a:lnTo>
                  <a:pt x="496" y="1187"/>
                </a:lnTo>
                <a:lnTo>
                  <a:pt x="582" y="1187"/>
                </a:lnTo>
                <a:lnTo>
                  <a:pt x="582" y="1157"/>
                </a:lnTo>
                <a:lnTo>
                  <a:pt x="387" y="1157"/>
                </a:lnTo>
                <a:lnTo>
                  <a:pt x="387" y="1187"/>
                </a:lnTo>
                <a:close/>
                <a:moveTo>
                  <a:pt x="522" y="341"/>
                </a:moveTo>
                <a:lnTo>
                  <a:pt x="520" y="341"/>
                </a:lnTo>
                <a:lnTo>
                  <a:pt x="520" y="341"/>
                </a:lnTo>
                <a:lnTo>
                  <a:pt x="459" y="341"/>
                </a:lnTo>
                <a:lnTo>
                  <a:pt x="459" y="653"/>
                </a:lnTo>
                <a:lnTo>
                  <a:pt x="280" y="653"/>
                </a:lnTo>
                <a:lnTo>
                  <a:pt x="280" y="341"/>
                </a:lnTo>
                <a:lnTo>
                  <a:pt x="218" y="341"/>
                </a:lnTo>
                <a:lnTo>
                  <a:pt x="218" y="341"/>
                </a:lnTo>
                <a:lnTo>
                  <a:pt x="218" y="549"/>
                </a:lnTo>
                <a:lnTo>
                  <a:pt x="218" y="549"/>
                </a:lnTo>
                <a:lnTo>
                  <a:pt x="218" y="578"/>
                </a:lnTo>
                <a:lnTo>
                  <a:pt x="218" y="604"/>
                </a:lnTo>
                <a:lnTo>
                  <a:pt x="215" y="625"/>
                </a:lnTo>
                <a:lnTo>
                  <a:pt x="211" y="644"/>
                </a:lnTo>
                <a:lnTo>
                  <a:pt x="203" y="665"/>
                </a:lnTo>
                <a:lnTo>
                  <a:pt x="193" y="686"/>
                </a:lnTo>
                <a:lnTo>
                  <a:pt x="178" y="711"/>
                </a:lnTo>
                <a:lnTo>
                  <a:pt x="158" y="741"/>
                </a:lnTo>
                <a:lnTo>
                  <a:pt x="158" y="801"/>
                </a:lnTo>
                <a:lnTo>
                  <a:pt x="269" y="801"/>
                </a:lnTo>
                <a:lnTo>
                  <a:pt x="269" y="816"/>
                </a:lnTo>
                <a:lnTo>
                  <a:pt x="269" y="816"/>
                </a:lnTo>
                <a:lnTo>
                  <a:pt x="268" y="842"/>
                </a:lnTo>
                <a:lnTo>
                  <a:pt x="263" y="868"/>
                </a:lnTo>
                <a:lnTo>
                  <a:pt x="256" y="898"/>
                </a:lnTo>
                <a:lnTo>
                  <a:pt x="251" y="913"/>
                </a:lnTo>
                <a:lnTo>
                  <a:pt x="245" y="927"/>
                </a:lnTo>
                <a:lnTo>
                  <a:pt x="239" y="942"/>
                </a:lnTo>
                <a:lnTo>
                  <a:pt x="232" y="954"/>
                </a:lnTo>
                <a:lnTo>
                  <a:pt x="221" y="967"/>
                </a:lnTo>
                <a:lnTo>
                  <a:pt x="212" y="978"/>
                </a:lnTo>
                <a:lnTo>
                  <a:pt x="200" y="987"/>
                </a:lnTo>
                <a:lnTo>
                  <a:pt x="187" y="995"/>
                </a:lnTo>
                <a:lnTo>
                  <a:pt x="173" y="1001"/>
                </a:lnTo>
                <a:lnTo>
                  <a:pt x="158" y="1006"/>
                </a:lnTo>
                <a:lnTo>
                  <a:pt x="158" y="1127"/>
                </a:lnTo>
                <a:lnTo>
                  <a:pt x="353" y="1127"/>
                </a:lnTo>
                <a:lnTo>
                  <a:pt x="353" y="831"/>
                </a:lnTo>
                <a:lnTo>
                  <a:pt x="387" y="831"/>
                </a:lnTo>
                <a:lnTo>
                  <a:pt x="387" y="1127"/>
                </a:lnTo>
                <a:lnTo>
                  <a:pt x="582" y="1127"/>
                </a:lnTo>
                <a:lnTo>
                  <a:pt x="582" y="1006"/>
                </a:lnTo>
                <a:lnTo>
                  <a:pt x="582" y="1006"/>
                </a:lnTo>
                <a:lnTo>
                  <a:pt x="567" y="1001"/>
                </a:lnTo>
                <a:lnTo>
                  <a:pt x="552" y="995"/>
                </a:lnTo>
                <a:lnTo>
                  <a:pt x="540" y="987"/>
                </a:lnTo>
                <a:lnTo>
                  <a:pt x="528" y="978"/>
                </a:lnTo>
                <a:lnTo>
                  <a:pt x="517" y="967"/>
                </a:lnTo>
                <a:lnTo>
                  <a:pt x="508" y="954"/>
                </a:lnTo>
                <a:lnTo>
                  <a:pt x="501" y="942"/>
                </a:lnTo>
                <a:lnTo>
                  <a:pt x="493" y="927"/>
                </a:lnTo>
                <a:lnTo>
                  <a:pt x="487" y="913"/>
                </a:lnTo>
                <a:lnTo>
                  <a:pt x="483" y="898"/>
                </a:lnTo>
                <a:lnTo>
                  <a:pt x="477" y="868"/>
                </a:lnTo>
                <a:lnTo>
                  <a:pt x="472" y="842"/>
                </a:lnTo>
                <a:lnTo>
                  <a:pt x="471" y="816"/>
                </a:lnTo>
                <a:lnTo>
                  <a:pt x="471" y="801"/>
                </a:lnTo>
                <a:lnTo>
                  <a:pt x="582" y="801"/>
                </a:lnTo>
                <a:lnTo>
                  <a:pt x="582" y="741"/>
                </a:lnTo>
                <a:lnTo>
                  <a:pt x="582" y="741"/>
                </a:lnTo>
                <a:lnTo>
                  <a:pt x="562" y="711"/>
                </a:lnTo>
                <a:lnTo>
                  <a:pt x="547" y="686"/>
                </a:lnTo>
                <a:lnTo>
                  <a:pt x="535" y="665"/>
                </a:lnTo>
                <a:lnTo>
                  <a:pt x="529" y="644"/>
                </a:lnTo>
                <a:lnTo>
                  <a:pt x="525" y="625"/>
                </a:lnTo>
                <a:lnTo>
                  <a:pt x="522" y="604"/>
                </a:lnTo>
                <a:lnTo>
                  <a:pt x="522" y="578"/>
                </a:lnTo>
                <a:lnTo>
                  <a:pt x="522" y="549"/>
                </a:lnTo>
                <a:lnTo>
                  <a:pt x="522" y="549"/>
                </a:lnTo>
                <a:lnTo>
                  <a:pt x="522" y="341"/>
                </a:lnTo>
                <a:lnTo>
                  <a:pt x="522" y="341"/>
                </a:lnTo>
                <a:close/>
              </a:path>
            </a:pathLst>
          </a:custGeom>
          <a:solidFill>
            <a:srgbClr val="EF621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64765" y="1944642"/>
            <a:ext cx="540060" cy="1558925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7890995" y="1822404"/>
            <a:ext cx="540060" cy="154805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9" name="Текст 85"/>
          <p:cNvSpPr txBox="1">
            <a:spLocks/>
          </p:cNvSpPr>
          <p:nvPr/>
        </p:nvSpPr>
        <p:spPr>
          <a:xfrm>
            <a:off x="3882839" y="2310612"/>
            <a:ext cx="1055828" cy="230188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F6213"/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Баланс НП</a:t>
            </a:r>
            <a:endParaRPr kumimoji="0" lang="ru-RU" sz="900" b="0" i="1" u="none" strike="noStrike" kern="1200" cap="none" spc="0" normalizeH="0" baseline="0" noProof="0" dirty="0">
              <a:ln>
                <a:noFill/>
              </a:ln>
              <a:solidFill>
                <a:srgbClr val="EF6213"/>
              </a:solidFill>
              <a:effectLst/>
              <a:uLnTx/>
              <a:uFillTx/>
              <a:latin typeface="Arial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8043395" y="1974804"/>
            <a:ext cx="540060" cy="154805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Текст 85"/>
          <p:cNvSpPr txBox="1">
            <a:spLocks/>
          </p:cNvSpPr>
          <p:nvPr/>
        </p:nvSpPr>
        <p:spPr>
          <a:xfrm>
            <a:off x="258965" y="4012976"/>
            <a:ext cx="5619971" cy="720314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sz="700" b="1" dirty="0" smtClean="0">
                <a:solidFill>
                  <a:srgbClr val="EF6213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Внедрение системы «</a:t>
            </a:r>
            <a:r>
              <a:rPr lang="ru-RU" sz="700" b="1" dirty="0" err="1" smtClean="0">
                <a:solidFill>
                  <a:srgbClr val="EF6213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Нефтеконтроль</a:t>
            </a:r>
            <a:r>
              <a:rPr lang="ru-RU" sz="700" b="1" dirty="0" smtClean="0">
                <a:solidFill>
                  <a:srgbClr val="EF6213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» на Терминале «Гладкое» обеспечивает:</a:t>
            </a:r>
          </a:p>
          <a:p>
            <a:pPr marR="0" lvl="0" algn="just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tabLst/>
              <a:defRPr/>
            </a:pPr>
            <a:r>
              <a:rPr lang="ru-RU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1. Замкнутый контур учета НП в границах Терминала с автоматической регистрацией данных о количестве НП и передачи их в АСУТП в режиме </a:t>
            </a:r>
            <a:r>
              <a:rPr lang="en-US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Online</a:t>
            </a:r>
            <a:endParaRPr lang="ru-RU" sz="700" dirty="0" smtClean="0">
              <a:solidFill>
                <a:schemeClr val="bg1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 algn="just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tabLst/>
              <a:defRPr/>
            </a:pPr>
            <a:r>
              <a:rPr lang="ru-RU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2. Коммерческий учет приема и отпуска с одинаковыми параметрами (</a:t>
            </a:r>
            <a:r>
              <a:rPr lang="en-US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, M, </a:t>
            </a:r>
            <a:r>
              <a:rPr lang="el-GR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ρ</a:t>
            </a:r>
            <a:r>
              <a:rPr lang="ru-RU" sz="700" baseline="-250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ср</a:t>
            </a:r>
            <a:r>
              <a:rPr lang="en-US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, t</a:t>
            </a:r>
            <a:r>
              <a:rPr lang="ru-RU" sz="700" baseline="-250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ср</a:t>
            </a:r>
            <a:r>
              <a:rPr lang="en-US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r>
              <a:rPr lang="ru-RU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и погрешностями измерений</a:t>
            </a:r>
          </a:p>
          <a:p>
            <a:pPr marR="0" lvl="0" algn="just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tabLst/>
              <a:defRPr/>
            </a:pPr>
            <a:r>
              <a:rPr lang="ru-RU" sz="700" dirty="0" smtClean="0">
                <a:solidFill>
                  <a:srgbClr val="FFFFFF">
                    <a:lumMod val="85000"/>
                  </a:srgb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3. </a:t>
            </a:r>
            <a:r>
              <a:rPr lang="ru-RU" sz="700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Возможность </a:t>
            </a:r>
            <a:r>
              <a:rPr lang="ru-RU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инвентаризации </a:t>
            </a:r>
            <a:r>
              <a:rPr lang="ru-RU" sz="700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остатков нефтепродуктов в резервуарном парке за отчетный период с высокой </a:t>
            </a:r>
            <a:r>
              <a:rPr lang="ru-RU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точностью.</a:t>
            </a:r>
            <a:endParaRPr lang="ru-RU" sz="700" dirty="0">
              <a:solidFill>
                <a:schemeClr val="bg1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 algn="just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tabLst/>
              <a:defRPr/>
            </a:pPr>
            <a:r>
              <a:rPr lang="ru-RU" sz="700" dirty="0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4. </a:t>
            </a:r>
            <a:r>
              <a:rPr lang="ru-RU" sz="700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Погрешность сходимости результатов измерений по нефтебазе «Гладкое» 3710,66/3719,32-1*100%=0,23 % не превышает допустимых 0,</a:t>
            </a:r>
            <a:r>
              <a:rPr lang="en-US" sz="700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r>
              <a:rPr lang="ru-RU" sz="700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%.</a:t>
            </a:r>
            <a:endParaRPr lang="ru-RU" sz="700" dirty="0">
              <a:solidFill>
                <a:schemeClr val="bg2">
                  <a:lumMod val="40000"/>
                  <a:lumOff val="60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0" lvl="0" algn="just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tabLst/>
              <a:defRPr/>
            </a:pPr>
            <a:r>
              <a:rPr lang="ru-RU" sz="700" dirty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5. Исключение влияния человеческого фактора на результаты измерений и их </a:t>
            </a:r>
            <a:r>
              <a:rPr lang="ru-RU" sz="7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интерпретацию </a:t>
            </a:r>
            <a:endParaRPr lang="ru-RU" sz="700" dirty="0">
              <a:solidFill>
                <a:schemeClr val="bg1">
                  <a:lumMod val="7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33" name="Прямая соединительная линия 132"/>
          <p:cNvCxnSpPr/>
          <p:nvPr/>
        </p:nvCxnSpPr>
        <p:spPr>
          <a:xfrm flipV="1">
            <a:off x="6908218" y="2085929"/>
            <a:ext cx="0" cy="27786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единительная линия 134"/>
          <p:cNvCxnSpPr/>
          <p:nvPr/>
        </p:nvCxnSpPr>
        <p:spPr>
          <a:xfrm>
            <a:off x="6908218" y="2067694"/>
            <a:ext cx="132411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201742" y="1872866"/>
            <a:ext cx="75463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Δ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190,35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т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38" name="Прямая соединительная линия 137"/>
          <p:cNvCxnSpPr/>
          <p:nvPr/>
        </p:nvCxnSpPr>
        <p:spPr>
          <a:xfrm flipV="1">
            <a:off x="1059577" y="1382288"/>
            <a:ext cx="0" cy="72141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1050910" y="1382288"/>
            <a:ext cx="71597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/>
          <p:cNvCxnSpPr/>
          <p:nvPr/>
        </p:nvCxnSpPr>
        <p:spPr>
          <a:xfrm flipV="1">
            <a:off x="8215434" y="1382288"/>
            <a:ext cx="0" cy="77031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Прямоугольник 144"/>
          <p:cNvSpPr/>
          <p:nvPr/>
        </p:nvSpPr>
        <p:spPr>
          <a:xfrm>
            <a:off x="4220542" y="1188790"/>
            <a:ext cx="86214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Δ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3 710,66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т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3174471" y="3831890"/>
            <a:ext cx="0" cy="17965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3174471" y="4012976"/>
            <a:ext cx="243381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единительная линия 151"/>
          <p:cNvCxnSpPr/>
          <p:nvPr/>
        </p:nvCxnSpPr>
        <p:spPr>
          <a:xfrm>
            <a:off x="5608283" y="3817714"/>
            <a:ext cx="0" cy="19669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Прямоугольник 154"/>
          <p:cNvSpPr/>
          <p:nvPr/>
        </p:nvSpPr>
        <p:spPr>
          <a:xfrm>
            <a:off x="4002399" y="3812870"/>
            <a:ext cx="83753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Δ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3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719,32 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8" name="Текст 85"/>
              <p:cNvSpPr txBox="1">
                <a:spLocks/>
              </p:cNvSpPr>
              <p:nvPr/>
            </p:nvSpPr>
            <p:spPr>
              <a:xfrm>
                <a:off x="6236952" y="3960058"/>
                <a:ext cx="2943560" cy="773232"/>
              </a:xfrm>
              <a:prstGeom prst="rect">
                <a:avLst/>
              </a:prstGeom>
              <a:noFill/>
            </p:spPr>
            <p:txBody>
              <a:bodyPr anchor="t"/>
              <a:lstStyle>
                <a:lvl1pPr marL="0" indent="0" algn="l" defTabSz="1007943" rtl="0" eaLnBrk="1" latinLnBrk="0" hangingPunct="1">
                  <a:spcBef>
                    <a:spcPct val="0"/>
                  </a:spcBef>
                  <a:spcAft>
                    <a:spcPts val="0"/>
                  </a:spcAft>
                  <a:buClr>
                    <a:schemeClr val="accent1"/>
                  </a:buClr>
                  <a:buSzPct val="90000"/>
                  <a:buFont typeface="Wingdings" pitchFamily="2" charset="2"/>
                  <a:buNone/>
                  <a:defRPr lang="ru-RU" sz="2205" b="0" kern="1200" dirty="0">
                    <a:solidFill>
                      <a:schemeClr val="accent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lvl1pPr>
                <a:lvl2pPr marL="199489" marR="0" indent="-199489" algn="l" defTabSz="1007943" rtl="0" eaLnBrk="1" fontAlgn="auto" latinLnBrk="0" hangingPunct="1">
                  <a:lnSpc>
                    <a:spcPct val="100000"/>
                  </a:lnSpc>
                  <a:spcBef>
                    <a:spcPts val="1323"/>
                  </a:spcBef>
                  <a:spcAft>
                    <a:spcPts val="0"/>
                  </a:spcAft>
                  <a:buClr>
                    <a:schemeClr val="accent1"/>
                  </a:buClr>
                  <a:buSzPct val="100000"/>
                  <a:buFont typeface="Wingdings" pitchFamily="2" charset="2"/>
                  <a:buChar char="§"/>
                  <a:tabLst/>
                  <a:defRPr sz="154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86729" indent="-187240" algn="l" defTabSz="1007943" rtl="0" eaLnBrk="1" latinLnBrk="0" hangingPunct="1">
                  <a:spcBef>
                    <a:spcPts val="661"/>
                  </a:spcBef>
                  <a:buClr>
                    <a:schemeClr val="accent3"/>
                  </a:buClr>
                  <a:buFont typeface="Wingdings" pitchFamily="2" charset="2"/>
                  <a:buChar char="§"/>
                  <a:tabLst/>
                  <a:defRPr sz="132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763900" indent="-251986" algn="l" defTabSz="1007943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984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267872" indent="-251986" algn="l" defTabSz="1007943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984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771844" indent="-251986" algn="l" defTabSz="100794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20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75815" indent="-251986" algn="l" defTabSz="100794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20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779787" indent="-251986" algn="l" defTabSz="100794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20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283758" indent="-251986" algn="l" defTabSz="100794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205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07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077"/>
                  </a:buClr>
                  <a:buSzPct val="90000"/>
                  <a:buFont typeface="Wingdings" pitchFamily="2" charset="2"/>
                  <a:buNone/>
                  <a:tabLst/>
                  <a:defRPr/>
                </a:pP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Допустимая погрешность при оперативной оценке </a:t>
                </a:r>
                <a:r>
                  <a:rPr lang="ru-RU" sz="600" b="1" dirty="0" err="1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дебаласа</a:t>
                </a: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нефтебазы:</a:t>
                </a:r>
              </a:p>
              <a:p>
                <a:pPr lvl="0">
                  <a:spcBef>
                    <a:spcPts val="0"/>
                  </a:spcBef>
                  <a:buClr>
                    <a:srgbClr val="004077"/>
                  </a:buClr>
                  <a:defRPr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600" b="1" i="1" smtClean="0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</m:ctrlPr>
                        </m:sSubPr>
                        <m:e>
                          <m:r>
                            <a:rPr lang="ru-RU" sz="600" b="1" i="1" smtClean="0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𝝈</m:t>
                          </m:r>
                        </m:e>
                        <m:sub>
                          <m:r>
                            <a:rPr lang="en-US" sz="600" b="1" i="1" smtClean="0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𝟏𝟐𝟑</m:t>
                          </m:r>
                        </m:sub>
                      </m:sSub>
                      <m:r>
                        <a:rPr lang="en-US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=</m:t>
                      </m:r>
                      <m:r>
                        <a:rPr lang="en-US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𝟏</m:t>
                      </m:r>
                      <m:r>
                        <a:rPr lang="en-US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,</m:t>
                      </m:r>
                      <m:r>
                        <a:rPr lang="ru-RU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𝟏</m:t>
                      </m:r>
                      <m:r>
                        <a:rPr lang="en-US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 ∙</m:t>
                      </m:r>
                      <m:rad>
                        <m:radPr>
                          <m:degHide m:val="on"/>
                          <m:ctrlPr>
                            <a:rPr lang="en-US" sz="600" b="1" i="1" smtClean="0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</m:ctrlPr>
                        </m:radPr>
                        <m:deg/>
                        <m:e>
                          <m:r>
                            <a:rPr lang="en-US" sz="600" b="1" i="1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𝟎</m:t>
                          </m:r>
                          <m:r>
                            <a:rPr lang="en-US" sz="600" b="1" i="1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,</m:t>
                          </m:r>
                          <m:r>
                            <a:rPr lang="en-US" sz="600" b="1" i="1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𝟐</m:t>
                          </m:r>
                          <m:sSup>
                            <m:sSupPr>
                              <m:ctrlPr>
                                <a:rPr lang="en-US" sz="600" b="1" i="1">
                                  <a:solidFill>
                                    <a:srgbClr val="FFFFFF">
                                      <a:lumMod val="85000"/>
                                    </a:srgb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Verdana" panose="020B060403050404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600" b="1" i="1">
                                  <a:solidFill>
                                    <a:srgbClr val="FFFFFF">
                                      <a:lumMod val="85000"/>
                                    </a:srgb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Verdana" panose="020B0604030504040204" pitchFamily="34" charset="0"/>
                                </a:rPr>
                                <m:t>𝟓</m:t>
                              </m:r>
                            </m:e>
                            <m:sup>
                              <m:r>
                                <a:rPr lang="en-US" sz="600" b="1" i="1">
                                  <a:solidFill>
                                    <a:srgbClr val="FFFFFF">
                                      <a:lumMod val="85000"/>
                                    </a:srgb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Verdana" panose="020B0604030504040204" pitchFamily="34" charset="0"/>
                                </a:rPr>
                                <m:t>𝟐</m:t>
                              </m:r>
                            </m:sup>
                          </m:sSup>
                          <m:r>
                            <a:rPr lang="en-US" sz="600" b="1" i="1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+</m:t>
                          </m:r>
                          <m:r>
                            <a:rPr lang="en-US" sz="600" b="1" i="1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𝟎</m:t>
                          </m:r>
                          <m:r>
                            <a:rPr lang="en-US" sz="600" b="1" i="1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,</m:t>
                          </m:r>
                          <m:r>
                            <a:rPr lang="en-US" sz="600" b="1" i="1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𝟐</m:t>
                          </m:r>
                          <m:sSup>
                            <m:sSupPr>
                              <m:ctrlPr>
                                <a:rPr lang="en-US" sz="600" b="1" i="1">
                                  <a:solidFill>
                                    <a:srgbClr val="FFFFFF">
                                      <a:lumMod val="85000"/>
                                    </a:srgb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Verdana" panose="020B060403050404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600" b="1" i="1">
                                  <a:solidFill>
                                    <a:srgbClr val="FFFFFF">
                                      <a:lumMod val="85000"/>
                                    </a:srgb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Verdana" panose="020B0604030504040204" pitchFamily="34" charset="0"/>
                                </a:rPr>
                                <m:t>𝟓</m:t>
                              </m:r>
                            </m:e>
                            <m:sup>
                              <m:r>
                                <a:rPr lang="en-US" sz="600" b="1" i="1">
                                  <a:solidFill>
                                    <a:srgbClr val="FFFFFF">
                                      <a:lumMod val="85000"/>
                                    </a:srgb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Verdana" panose="020B0604030504040204" pitchFamily="34" charset="0"/>
                                </a:rPr>
                                <m:t>𝟐</m:t>
                              </m:r>
                            </m:sup>
                          </m:sSup>
                          <m:r>
                            <a:rPr lang="ru-RU" sz="600" b="1" i="1" smtClean="0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+</m:t>
                          </m:r>
                          <m:r>
                            <a:rPr lang="en-US" sz="600" b="1" i="1" smtClean="0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𝟎</m:t>
                          </m:r>
                          <m:r>
                            <a:rPr lang="en-US" sz="600" b="1" i="1" smtClean="0">
                              <a:solidFill>
                                <a:srgbClr val="FFFFFF">
                                  <a:lumMod val="85000"/>
                                </a:srgbClr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Verdana" panose="020B0604030504040204" pitchFamily="34" charset="0"/>
                            </a:rPr>
                            <m:t>,</m:t>
                          </m:r>
                          <m:sSup>
                            <m:sSupPr>
                              <m:ctrlPr>
                                <a:rPr lang="en-US" sz="600" b="1" i="1" smtClean="0">
                                  <a:solidFill>
                                    <a:srgbClr val="FFFFFF">
                                      <a:lumMod val="85000"/>
                                    </a:srgb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Verdana" panose="020B060403050404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600" b="1" i="1" smtClean="0">
                                  <a:solidFill>
                                    <a:srgbClr val="FFFFFF">
                                      <a:lumMod val="85000"/>
                                    </a:srgb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Verdana" panose="020B0604030504040204" pitchFamily="34" charset="0"/>
                                </a:rPr>
                                <m:t>𝟓</m:t>
                              </m:r>
                            </m:e>
                            <m:sup>
                              <m:r>
                                <a:rPr lang="en-US" sz="600" b="1" i="1" smtClean="0">
                                  <a:solidFill>
                                    <a:srgbClr val="FFFFFF">
                                      <a:lumMod val="85000"/>
                                    </a:srgbClr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Verdana" panose="020B0604030504040204" pitchFamily="34" charset="0"/>
                                </a:rPr>
                                <m:t>𝟐</m:t>
                              </m:r>
                            </m:sup>
                          </m:sSup>
                        </m:e>
                      </m:rad>
                      <m:r>
                        <a:rPr lang="en-US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=</m:t>
                      </m:r>
                      <m:r>
                        <a:rPr lang="ru-RU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𝟎</m:t>
                      </m:r>
                      <m:r>
                        <a:rPr lang="ru-RU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,</m:t>
                      </m:r>
                      <m:r>
                        <a:rPr lang="ru-RU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𝟔𝟕</m:t>
                      </m:r>
                      <m:r>
                        <a:rPr lang="en-US" sz="600" b="1" i="1" smtClean="0">
                          <a:solidFill>
                            <a:srgbClr val="FFFFFF">
                              <a:lumMod val="85000"/>
                            </a:srgbClr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Verdana" panose="020B0604030504040204" pitchFamily="34" charset="0"/>
                        </a:rPr>
                        <m:t> %</m:t>
                      </m:r>
                    </m:oMath>
                  </m:oMathPara>
                </a14:m>
                <a:endParaRPr lang="ru-RU" sz="600" b="1" dirty="0" smtClean="0">
                  <a:solidFill>
                    <a:srgbClr val="FFFFFF">
                      <a:lumMod val="85000"/>
                    </a:srgbClr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0" marR="0" lvl="0" indent="0" algn="l" defTabSz="100794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077"/>
                  </a:buClr>
                  <a:buSzPct val="90000"/>
                  <a:buFont typeface="Wingdings" pitchFamily="2" charset="2"/>
                  <a:buNone/>
                  <a:tabLst/>
                  <a:defRPr/>
                </a:pP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где </a:t>
                </a:r>
                <a:r>
                  <a:rPr lang="el-GR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σ</a:t>
                </a: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1 – погрешность измерений на участке приема</a:t>
                </a:r>
              </a:p>
              <a:p>
                <a:pPr>
                  <a:spcBef>
                    <a:spcPts val="0"/>
                  </a:spcBef>
                  <a:buClr>
                    <a:srgbClr val="004077"/>
                  </a:buClr>
                </a:pP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      </a:t>
                </a:r>
                <a:r>
                  <a:rPr lang="el-GR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σ</a:t>
                </a:r>
                <a:r>
                  <a:rPr lang="ru-RU" sz="600" b="1" baseline="-25000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2</a:t>
                </a: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ru-RU" sz="600" b="1" dirty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– погрешность измерений на </a:t>
                </a: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участке хранения</a:t>
                </a:r>
                <a:endParaRPr lang="ru-RU" sz="600" b="1" dirty="0">
                  <a:solidFill>
                    <a:srgbClr val="FFFFFF">
                      <a:lumMod val="85000"/>
                    </a:srgbClr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0"/>
                  </a:spcBef>
                  <a:buClr>
                    <a:srgbClr val="004077"/>
                  </a:buClr>
                </a:pP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      </a:t>
                </a:r>
                <a:r>
                  <a:rPr lang="el-GR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σ</a:t>
                </a:r>
                <a:r>
                  <a:rPr lang="ru-RU" sz="600" b="1" baseline="-25000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3</a:t>
                </a: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ru-RU" sz="600" b="1" dirty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– погрешность измерений на </a:t>
                </a: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участке отпуска</a:t>
                </a:r>
                <a:endParaRPr lang="en-US" sz="600" b="1" dirty="0" smtClean="0">
                  <a:solidFill>
                    <a:srgbClr val="FFFFFF">
                      <a:lumMod val="85000"/>
                    </a:srgbClr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0"/>
                  </a:spcBef>
                  <a:buClr>
                    <a:srgbClr val="004077"/>
                  </a:buClr>
                </a:pPr>
                <a:r>
                  <a:rPr lang="el-GR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σ</a:t>
                </a:r>
                <a:r>
                  <a:rPr lang="ru-RU" sz="600" b="1" baseline="-25000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123</a:t>
                </a: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ru-RU" sz="600" b="1" dirty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– погрешность </a:t>
                </a:r>
                <a:r>
                  <a:rPr lang="ru-RU" sz="600" b="1" dirty="0" smtClean="0">
                    <a:solidFill>
                      <a:srgbClr val="FFFFFF">
                        <a:lumMod val="85000"/>
                      </a:srgbClr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НБ</a:t>
                </a:r>
                <a:endParaRPr lang="en-US" sz="600" b="1" dirty="0">
                  <a:solidFill>
                    <a:srgbClr val="FFFFFF">
                      <a:lumMod val="85000"/>
                    </a:srgbClr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0"/>
                  </a:spcBef>
                  <a:buClr>
                    <a:srgbClr val="004077"/>
                  </a:buClr>
                </a:pPr>
                <a:endParaRPr lang="en-US" sz="600" b="1" dirty="0">
                  <a:solidFill>
                    <a:srgbClr val="FFFFFF">
                      <a:lumMod val="85000"/>
                    </a:srgbClr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>
                  <a:spcBef>
                    <a:spcPts val="0"/>
                  </a:spcBef>
                  <a:buClr>
                    <a:srgbClr val="004077"/>
                  </a:buClr>
                </a:pPr>
                <a:endParaRPr lang="ru-RU" sz="600" b="1" dirty="0">
                  <a:solidFill>
                    <a:srgbClr val="FFFFFF">
                      <a:lumMod val="85000"/>
                    </a:srgbClr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168" name="Текст 8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36952" y="3960058"/>
                <a:ext cx="2943560" cy="773232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Прямоугольник 3"/>
          <p:cNvSpPr/>
          <p:nvPr/>
        </p:nvSpPr>
        <p:spPr>
          <a:xfrm>
            <a:off x="1089954" y="2314795"/>
            <a:ext cx="372065" cy="233067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43" name="Прямоугольник 142"/>
          <p:cNvSpPr/>
          <p:nvPr/>
        </p:nvSpPr>
        <p:spPr>
          <a:xfrm>
            <a:off x="639520" y="2314795"/>
            <a:ext cx="371345" cy="233067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44" name="Прямоугольник 143"/>
          <p:cNvSpPr/>
          <p:nvPr/>
        </p:nvSpPr>
        <p:spPr>
          <a:xfrm>
            <a:off x="171410" y="2314794"/>
            <a:ext cx="391910" cy="233067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7" name="Правая фигурная скобка 6"/>
          <p:cNvSpPr/>
          <p:nvPr/>
        </p:nvSpPr>
        <p:spPr>
          <a:xfrm rot="16200000">
            <a:off x="940024" y="1265901"/>
            <a:ext cx="237894" cy="1913489"/>
          </a:xfrm>
          <a:prstGeom prst="rightBrac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6" name="Текст 2"/>
          <p:cNvSpPr>
            <a:spLocks noGrp="1"/>
          </p:cNvSpPr>
          <p:nvPr/>
        </p:nvSpPr>
        <p:spPr bwMode="auto">
          <a:xfrm>
            <a:off x="2859775" y="-186888"/>
            <a:ext cx="1476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Т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7" name="Текст 2"/>
          <p:cNvSpPr>
            <a:spLocks noGrp="1"/>
          </p:cNvSpPr>
          <p:nvPr/>
        </p:nvSpPr>
        <p:spPr bwMode="auto">
          <a:xfrm>
            <a:off x="997638" y="-186888"/>
            <a:ext cx="3730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И-92</a:t>
            </a:r>
          </a:p>
        </p:txBody>
      </p:sp>
      <p:sp>
        <p:nvSpPr>
          <p:cNvPr id="149" name="Текст 2"/>
          <p:cNvSpPr>
            <a:spLocks noGrp="1"/>
          </p:cNvSpPr>
          <p:nvPr/>
        </p:nvSpPr>
        <p:spPr bwMode="auto">
          <a:xfrm>
            <a:off x="1615175" y="-172662"/>
            <a:ext cx="3063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И-95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0" name="Текст 2"/>
          <p:cNvSpPr>
            <a:spLocks noGrp="1"/>
          </p:cNvSpPr>
          <p:nvPr/>
        </p:nvSpPr>
        <p:spPr bwMode="auto">
          <a:xfrm>
            <a:off x="2169212" y="-186888"/>
            <a:ext cx="3635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И-100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151" name="Группа 150"/>
          <p:cNvGrpSpPr/>
          <p:nvPr/>
        </p:nvGrpSpPr>
        <p:grpSpPr>
          <a:xfrm>
            <a:off x="1197164" y="-304145"/>
            <a:ext cx="1735635" cy="58881"/>
            <a:chOff x="2495052" y="2874351"/>
            <a:chExt cx="1735635" cy="58881"/>
          </a:xfrm>
        </p:grpSpPr>
        <p:cxnSp>
          <p:nvCxnSpPr>
            <p:cNvPr id="153" name="Прямая соединительная линия 152"/>
            <p:cNvCxnSpPr/>
            <p:nvPr/>
          </p:nvCxnSpPr>
          <p:spPr>
            <a:xfrm>
              <a:off x="3638209" y="2874351"/>
              <a:ext cx="0" cy="58881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Прямая соединительная линия 153"/>
            <p:cNvCxnSpPr/>
            <p:nvPr/>
          </p:nvCxnSpPr>
          <p:spPr>
            <a:xfrm>
              <a:off x="2495052" y="2882432"/>
              <a:ext cx="0" cy="50800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Прямая соединительная линия 155"/>
            <p:cNvCxnSpPr/>
            <p:nvPr/>
          </p:nvCxnSpPr>
          <p:spPr>
            <a:xfrm>
              <a:off x="3059832" y="2882432"/>
              <a:ext cx="0" cy="50800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Прямая соединительная линия 156"/>
            <p:cNvCxnSpPr/>
            <p:nvPr/>
          </p:nvCxnSpPr>
          <p:spPr>
            <a:xfrm>
              <a:off x="4230687" y="2874351"/>
              <a:ext cx="0" cy="58881"/>
            </a:xfrm>
            <a:prstGeom prst="line">
              <a:avLst/>
            </a:prstGeom>
            <a:ln>
              <a:solidFill>
                <a:srgbClr val="EF621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2" name="Текст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49325" y="1946551"/>
            <a:ext cx="4222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.07.1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19:59:58</a:t>
            </a:r>
          </a:p>
        </p:txBody>
      </p:sp>
      <p:sp>
        <p:nvSpPr>
          <p:cNvPr id="158" name="Picture118"/>
          <p:cNvSpPr>
            <a:spLocks noChangeAspect="1" noEditPoints="1"/>
          </p:cNvSpPr>
          <p:nvPr/>
        </p:nvSpPr>
        <p:spPr bwMode="auto">
          <a:xfrm>
            <a:off x="1158247" y="3295574"/>
            <a:ext cx="233059" cy="16080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60" name="Прямая соединительная линия 159"/>
          <p:cNvCxnSpPr/>
          <p:nvPr/>
        </p:nvCxnSpPr>
        <p:spPr>
          <a:xfrm>
            <a:off x="1296948" y="2815711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Picture118"/>
          <p:cNvSpPr>
            <a:spLocks noChangeAspect="1" noEditPoints="1"/>
          </p:cNvSpPr>
          <p:nvPr/>
        </p:nvSpPr>
        <p:spPr bwMode="auto">
          <a:xfrm>
            <a:off x="703211" y="3288394"/>
            <a:ext cx="233059" cy="16080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65" name="Прямая соединительная линия 164"/>
          <p:cNvCxnSpPr/>
          <p:nvPr/>
        </p:nvCxnSpPr>
        <p:spPr>
          <a:xfrm>
            <a:off x="841912" y="2808531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Picture118"/>
          <p:cNvSpPr>
            <a:spLocks noChangeAspect="1" noEditPoints="1"/>
          </p:cNvSpPr>
          <p:nvPr/>
        </p:nvSpPr>
        <p:spPr bwMode="auto">
          <a:xfrm>
            <a:off x="229365" y="3290053"/>
            <a:ext cx="233059" cy="16080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67" name="Прямая соединительная линия 166"/>
          <p:cNvCxnSpPr/>
          <p:nvPr/>
        </p:nvCxnSpPr>
        <p:spPr>
          <a:xfrm>
            <a:off x="368066" y="2810190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Текст 2"/>
          <p:cNvSpPr>
            <a:spLocks noGrp="1"/>
          </p:cNvSpPr>
          <p:nvPr/>
        </p:nvSpPr>
        <p:spPr bwMode="auto">
          <a:xfrm>
            <a:off x="171600" y="2949803"/>
            <a:ext cx="3730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АИ-92</a:t>
            </a:r>
          </a:p>
        </p:txBody>
      </p:sp>
      <p:sp>
        <p:nvSpPr>
          <p:cNvPr id="170" name="Текст 2"/>
          <p:cNvSpPr>
            <a:spLocks noGrp="1"/>
          </p:cNvSpPr>
          <p:nvPr/>
        </p:nvSpPr>
        <p:spPr bwMode="auto">
          <a:xfrm>
            <a:off x="679921" y="2955204"/>
            <a:ext cx="3063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АИ-95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171" name="Текст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126777" y="2956983"/>
            <a:ext cx="3635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АИ-100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172" name="Текст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650702" y="2967485"/>
            <a:ext cx="1476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ДТ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174" name="Текст 2"/>
          <p:cNvSpPr>
            <a:spLocks noGrp="1"/>
          </p:cNvSpPr>
          <p:nvPr/>
        </p:nvSpPr>
        <p:spPr bwMode="auto">
          <a:xfrm>
            <a:off x="1050910" y="2625862"/>
            <a:ext cx="422275" cy="112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81,11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5" name="Текст 2"/>
          <p:cNvSpPr>
            <a:spLocks noGrp="1"/>
          </p:cNvSpPr>
          <p:nvPr/>
        </p:nvSpPr>
        <p:spPr bwMode="auto">
          <a:xfrm>
            <a:off x="607843" y="2618939"/>
            <a:ext cx="422275" cy="112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 571,93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6" name="Текст 2"/>
          <p:cNvSpPr>
            <a:spLocks noGrp="1"/>
          </p:cNvSpPr>
          <p:nvPr/>
        </p:nvSpPr>
        <p:spPr bwMode="auto">
          <a:xfrm>
            <a:off x="146136" y="2630105"/>
            <a:ext cx="422275" cy="112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673,23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7" name="Прямоугольник 176"/>
          <p:cNvSpPr/>
          <p:nvPr/>
        </p:nvSpPr>
        <p:spPr>
          <a:xfrm>
            <a:off x="128332" y="3148849"/>
            <a:ext cx="1823002" cy="504322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Овал 177"/>
          <p:cNvSpPr/>
          <p:nvPr/>
        </p:nvSpPr>
        <p:spPr>
          <a:xfrm>
            <a:off x="287524" y="3503567"/>
            <a:ext cx="1528878" cy="287338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сего хранитс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 889,22 т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146136" y="2557101"/>
            <a:ext cx="1276493" cy="0"/>
          </a:xfrm>
          <a:prstGeom prst="line">
            <a:avLst/>
          </a:prstGeom>
          <a:ln w="9525"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Прямоугольник 178"/>
          <p:cNvSpPr/>
          <p:nvPr/>
        </p:nvSpPr>
        <p:spPr>
          <a:xfrm>
            <a:off x="8664431" y="2370696"/>
            <a:ext cx="372065" cy="176489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80" name="Прямоугольник 179"/>
          <p:cNvSpPr/>
          <p:nvPr/>
        </p:nvSpPr>
        <p:spPr>
          <a:xfrm>
            <a:off x="8233103" y="2373267"/>
            <a:ext cx="371345" cy="17391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81" name="Прямоугольник 180"/>
          <p:cNvSpPr/>
          <p:nvPr/>
        </p:nvSpPr>
        <p:spPr>
          <a:xfrm>
            <a:off x="7787982" y="2373267"/>
            <a:ext cx="391910" cy="173917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82" name="Правая фигурная скобка 181"/>
          <p:cNvSpPr/>
          <p:nvPr/>
        </p:nvSpPr>
        <p:spPr>
          <a:xfrm rot="16200000">
            <a:off x="8097242" y="1355720"/>
            <a:ext cx="237894" cy="1805859"/>
          </a:xfrm>
          <a:prstGeom prst="rightBrac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36" name="Текст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352420" y="1952716"/>
            <a:ext cx="4222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.08.19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:00:01</a:t>
            </a:r>
          </a:p>
        </p:txBody>
      </p:sp>
      <p:sp>
        <p:nvSpPr>
          <p:cNvPr id="192" name="Текст 2"/>
          <p:cNvSpPr>
            <a:spLocks noGrp="1"/>
          </p:cNvSpPr>
          <p:nvPr/>
        </p:nvSpPr>
        <p:spPr bwMode="auto">
          <a:xfrm>
            <a:off x="7356165" y="2931790"/>
            <a:ext cx="3730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АИ-92</a:t>
            </a:r>
          </a:p>
        </p:txBody>
      </p:sp>
      <p:cxnSp>
        <p:nvCxnSpPr>
          <p:cNvPr id="193" name="Прямая соединительная линия 192"/>
          <p:cNvCxnSpPr/>
          <p:nvPr/>
        </p:nvCxnSpPr>
        <p:spPr>
          <a:xfrm>
            <a:off x="8022466" y="2797346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Текст 2"/>
          <p:cNvSpPr>
            <a:spLocks noGrp="1"/>
          </p:cNvSpPr>
          <p:nvPr/>
        </p:nvSpPr>
        <p:spPr bwMode="auto">
          <a:xfrm>
            <a:off x="7860475" y="2944019"/>
            <a:ext cx="3063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АИ-95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195" name="Текст 2"/>
          <p:cNvSpPr>
            <a:spLocks noGrp="1"/>
          </p:cNvSpPr>
          <p:nvPr/>
        </p:nvSpPr>
        <p:spPr bwMode="auto">
          <a:xfrm>
            <a:off x="7788397" y="2643758"/>
            <a:ext cx="422275" cy="112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sz="800" dirty="0" smtClean="0">
                <a:solidFill>
                  <a:srgbClr val="FFFFFF"/>
                </a:solidFill>
                <a:latin typeface="Arial"/>
                <a:sym typeface="+mn-lt"/>
              </a:rPr>
              <a:t>4 387,47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197" name="Прямая соединительная линия 196"/>
          <p:cNvCxnSpPr/>
          <p:nvPr/>
        </p:nvCxnSpPr>
        <p:spPr>
          <a:xfrm>
            <a:off x="8466406" y="2790971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Текст 2"/>
          <p:cNvSpPr>
            <a:spLocks noGrp="1"/>
          </p:cNvSpPr>
          <p:nvPr/>
        </p:nvSpPr>
        <p:spPr bwMode="auto">
          <a:xfrm>
            <a:off x="8304415" y="2937644"/>
            <a:ext cx="3063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АИ-</a:t>
            </a:r>
            <a:r>
              <a:rPr kumimoji="0" lang="en-US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100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199" name="Текст 2"/>
          <p:cNvSpPr>
            <a:spLocks noGrp="1"/>
          </p:cNvSpPr>
          <p:nvPr/>
        </p:nvSpPr>
        <p:spPr bwMode="auto">
          <a:xfrm>
            <a:off x="8232337" y="2637383"/>
            <a:ext cx="422275" cy="112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sz="800" dirty="0" smtClean="0">
                <a:solidFill>
                  <a:srgbClr val="FFFFFF"/>
                </a:solidFill>
                <a:latin typeface="Arial"/>
                <a:sym typeface="+mn-lt"/>
              </a:rPr>
              <a:t>200,84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200" name="Прямая соединительная линия 199"/>
          <p:cNvCxnSpPr/>
          <p:nvPr/>
        </p:nvCxnSpPr>
        <p:spPr>
          <a:xfrm>
            <a:off x="8860131" y="2790385"/>
            <a:ext cx="0" cy="50800"/>
          </a:xfrm>
          <a:prstGeom prst="line">
            <a:avLst/>
          </a:prstGeom>
          <a:ln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Текст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698140" y="2937058"/>
            <a:ext cx="3063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sz="800" dirty="0" smtClean="0">
                <a:solidFill>
                  <a:srgbClr val="FFFFFF"/>
                </a:solidFill>
                <a:sym typeface="+mn-lt"/>
              </a:rPr>
              <a:t>ДТ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02" name="Текст 2"/>
          <p:cNvSpPr>
            <a:spLocks noGrp="1"/>
          </p:cNvSpPr>
          <p:nvPr/>
        </p:nvSpPr>
        <p:spPr bwMode="auto">
          <a:xfrm>
            <a:off x="8626062" y="2636797"/>
            <a:ext cx="422275" cy="112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sz="800" dirty="0" smtClean="0">
                <a:solidFill>
                  <a:srgbClr val="FFFFFF"/>
                </a:solidFill>
                <a:latin typeface="Arial"/>
                <a:sym typeface="+mn-lt"/>
              </a:rPr>
              <a:t>6 648,53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3" name="Picture118"/>
          <p:cNvSpPr>
            <a:spLocks noChangeAspect="1" noEditPoints="1"/>
          </p:cNvSpPr>
          <p:nvPr/>
        </p:nvSpPr>
        <p:spPr bwMode="auto">
          <a:xfrm>
            <a:off x="8738737" y="3301862"/>
            <a:ext cx="233059" cy="16080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4" name="Picture118"/>
          <p:cNvSpPr>
            <a:spLocks noChangeAspect="1" noEditPoints="1"/>
          </p:cNvSpPr>
          <p:nvPr/>
        </p:nvSpPr>
        <p:spPr bwMode="auto">
          <a:xfrm>
            <a:off x="8301897" y="3301862"/>
            <a:ext cx="233059" cy="16080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5" name="Picture118"/>
          <p:cNvSpPr>
            <a:spLocks noChangeAspect="1" noEditPoints="1"/>
          </p:cNvSpPr>
          <p:nvPr/>
        </p:nvSpPr>
        <p:spPr bwMode="auto">
          <a:xfrm>
            <a:off x="7846861" y="3294682"/>
            <a:ext cx="233059" cy="16080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6" name="Picture118"/>
          <p:cNvSpPr>
            <a:spLocks noChangeAspect="1" noEditPoints="1"/>
          </p:cNvSpPr>
          <p:nvPr/>
        </p:nvSpPr>
        <p:spPr bwMode="auto">
          <a:xfrm>
            <a:off x="7373015" y="3296341"/>
            <a:ext cx="233059" cy="160802"/>
          </a:xfrm>
          <a:custGeom>
            <a:avLst/>
            <a:gdLst>
              <a:gd name="T0" fmla="*/ 345 w 1690"/>
              <a:gd name="T1" fmla="*/ 1218 h 1299"/>
              <a:gd name="T2" fmla="*/ 345 w 1690"/>
              <a:gd name="T3" fmla="*/ 1118 h 1299"/>
              <a:gd name="T4" fmla="*/ 345 w 1690"/>
              <a:gd name="T5" fmla="*/ 918 h 1299"/>
              <a:gd name="T6" fmla="*/ 345 w 1690"/>
              <a:gd name="T7" fmla="*/ 720 h 1299"/>
              <a:gd name="T8" fmla="*/ 345 w 1690"/>
              <a:gd name="T9" fmla="*/ 620 h 1299"/>
              <a:gd name="T10" fmla="*/ 345 w 1690"/>
              <a:gd name="T11" fmla="*/ 423 h 1299"/>
              <a:gd name="T12" fmla="*/ 345 w 1690"/>
              <a:gd name="T13" fmla="*/ 324 h 1299"/>
              <a:gd name="T14" fmla="*/ 255 w 1690"/>
              <a:gd name="T15" fmla="*/ 153 h 1299"/>
              <a:gd name="T16" fmla="*/ 189 w 1690"/>
              <a:gd name="T17" fmla="*/ 1276 h 1299"/>
              <a:gd name="T18" fmla="*/ 496 w 1690"/>
              <a:gd name="T19" fmla="*/ 1276 h 1299"/>
              <a:gd name="T20" fmla="*/ 496 w 1690"/>
              <a:gd name="T21" fmla="*/ 1129 h 1299"/>
              <a:gd name="T22" fmla="*/ 496 w 1690"/>
              <a:gd name="T23" fmla="*/ 1105 h 1299"/>
              <a:gd name="T24" fmla="*/ 370 w 1690"/>
              <a:gd name="T25" fmla="*/ 1005 h 1299"/>
              <a:gd name="T26" fmla="*/ 370 w 1690"/>
              <a:gd name="T27" fmla="*/ 1005 h 1299"/>
              <a:gd name="T28" fmla="*/ 370 w 1690"/>
              <a:gd name="T29" fmla="*/ 833 h 1299"/>
              <a:gd name="T30" fmla="*/ 496 w 1690"/>
              <a:gd name="T31" fmla="*/ 734 h 1299"/>
              <a:gd name="T32" fmla="*/ 496 w 1690"/>
              <a:gd name="T33" fmla="*/ 709 h 1299"/>
              <a:gd name="T34" fmla="*/ 370 w 1690"/>
              <a:gd name="T35" fmla="*/ 610 h 1299"/>
              <a:gd name="T36" fmla="*/ 370 w 1690"/>
              <a:gd name="T37" fmla="*/ 610 h 1299"/>
              <a:gd name="T38" fmla="*/ 370 w 1690"/>
              <a:gd name="T39" fmla="*/ 434 h 1299"/>
              <a:gd name="T40" fmla="*/ 496 w 1690"/>
              <a:gd name="T41" fmla="*/ 335 h 1299"/>
              <a:gd name="T42" fmla="*/ 496 w 1690"/>
              <a:gd name="T43" fmla="*/ 310 h 1299"/>
              <a:gd name="T44" fmla="*/ 370 w 1690"/>
              <a:gd name="T45" fmla="*/ 211 h 1299"/>
              <a:gd name="T46" fmla="*/ 390 w 1690"/>
              <a:gd name="T47" fmla="*/ 153 h 1299"/>
              <a:gd name="T48" fmla="*/ 520 w 1690"/>
              <a:gd name="T49" fmla="*/ 1276 h 1299"/>
              <a:gd name="T50" fmla="*/ 1342 w 1690"/>
              <a:gd name="T51" fmla="*/ 153 h 1299"/>
              <a:gd name="T52" fmla="*/ 1206 w 1690"/>
              <a:gd name="T53" fmla="*/ 153 h 1299"/>
              <a:gd name="T54" fmla="*/ 935 w 1690"/>
              <a:gd name="T55" fmla="*/ 153 h 1299"/>
              <a:gd name="T56" fmla="*/ 663 w 1690"/>
              <a:gd name="T57" fmla="*/ 153 h 1299"/>
              <a:gd name="T58" fmla="*/ 526 w 1690"/>
              <a:gd name="T59" fmla="*/ 153 h 1299"/>
              <a:gd name="T60" fmla="*/ 1219 w 1690"/>
              <a:gd name="T61" fmla="*/ 23 h 1299"/>
              <a:gd name="T62" fmla="*/ 1355 w 1690"/>
              <a:gd name="T63" fmla="*/ 130 h 1299"/>
              <a:gd name="T64" fmla="*/ 1441 w 1690"/>
              <a:gd name="T65" fmla="*/ 23 h 1299"/>
              <a:gd name="T66" fmla="*/ 1083 w 1690"/>
              <a:gd name="T67" fmla="*/ 23 h 1299"/>
              <a:gd name="T68" fmla="*/ 1059 w 1690"/>
              <a:gd name="T69" fmla="*/ 23 h 1299"/>
              <a:gd name="T70" fmla="*/ 923 w 1690"/>
              <a:gd name="T71" fmla="*/ 130 h 1299"/>
              <a:gd name="T72" fmla="*/ 923 w 1690"/>
              <a:gd name="T73" fmla="*/ 130 h 1299"/>
              <a:gd name="T74" fmla="*/ 675 w 1690"/>
              <a:gd name="T75" fmla="*/ 130 h 1299"/>
              <a:gd name="T76" fmla="*/ 539 w 1690"/>
              <a:gd name="T77" fmla="*/ 23 h 1299"/>
              <a:gd name="T78" fmla="*/ 515 w 1690"/>
              <a:gd name="T79" fmla="*/ 23 h 1299"/>
              <a:gd name="T80" fmla="*/ 379 w 1690"/>
              <a:gd name="T81" fmla="*/ 130 h 1299"/>
              <a:gd name="T82" fmla="*/ 379 w 1690"/>
              <a:gd name="T83" fmla="*/ 130 h 1299"/>
              <a:gd name="T84" fmla="*/ 155 w 1690"/>
              <a:gd name="T85" fmla="*/ 130 h 1299"/>
              <a:gd name="T86" fmla="*/ 1454 w 1690"/>
              <a:gd name="T87" fmla="*/ 153 h 1299"/>
              <a:gd name="T88" fmla="*/ 1682 w 1690"/>
              <a:gd name="T89" fmla="*/ 1276 h 1299"/>
              <a:gd name="T90" fmla="*/ 1689 w 1690"/>
              <a:gd name="T91" fmla="*/ 1291 h 1299"/>
              <a:gd name="T92" fmla="*/ 1411 w 1690"/>
              <a:gd name="T93" fmla="*/ 1299 h 1299"/>
              <a:gd name="T94" fmla="*/ 508 w 1690"/>
              <a:gd name="T95" fmla="*/ 1299 h 1299"/>
              <a:gd name="T96" fmla="*/ 176 w 1690"/>
              <a:gd name="T97" fmla="*/ 1299 h 1299"/>
              <a:gd name="T98" fmla="*/ 3 w 1690"/>
              <a:gd name="T99" fmla="*/ 1295 h 1299"/>
              <a:gd name="T100" fmla="*/ 3 w 1690"/>
              <a:gd name="T101" fmla="*/ 1279 h 1299"/>
              <a:gd name="T102" fmla="*/ 165 w 1690"/>
              <a:gd name="T103" fmla="*/ 153 h 1299"/>
              <a:gd name="T104" fmla="*/ 133 w 1690"/>
              <a:gd name="T105" fmla="*/ 146 h 1299"/>
              <a:gd name="T106" fmla="*/ 135 w 1690"/>
              <a:gd name="T107" fmla="*/ 3 h 1299"/>
              <a:gd name="T108" fmla="*/ 255 w 1690"/>
              <a:gd name="T109" fmla="*/ 0 h 1299"/>
              <a:gd name="T110" fmla="*/ 526 w 1690"/>
              <a:gd name="T111" fmla="*/ 0 h 1299"/>
              <a:gd name="T112" fmla="*/ 663 w 1690"/>
              <a:gd name="T113" fmla="*/ 0 h 1299"/>
              <a:gd name="T114" fmla="*/ 934 w 1690"/>
              <a:gd name="T115" fmla="*/ 0 h 1299"/>
              <a:gd name="T116" fmla="*/ 1071 w 1690"/>
              <a:gd name="T117" fmla="*/ 0 h 1299"/>
              <a:gd name="T118" fmla="*/ 1342 w 1690"/>
              <a:gd name="T119" fmla="*/ 0 h 1299"/>
              <a:gd name="T120" fmla="*/ 1459 w 1690"/>
              <a:gd name="T121" fmla="*/ 0 h 1299"/>
              <a:gd name="T122" fmla="*/ 1466 w 1690"/>
              <a:gd name="T123" fmla="*/ 141 h 1299"/>
              <a:gd name="T124" fmla="*/ 1454 w 1690"/>
              <a:gd name="T125" fmla="*/ 153 h 1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90" h="1299">
                <a:moveTo>
                  <a:pt x="189" y="1276"/>
                </a:moveTo>
                <a:lnTo>
                  <a:pt x="345" y="1276"/>
                </a:lnTo>
                <a:lnTo>
                  <a:pt x="345" y="1218"/>
                </a:lnTo>
                <a:lnTo>
                  <a:pt x="345" y="1218"/>
                </a:lnTo>
                <a:lnTo>
                  <a:pt x="345" y="1216"/>
                </a:lnTo>
                <a:lnTo>
                  <a:pt x="345" y="1119"/>
                </a:lnTo>
                <a:lnTo>
                  <a:pt x="345" y="1118"/>
                </a:lnTo>
                <a:lnTo>
                  <a:pt x="345" y="1118"/>
                </a:lnTo>
                <a:lnTo>
                  <a:pt x="345" y="1020"/>
                </a:lnTo>
                <a:lnTo>
                  <a:pt x="345" y="1019"/>
                </a:lnTo>
                <a:lnTo>
                  <a:pt x="345" y="1019"/>
                </a:lnTo>
                <a:lnTo>
                  <a:pt x="345" y="918"/>
                </a:lnTo>
                <a:lnTo>
                  <a:pt x="345" y="918"/>
                </a:lnTo>
                <a:lnTo>
                  <a:pt x="345" y="819"/>
                </a:lnTo>
                <a:lnTo>
                  <a:pt x="345" y="819"/>
                </a:lnTo>
                <a:lnTo>
                  <a:pt x="345" y="720"/>
                </a:lnTo>
                <a:lnTo>
                  <a:pt x="345" y="720"/>
                </a:lnTo>
                <a:lnTo>
                  <a:pt x="345" y="720"/>
                </a:lnTo>
                <a:lnTo>
                  <a:pt x="345" y="621"/>
                </a:lnTo>
                <a:lnTo>
                  <a:pt x="345" y="620"/>
                </a:lnTo>
                <a:lnTo>
                  <a:pt x="345" y="523"/>
                </a:lnTo>
                <a:lnTo>
                  <a:pt x="345" y="521"/>
                </a:lnTo>
                <a:lnTo>
                  <a:pt x="345" y="521"/>
                </a:lnTo>
                <a:lnTo>
                  <a:pt x="345" y="423"/>
                </a:lnTo>
                <a:lnTo>
                  <a:pt x="345" y="423"/>
                </a:lnTo>
                <a:lnTo>
                  <a:pt x="345" y="324"/>
                </a:lnTo>
                <a:lnTo>
                  <a:pt x="345" y="324"/>
                </a:lnTo>
                <a:lnTo>
                  <a:pt x="345" y="324"/>
                </a:lnTo>
                <a:lnTo>
                  <a:pt x="345" y="223"/>
                </a:lnTo>
                <a:lnTo>
                  <a:pt x="345" y="223"/>
                </a:lnTo>
                <a:lnTo>
                  <a:pt x="345" y="153"/>
                </a:lnTo>
                <a:lnTo>
                  <a:pt x="255" y="153"/>
                </a:lnTo>
                <a:lnTo>
                  <a:pt x="255" y="153"/>
                </a:lnTo>
                <a:lnTo>
                  <a:pt x="254" y="153"/>
                </a:lnTo>
                <a:lnTo>
                  <a:pt x="189" y="153"/>
                </a:lnTo>
                <a:lnTo>
                  <a:pt x="189" y="1276"/>
                </a:lnTo>
                <a:close/>
                <a:moveTo>
                  <a:pt x="496" y="1229"/>
                </a:moveTo>
                <a:lnTo>
                  <a:pt x="370" y="1229"/>
                </a:lnTo>
                <a:lnTo>
                  <a:pt x="370" y="1276"/>
                </a:lnTo>
                <a:lnTo>
                  <a:pt x="496" y="1276"/>
                </a:lnTo>
                <a:lnTo>
                  <a:pt x="496" y="1229"/>
                </a:lnTo>
                <a:close/>
                <a:moveTo>
                  <a:pt x="370" y="1206"/>
                </a:moveTo>
                <a:lnTo>
                  <a:pt x="496" y="1206"/>
                </a:lnTo>
                <a:lnTo>
                  <a:pt x="496" y="1129"/>
                </a:lnTo>
                <a:lnTo>
                  <a:pt x="370" y="1129"/>
                </a:lnTo>
                <a:lnTo>
                  <a:pt x="370" y="1206"/>
                </a:lnTo>
                <a:close/>
                <a:moveTo>
                  <a:pt x="370" y="1105"/>
                </a:moveTo>
                <a:lnTo>
                  <a:pt x="496" y="1105"/>
                </a:lnTo>
                <a:lnTo>
                  <a:pt x="496" y="1030"/>
                </a:lnTo>
                <a:lnTo>
                  <a:pt x="370" y="1030"/>
                </a:lnTo>
                <a:lnTo>
                  <a:pt x="370" y="1105"/>
                </a:lnTo>
                <a:close/>
                <a:moveTo>
                  <a:pt x="370" y="1005"/>
                </a:moveTo>
                <a:lnTo>
                  <a:pt x="496" y="1005"/>
                </a:lnTo>
                <a:lnTo>
                  <a:pt x="496" y="931"/>
                </a:lnTo>
                <a:lnTo>
                  <a:pt x="370" y="931"/>
                </a:lnTo>
                <a:lnTo>
                  <a:pt x="370" y="1005"/>
                </a:lnTo>
                <a:close/>
                <a:moveTo>
                  <a:pt x="370" y="906"/>
                </a:moveTo>
                <a:lnTo>
                  <a:pt x="496" y="906"/>
                </a:lnTo>
                <a:lnTo>
                  <a:pt x="496" y="833"/>
                </a:lnTo>
                <a:lnTo>
                  <a:pt x="370" y="833"/>
                </a:lnTo>
                <a:lnTo>
                  <a:pt x="370" y="906"/>
                </a:lnTo>
                <a:close/>
                <a:moveTo>
                  <a:pt x="370" y="808"/>
                </a:moveTo>
                <a:lnTo>
                  <a:pt x="496" y="808"/>
                </a:lnTo>
                <a:lnTo>
                  <a:pt x="496" y="734"/>
                </a:lnTo>
                <a:lnTo>
                  <a:pt x="370" y="734"/>
                </a:lnTo>
                <a:lnTo>
                  <a:pt x="370" y="808"/>
                </a:lnTo>
                <a:close/>
                <a:moveTo>
                  <a:pt x="370" y="709"/>
                </a:moveTo>
                <a:lnTo>
                  <a:pt x="496" y="709"/>
                </a:lnTo>
                <a:lnTo>
                  <a:pt x="496" y="633"/>
                </a:lnTo>
                <a:lnTo>
                  <a:pt x="370" y="633"/>
                </a:lnTo>
                <a:lnTo>
                  <a:pt x="370" y="709"/>
                </a:lnTo>
                <a:close/>
                <a:moveTo>
                  <a:pt x="370" y="610"/>
                </a:moveTo>
                <a:lnTo>
                  <a:pt x="496" y="610"/>
                </a:lnTo>
                <a:lnTo>
                  <a:pt x="496" y="533"/>
                </a:lnTo>
                <a:lnTo>
                  <a:pt x="370" y="533"/>
                </a:lnTo>
                <a:lnTo>
                  <a:pt x="370" y="610"/>
                </a:lnTo>
                <a:close/>
                <a:moveTo>
                  <a:pt x="370" y="510"/>
                </a:moveTo>
                <a:lnTo>
                  <a:pt x="496" y="510"/>
                </a:lnTo>
                <a:lnTo>
                  <a:pt x="496" y="434"/>
                </a:lnTo>
                <a:lnTo>
                  <a:pt x="370" y="434"/>
                </a:lnTo>
                <a:lnTo>
                  <a:pt x="370" y="510"/>
                </a:lnTo>
                <a:close/>
                <a:moveTo>
                  <a:pt x="370" y="409"/>
                </a:moveTo>
                <a:lnTo>
                  <a:pt x="496" y="409"/>
                </a:lnTo>
                <a:lnTo>
                  <a:pt x="496" y="335"/>
                </a:lnTo>
                <a:lnTo>
                  <a:pt x="370" y="335"/>
                </a:lnTo>
                <a:lnTo>
                  <a:pt x="370" y="409"/>
                </a:lnTo>
                <a:close/>
                <a:moveTo>
                  <a:pt x="370" y="310"/>
                </a:moveTo>
                <a:lnTo>
                  <a:pt x="496" y="310"/>
                </a:lnTo>
                <a:lnTo>
                  <a:pt x="496" y="236"/>
                </a:lnTo>
                <a:lnTo>
                  <a:pt x="370" y="236"/>
                </a:lnTo>
                <a:lnTo>
                  <a:pt x="370" y="310"/>
                </a:lnTo>
                <a:close/>
                <a:moveTo>
                  <a:pt x="370" y="211"/>
                </a:moveTo>
                <a:lnTo>
                  <a:pt x="496" y="211"/>
                </a:lnTo>
                <a:lnTo>
                  <a:pt x="496" y="153"/>
                </a:lnTo>
                <a:lnTo>
                  <a:pt x="391" y="153"/>
                </a:lnTo>
                <a:lnTo>
                  <a:pt x="390" y="153"/>
                </a:lnTo>
                <a:lnTo>
                  <a:pt x="370" y="153"/>
                </a:lnTo>
                <a:lnTo>
                  <a:pt x="370" y="211"/>
                </a:lnTo>
                <a:close/>
                <a:moveTo>
                  <a:pt x="520" y="153"/>
                </a:moveTo>
                <a:lnTo>
                  <a:pt x="520" y="1276"/>
                </a:lnTo>
                <a:lnTo>
                  <a:pt x="1399" y="1276"/>
                </a:lnTo>
                <a:lnTo>
                  <a:pt x="1399" y="153"/>
                </a:lnTo>
                <a:lnTo>
                  <a:pt x="1342" y="153"/>
                </a:lnTo>
                <a:lnTo>
                  <a:pt x="1342" y="153"/>
                </a:lnTo>
                <a:lnTo>
                  <a:pt x="1342" y="153"/>
                </a:lnTo>
                <a:lnTo>
                  <a:pt x="1207" y="153"/>
                </a:lnTo>
                <a:lnTo>
                  <a:pt x="1206" y="153"/>
                </a:lnTo>
                <a:lnTo>
                  <a:pt x="1206" y="153"/>
                </a:lnTo>
                <a:lnTo>
                  <a:pt x="1071" y="153"/>
                </a:lnTo>
                <a:lnTo>
                  <a:pt x="1070" y="153"/>
                </a:lnTo>
                <a:lnTo>
                  <a:pt x="935" y="153"/>
                </a:lnTo>
                <a:lnTo>
                  <a:pt x="935" y="153"/>
                </a:lnTo>
                <a:lnTo>
                  <a:pt x="934" y="153"/>
                </a:lnTo>
                <a:lnTo>
                  <a:pt x="799" y="153"/>
                </a:lnTo>
                <a:lnTo>
                  <a:pt x="799" y="153"/>
                </a:lnTo>
                <a:lnTo>
                  <a:pt x="663" y="153"/>
                </a:lnTo>
                <a:lnTo>
                  <a:pt x="663" y="153"/>
                </a:lnTo>
                <a:lnTo>
                  <a:pt x="663" y="153"/>
                </a:lnTo>
                <a:lnTo>
                  <a:pt x="528" y="153"/>
                </a:lnTo>
                <a:lnTo>
                  <a:pt x="526" y="153"/>
                </a:lnTo>
                <a:lnTo>
                  <a:pt x="520" y="153"/>
                </a:lnTo>
                <a:close/>
                <a:moveTo>
                  <a:pt x="1331" y="130"/>
                </a:moveTo>
                <a:lnTo>
                  <a:pt x="1331" y="23"/>
                </a:lnTo>
                <a:lnTo>
                  <a:pt x="1219" y="23"/>
                </a:lnTo>
                <a:lnTo>
                  <a:pt x="1219" y="130"/>
                </a:lnTo>
                <a:lnTo>
                  <a:pt x="1331" y="130"/>
                </a:lnTo>
                <a:close/>
                <a:moveTo>
                  <a:pt x="1355" y="23"/>
                </a:moveTo>
                <a:lnTo>
                  <a:pt x="1355" y="130"/>
                </a:lnTo>
                <a:lnTo>
                  <a:pt x="1411" y="130"/>
                </a:lnTo>
                <a:lnTo>
                  <a:pt x="1411" y="130"/>
                </a:lnTo>
                <a:lnTo>
                  <a:pt x="1441" y="130"/>
                </a:lnTo>
                <a:lnTo>
                  <a:pt x="1441" y="23"/>
                </a:lnTo>
                <a:lnTo>
                  <a:pt x="1355" y="23"/>
                </a:lnTo>
                <a:close/>
                <a:moveTo>
                  <a:pt x="1195" y="130"/>
                </a:moveTo>
                <a:lnTo>
                  <a:pt x="1195" y="23"/>
                </a:lnTo>
                <a:lnTo>
                  <a:pt x="1083" y="23"/>
                </a:lnTo>
                <a:lnTo>
                  <a:pt x="1083" y="130"/>
                </a:lnTo>
                <a:lnTo>
                  <a:pt x="1195" y="130"/>
                </a:lnTo>
                <a:close/>
                <a:moveTo>
                  <a:pt x="1059" y="130"/>
                </a:moveTo>
                <a:lnTo>
                  <a:pt x="1059" y="23"/>
                </a:lnTo>
                <a:lnTo>
                  <a:pt x="946" y="23"/>
                </a:lnTo>
                <a:lnTo>
                  <a:pt x="946" y="130"/>
                </a:lnTo>
                <a:lnTo>
                  <a:pt x="1059" y="130"/>
                </a:lnTo>
                <a:close/>
                <a:moveTo>
                  <a:pt x="923" y="130"/>
                </a:moveTo>
                <a:lnTo>
                  <a:pt x="923" y="23"/>
                </a:lnTo>
                <a:lnTo>
                  <a:pt x="811" y="23"/>
                </a:lnTo>
                <a:lnTo>
                  <a:pt x="811" y="130"/>
                </a:lnTo>
                <a:lnTo>
                  <a:pt x="923" y="130"/>
                </a:lnTo>
                <a:close/>
                <a:moveTo>
                  <a:pt x="786" y="130"/>
                </a:moveTo>
                <a:lnTo>
                  <a:pt x="786" y="23"/>
                </a:lnTo>
                <a:lnTo>
                  <a:pt x="675" y="23"/>
                </a:lnTo>
                <a:lnTo>
                  <a:pt x="675" y="130"/>
                </a:lnTo>
                <a:lnTo>
                  <a:pt x="786" y="130"/>
                </a:lnTo>
                <a:close/>
                <a:moveTo>
                  <a:pt x="651" y="130"/>
                </a:moveTo>
                <a:lnTo>
                  <a:pt x="651" y="23"/>
                </a:lnTo>
                <a:lnTo>
                  <a:pt x="539" y="23"/>
                </a:lnTo>
                <a:lnTo>
                  <a:pt x="539" y="130"/>
                </a:lnTo>
                <a:lnTo>
                  <a:pt x="651" y="130"/>
                </a:lnTo>
                <a:close/>
                <a:moveTo>
                  <a:pt x="515" y="130"/>
                </a:moveTo>
                <a:lnTo>
                  <a:pt x="515" y="23"/>
                </a:lnTo>
                <a:lnTo>
                  <a:pt x="403" y="23"/>
                </a:lnTo>
                <a:lnTo>
                  <a:pt x="403" y="130"/>
                </a:lnTo>
                <a:lnTo>
                  <a:pt x="515" y="130"/>
                </a:lnTo>
                <a:close/>
                <a:moveTo>
                  <a:pt x="379" y="130"/>
                </a:moveTo>
                <a:lnTo>
                  <a:pt x="379" y="23"/>
                </a:lnTo>
                <a:lnTo>
                  <a:pt x="266" y="23"/>
                </a:lnTo>
                <a:lnTo>
                  <a:pt x="266" y="130"/>
                </a:lnTo>
                <a:lnTo>
                  <a:pt x="379" y="130"/>
                </a:lnTo>
                <a:close/>
                <a:moveTo>
                  <a:pt x="243" y="130"/>
                </a:moveTo>
                <a:lnTo>
                  <a:pt x="243" y="23"/>
                </a:lnTo>
                <a:lnTo>
                  <a:pt x="155" y="23"/>
                </a:lnTo>
                <a:lnTo>
                  <a:pt x="155" y="130"/>
                </a:lnTo>
                <a:lnTo>
                  <a:pt x="176" y="130"/>
                </a:lnTo>
                <a:lnTo>
                  <a:pt x="176" y="130"/>
                </a:lnTo>
                <a:lnTo>
                  <a:pt x="243" y="130"/>
                </a:lnTo>
                <a:close/>
                <a:moveTo>
                  <a:pt x="1454" y="153"/>
                </a:moveTo>
                <a:lnTo>
                  <a:pt x="1422" y="153"/>
                </a:lnTo>
                <a:lnTo>
                  <a:pt x="1422" y="1276"/>
                </a:lnTo>
                <a:lnTo>
                  <a:pt x="1677" y="1276"/>
                </a:lnTo>
                <a:lnTo>
                  <a:pt x="1682" y="1276"/>
                </a:lnTo>
                <a:lnTo>
                  <a:pt x="1686" y="1279"/>
                </a:lnTo>
                <a:lnTo>
                  <a:pt x="1689" y="1283"/>
                </a:lnTo>
                <a:lnTo>
                  <a:pt x="1690" y="1288"/>
                </a:lnTo>
                <a:lnTo>
                  <a:pt x="1689" y="1291"/>
                </a:lnTo>
                <a:lnTo>
                  <a:pt x="1686" y="1295"/>
                </a:lnTo>
                <a:lnTo>
                  <a:pt x="1682" y="1298"/>
                </a:lnTo>
                <a:lnTo>
                  <a:pt x="1677" y="1299"/>
                </a:lnTo>
                <a:lnTo>
                  <a:pt x="1411" y="1299"/>
                </a:lnTo>
                <a:lnTo>
                  <a:pt x="1411" y="1299"/>
                </a:lnTo>
                <a:lnTo>
                  <a:pt x="508" y="1299"/>
                </a:lnTo>
                <a:lnTo>
                  <a:pt x="508" y="1299"/>
                </a:lnTo>
                <a:lnTo>
                  <a:pt x="50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358" y="1299"/>
                </a:lnTo>
                <a:lnTo>
                  <a:pt x="176" y="1299"/>
                </a:lnTo>
                <a:lnTo>
                  <a:pt x="176" y="1299"/>
                </a:lnTo>
                <a:lnTo>
                  <a:pt x="11" y="1299"/>
                </a:lnTo>
                <a:lnTo>
                  <a:pt x="6" y="1298"/>
                </a:lnTo>
                <a:lnTo>
                  <a:pt x="3" y="1295"/>
                </a:lnTo>
                <a:lnTo>
                  <a:pt x="0" y="1291"/>
                </a:lnTo>
                <a:lnTo>
                  <a:pt x="0" y="1288"/>
                </a:lnTo>
                <a:lnTo>
                  <a:pt x="0" y="1283"/>
                </a:lnTo>
                <a:lnTo>
                  <a:pt x="3" y="1279"/>
                </a:lnTo>
                <a:lnTo>
                  <a:pt x="6" y="1276"/>
                </a:lnTo>
                <a:lnTo>
                  <a:pt x="11" y="1276"/>
                </a:lnTo>
                <a:lnTo>
                  <a:pt x="165" y="1276"/>
                </a:lnTo>
                <a:lnTo>
                  <a:pt x="165" y="153"/>
                </a:lnTo>
                <a:lnTo>
                  <a:pt x="144" y="153"/>
                </a:lnTo>
                <a:lnTo>
                  <a:pt x="139" y="151"/>
                </a:lnTo>
                <a:lnTo>
                  <a:pt x="135" y="149"/>
                </a:lnTo>
                <a:lnTo>
                  <a:pt x="133" y="146"/>
                </a:lnTo>
                <a:lnTo>
                  <a:pt x="131" y="141"/>
                </a:lnTo>
                <a:lnTo>
                  <a:pt x="131" y="11"/>
                </a:lnTo>
                <a:lnTo>
                  <a:pt x="133" y="6"/>
                </a:lnTo>
                <a:lnTo>
                  <a:pt x="135" y="3"/>
                </a:lnTo>
                <a:lnTo>
                  <a:pt x="139" y="0"/>
                </a:lnTo>
                <a:lnTo>
                  <a:pt x="144" y="0"/>
                </a:lnTo>
                <a:lnTo>
                  <a:pt x="254" y="0"/>
                </a:lnTo>
                <a:lnTo>
                  <a:pt x="255" y="0"/>
                </a:lnTo>
                <a:lnTo>
                  <a:pt x="390" y="0"/>
                </a:lnTo>
                <a:lnTo>
                  <a:pt x="390" y="0"/>
                </a:lnTo>
                <a:lnTo>
                  <a:pt x="391" y="0"/>
                </a:lnTo>
                <a:lnTo>
                  <a:pt x="526" y="0"/>
                </a:lnTo>
                <a:lnTo>
                  <a:pt x="526" y="0"/>
                </a:lnTo>
                <a:lnTo>
                  <a:pt x="528" y="0"/>
                </a:lnTo>
                <a:lnTo>
                  <a:pt x="663" y="0"/>
                </a:lnTo>
                <a:lnTo>
                  <a:pt x="663" y="0"/>
                </a:lnTo>
                <a:lnTo>
                  <a:pt x="663" y="0"/>
                </a:lnTo>
                <a:lnTo>
                  <a:pt x="799" y="0"/>
                </a:lnTo>
                <a:lnTo>
                  <a:pt x="799" y="0"/>
                </a:lnTo>
                <a:lnTo>
                  <a:pt x="934" y="0"/>
                </a:lnTo>
                <a:lnTo>
                  <a:pt x="935" y="0"/>
                </a:lnTo>
                <a:lnTo>
                  <a:pt x="935" y="0"/>
                </a:lnTo>
                <a:lnTo>
                  <a:pt x="1070" y="0"/>
                </a:lnTo>
                <a:lnTo>
                  <a:pt x="1071" y="0"/>
                </a:lnTo>
                <a:lnTo>
                  <a:pt x="1206" y="0"/>
                </a:lnTo>
                <a:lnTo>
                  <a:pt x="1206" y="0"/>
                </a:lnTo>
                <a:lnTo>
                  <a:pt x="1207" y="0"/>
                </a:lnTo>
                <a:lnTo>
                  <a:pt x="1342" y="0"/>
                </a:lnTo>
                <a:lnTo>
                  <a:pt x="1342" y="0"/>
                </a:lnTo>
                <a:lnTo>
                  <a:pt x="1342" y="0"/>
                </a:lnTo>
                <a:lnTo>
                  <a:pt x="1454" y="0"/>
                </a:lnTo>
                <a:lnTo>
                  <a:pt x="1459" y="0"/>
                </a:lnTo>
                <a:lnTo>
                  <a:pt x="1462" y="3"/>
                </a:lnTo>
                <a:lnTo>
                  <a:pt x="1465" y="6"/>
                </a:lnTo>
                <a:lnTo>
                  <a:pt x="1466" y="11"/>
                </a:lnTo>
                <a:lnTo>
                  <a:pt x="1466" y="141"/>
                </a:lnTo>
                <a:lnTo>
                  <a:pt x="1465" y="146"/>
                </a:lnTo>
                <a:lnTo>
                  <a:pt x="1462" y="149"/>
                </a:lnTo>
                <a:lnTo>
                  <a:pt x="1459" y="151"/>
                </a:lnTo>
                <a:lnTo>
                  <a:pt x="1454" y="15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7" name="Прямоугольник 206"/>
          <p:cNvSpPr/>
          <p:nvPr/>
        </p:nvSpPr>
        <p:spPr>
          <a:xfrm>
            <a:off x="7271982" y="3155137"/>
            <a:ext cx="1823002" cy="504322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8" name="Овал 207"/>
          <p:cNvSpPr/>
          <p:nvPr/>
        </p:nvSpPr>
        <p:spPr>
          <a:xfrm>
            <a:off x="7431174" y="3509855"/>
            <a:ext cx="1528878" cy="287338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сего хранитс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 178,51 т</a:t>
            </a:r>
          </a:p>
        </p:txBody>
      </p:sp>
    </p:spTree>
    <p:extLst>
      <p:ext uri="{BB962C8B-B14F-4D97-AF65-F5344CB8AC3E}">
        <p14:creationId xmlns:p14="http://schemas.microsoft.com/office/powerpoint/2010/main" val="1358329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5112060" y="353233"/>
            <a:ext cx="1224136" cy="4380057"/>
          </a:xfrm>
          <a:prstGeom prst="rect">
            <a:avLst/>
          </a:prstGeom>
          <a:solidFill>
            <a:srgbClr val="3C3C3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83D6E6C0-6562-425C-8335-77D4EF414AC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88" b="89972" l="1426" r="98392">
                        <a14:foregroundMark x1="6096" y1="34654" x2="6096" y2="34654"/>
                        <a14:foregroundMark x1="4580" y1="47473" x2="4580" y2="47473"/>
                        <a14:foregroundMark x1="1426" y1="48241" x2="1426" y2="48241"/>
                        <a14:foregroundMark x1="94965" y1="65669" x2="94965" y2="65669"/>
                        <a14:foregroundMark x1="93327" y1="61221" x2="93327" y2="61221"/>
                        <a14:foregroundMark x1="96573" y1="64497" x2="96573" y2="64497"/>
                        <a14:foregroundMark x1="98392" y1="64618" x2="98392" y2="6461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83" t="10642" r="990" b="11767"/>
          <a:stretch/>
        </p:blipFill>
        <p:spPr>
          <a:xfrm>
            <a:off x="2788" y="699542"/>
            <a:ext cx="5361300" cy="3852428"/>
          </a:xfrm>
          <a:prstGeom prst="rect">
            <a:avLst/>
          </a:prstGeom>
        </p:spPr>
      </p:pic>
      <p:sp>
        <p:nvSpPr>
          <p:cNvPr id="79" name="Полилиния 78">
            <a:extLst>
              <a:ext uri="{FF2B5EF4-FFF2-40B4-BE49-F238E27FC236}">
                <a16:creationId xmlns:a16="http://schemas.microsoft.com/office/drawing/2014/main" id="{8795EA07-FBA7-F743-8CDC-AC9C2AE26334}"/>
              </a:ext>
            </a:extLst>
          </p:cNvPr>
          <p:cNvSpPr>
            <a:spLocks noChangeAspect="1"/>
          </p:cNvSpPr>
          <p:nvPr/>
        </p:nvSpPr>
        <p:spPr>
          <a:xfrm>
            <a:off x="6163691" y="2083248"/>
            <a:ext cx="3354824" cy="2650042"/>
          </a:xfrm>
          <a:custGeom>
            <a:avLst/>
            <a:gdLst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8809 w 3605063"/>
              <a:gd name="connsiteY25" fmla="*/ 9604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5634 w 3605063"/>
              <a:gd name="connsiteY25" fmla="*/ 9477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5634 w 3605063"/>
              <a:gd name="connsiteY25" fmla="*/ 9477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5634 w 3605063"/>
              <a:gd name="connsiteY25" fmla="*/ 9477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5634 w 3605063"/>
              <a:gd name="connsiteY25" fmla="*/ 94774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8477"/>
              <a:gd name="connsiteX1" fmla="*/ 2552516 w 3605063"/>
              <a:gd name="connsiteY1" fmla="*/ 6579 h 2868477"/>
              <a:gd name="connsiteX2" fmla="*/ 1651273 w 3605063"/>
              <a:gd name="connsiteY2" fmla="*/ 6579 h 2868477"/>
              <a:gd name="connsiteX3" fmla="*/ 1276303 w 3605063"/>
              <a:gd name="connsiteY3" fmla="*/ 46049 h 2868477"/>
              <a:gd name="connsiteX4" fmla="*/ 1013166 w 3605063"/>
              <a:gd name="connsiteY4" fmla="*/ 131568 h 2868477"/>
              <a:gd name="connsiteX5" fmla="*/ 855284 w 3605063"/>
              <a:gd name="connsiteY5" fmla="*/ 223666 h 2868477"/>
              <a:gd name="connsiteX6" fmla="*/ 671089 w 3605063"/>
              <a:gd name="connsiteY6" fmla="*/ 394705 h 2868477"/>
              <a:gd name="connsiteX7" fmla="*/ 539520 w 3605063"/>
              <a:gd name="connsiteY7" fmla="*/ 651263 h 2868477"/>
              <a:gd name="connsiteX8" fmla="*/ 322432 w 3605063"/>
              <a:gd name="connsiteY8" fmla="*/ 1138066 h 2868477"/>
              <a:gd name="connsiteX9" fmla="*/ 151394 w 3605063"/>
              <a:gd name="connsiteY9" fmla="*/ 1545928 h 2868477"/>
              <a:gd name="connsiteX10" fmla="*/ 32982 w 3605063"/>
              <a:gd name="connsiteY10" fmla="*/ 1874849 h 2868477"/>
              <a:gd name="connsiteX11" fmla="*/ 90 w 3605063"/>
              <a:gd name="connsiteY11" fmla="*/ 2164299 h 2868477"/>
              <a:gd name="connsiteX12" fmla="*/ 39561 w 3605063"/>
              <a:gd name="connsiteY12" fmla="*/ 2460328 h 2868477"/>
              <a:gd name="connsiteX13" fmla="*/ 250070 w 3605063"/>
              <a:gd name="connsiteY13" fmla="*/ 2710308 h 2868477"/>
              <a:gd name="connsiteX14" fmla="*/ 486893 w 3605063"/>
              <a:gd name="connsiteY14" fmla="*/ 2815563 h 2868477"/>
              <a:gd name="connsiteX15" fmla="*/ 769765 w 3605063"/>
              <a:gd name="connsiteY15" fmla="*/ 2855033 h 2868477"/>
              <a:gd name="connsiteX16" fmla="*/ 1217097 w 3605063"/>
              <a:gd name="connsiteY16" fmla="*/ 2861612 h 2868477"/>
              <a:gd name="connsiteX17" fmla="*/ 1789420 w 3605063"/>
              <a:gd name="connsiteY17" fmla="*/ 2855033 h 2868477"/>
              <a:gd name="connsiteX18" fmla="*/ 2374899 w 3605063"/>
              <a:gd name="connsiteY18" fmla="*/ 2861612 h 2868477"/>
              <a:gd name="connsiteX19" fmla="*/ 2434104 w 3605063"/>
              <a:gd name="connsiteY19" fmla="*/ 2743200 h 2868477"/>
              <a:gd name="connsiteX20" fmla="*/ 2631457 w 3605063"/>
              <a:gd name="connsiteY20" fmla="*/ 2276133 h 2868477"/>
              <a:gd name="connsiteX21" fmla="*/ 2881437 w 3605063"/>
              <a:gd name="connsiteY21" fmla="*/ 1670918 h 2868477"/>
              <a:gd name="connsiteX22" fmla="*/ 3052476 w 3605063"/>
              <a:gd name="connsiteY22" fmla="*/ 1263056 h 2868477"/>
              <a:gd name="connsiteX23" fmla="*/ 3170887 w 3605063"/>
              <a:gd name="connsiteY23" fmla="*/ 960449 h 2868477"/>
              <a:gd name="connsiteX24" fmla="*/ 3151152 w 3605063"/>
              <a:gd name="connsiteY24" fmla="*/ 953871 h 2868477"/>
              <a:gd name="connsiteX25" fmla="*/ 2822459 w 3605063"/>
              <a:gd name="connsiteY25" fmla="*/ 954099 h 2868477"/>
              <a:gd name="connsiteX26" fmla="*/ 2309114 w 3605063"/>
              <a:gd name="connsiteY26" fmla="*/ 953871 h 2868477"/>
              <a:gd name="connsiteX27" fmla="*/ 2282801 w 3605063"/>
              <a:gd name="connsiteY27" fmla="*/ 960449 h 2868477"/>
              <a:gd name="connsiteX28" fmla="*/ 1440763 w 3605063"/>
              <a:gd name="connsiteY28" fmla="*/ 1585399 h 2868477"/>
              <a:gd name="connsiteX29" fmla="*/ 1460499 w 3605063"/>
              <a:gd name="connsiteY29" fmla="*/ 1585399 h 2868477"/>
              <a:gd name="connsiteX30" fmla="*/ 2078870 w 3605063"/>
              <a:gd name="connsiteY30" fmla="*/ 1585399 h 2868477"/>
              <a:gd name="connsiteX31" fmla="*/ 2078870 w 3605063"/>
              <a:gd name="connsiteY31" fmla="*/ 1598556 h 2868477"/>
              <a:gd name="connsiteX32" fmla="*/ 1802576 w 3605063"/>
              <a:gd name="connsiteY32" fmla="*/ 2322181 h 2868477"/>
              <a:gd name="connsiteX33" fmla="*/ 1776263 w 3605063"/>
              <a:gd name="connsiteY33" fmla="*/ 2328760 h 2868477"/>
              <a:gd name="connsiteX34" fmla="*/ 953961 w 3605063"/>
              <a:gd name="connsiteY34" fmla="*/ 2335338 h 2868477"/>
              <a:gd name="connsiteX35" fmla="*/ 769765 w 3605063"/>
              <a:gd name="connsiteY35" fmla="*/ 2203770 h 2868477"/>
              <a:gd name="connsiteX36" fmla="*/ 809235 w 3605063"/>
              <a:gd name="connsiteY36" fmla="*/ 1953790 h 2868477"/>
              <a:gd name="connsiteX37" fmla="*/ 1065794 w 3605063"/>
              <a:gd name="connsiteY37" fmla="*/ 1328840 h 2868477"/>
              <a:gd name="connsiteX38" fmla="*/ 1276303 w 3605063"/>
              <a:gd name="connsiteY38" fmla="*/ 822302 h 2868477"/>
              <a:gd name="connsiteX39" fmla="*/ 1368401 w 3605063"/>
              <a:gd name="connsiteY39" fmla="*/ 644685 h 2868477"/>
              <a:gd name="connsiteX40" fmla="*/ 1493391 w 3605063"/>
              <a:gd name="connsiteY40" fmla="*/ 552587 h 2868477"/>
              <a:gd name="connsiteX41" fmla="*/ 1697322 w 3605063"/>
              <a:gd name="connsiteY41" fmla="*/ 526274 h 2868477"/>
              <a:gd name="connsiteX42" fmla="*/ 2381477 w 3605063"/>
              <a:gd name="connsiteY42" fmla="*/ 532852 h 2868477"/>
              <a:gd name="connsiteX43" fmla="*/ 2855123 w 3605063"/>
              <a:gd name="connsiteY43" fmla="*/ 539430 h 2868477"/>
              <a:gd name="connsiteX44" fmla="*/ 2914329 w 3605063"/>
              <a:gd name="connsiteY44" fmla="*/ 493381 h 2868477"/>
              <a:gd name="connsiteX45" fmla="*/ 3605063 w 3605063"/>
              <a:gd name="connsiteY45" fmla="*/ 0 h 2868477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914329 w 3605063"/>
              <a:gd name="connsiteY44" fmla="*/ 4933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914329 w 3605063"/>
              <a:gd name="connsiteY44" fmla="*/ 4933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914329 w 3605063"/>
              <a:gd name="connsiteY44" fmla="*/ 4933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860354 w 3605063"/>
              <a:gd name="connsiteY44" fmla="*/ 5314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860354 w 3605063"/>
              <a:gd name="connsiteY44" fmla="*/ 531481 h 2861666"/>
              <a:gd name="connsiteX45" fmla="*/ 3605063 w 3605063"/>
              <a:gd name="connsiteY45" fmla="*/ 0 h 2861666"/>
              <a:gd name="connsiteX0" fmla="*/ 3605063 w 3605063"/>
              <a:gd name="connsiteY0" fmla="*/ 0 h 2861666"/>
              <a:gd name="connsiteX1" fmla="*/ 2552516 w 3605063"/>
              <a:gd name="connsiteY1" fmla="*/ 6579 h 2861666"/>
              <a:gd name="connsiteX2" fmla="*/ 1651273 w 3605063"/>
              <a:gd name="connsiteY2" fmla="*/ 6579 h 2861666"/>
              <a:gd name="connsiteX3" fmla="*/ 1276303 w 3605063"/>
              <a:gd name="connsiteY3" fmla="*/ 46049 h 2861666"/>
              <a:gd name="connsiteX4" fmla="*/ 1013166 w 3605063"/>
              <a:gd name="connsiteY4" fmla="*/ 131568 h 2861666"/>
              <a:gd name="connsiteX5" fmla="*/ 855284 w 3605063"/>
              <a:gd name="connsiteY5" fmla="*/ 223666 h 2861666"/>
              <a:gd name="connsiteX6" fmla="*/ 671089 w 3605063"/>
              <a:gd name="connsiteY6" fmla="*/ 394705 h 2861666"/>
              <a:gd name="connsiteX7" fmla="*/ 539520 w 3605063"/>
              <a:gd name="connsiteY7" fmla="*/ 651263 h 2861666"/>
              <a:gd name="connsiteX8" fmla="*/ 322432 w 3605063"/>
              <a:gd name="connsiteY8" fmla="*/ 1138066 h 2861666"/>
              <a:gd name="connsiteX9" fmla="*/ 151394 w 3605063"/>
              <a:gd name="connsiteY9" fmla="*/ 1545928 h 2861666"/>
              <a:gd name="connsiteX10" fmla="*/ 32982 w 3605063"/>
              <a:gd name="connsiteY10" fmla="*/ 1874849 h 2861666"/>
              <a:gd name="connsiteX11" fmla="*/ 90 w 3605063"/>
              <a:gd name="connsiteY11" fmla="*/ 2164299 h 2861666"/>
              <a:gd name="connsiteX12" fmla="*/ 39561 w 3605063"/>
              <a:gd name="connsiteY12" fmla="*/ 2460328 h 2861666"/>
              <a:gd name="connsiteX13" fmla="*/ 250070 w 3605063"/>
              <a:gd name="connsiteY13" fmla="*/ 2710308 h 2861666"/>
              <a:gd name="connsiteX14" fmla="*/ 486893 w 3605063"/>
              <a:gd name="connsiteY14" fmla="*/ 2815563 h 2861666"/>
              <a:gd name="connsiteX15" fmla="*/ 769765 w 3605063"/>
              <a:gd name="connsiteY15" fmla="*/ 2855033 h 2861666"/>
              <a:gd name="connsiteX16" fmla="*/ 1217097 w 3605063"/>
              <a:gd name="connsiteY16" fmla="*/ 2861612 h 2861666"/>
              <a:gd name="connsiteX17" fmla="*/ 1789420 w 3605063"/>
              <a:gd name="connsiteY17" fmla="*/ 2855033 h 2861666"/>
              <a:gd name="connsiteX18" fmla="*/ 2374899 w 3605063"/>
              <a:gd name="connsiteY18" fmla="*/ 2861612 h 2861666"/>
              <a:gd name="connsiteX19" fmla="*/ 2434104 w 3605063"/>
              <a:gd name="connsiteY19" fmla="*/ 2743200 h 2861666"/>
              <a:gd name="connsiteX20" fmla="*/ 2631457 w 3605063"/>
              <a:gd name="connsiteY20" fmla="*/ 2276133 h 2861666"/>
              <a:gd name="connsiteX21" fmla="*/ 2881437 w 3605063"/>
              <a:gd name="connsiteY21" fmla="*/ 1670918 h 2861666"/>
              <a:gd name="connsiteX22" fmla="*/ 3052476 w 3605063"/>
              <a:gd name="connsiteY22" fmla="*/ 1263056 h 2861666"/>
              <a:gd name="connsiteX23" fmla="*/ 3170887 w 3605063"/>
              <a:gd name="connsiteY23" fmla="*/ 960449 h 2861666"/>
              <a:gd name="connsiteX24" fmla="*/ 3151152 w 3605063"/>
              <a:gd name="connsiteY24" fmla="*/ 953871 h 2861666"/>
              <a:gd name="connsiteX25" fmla="*/ 2822459 w 3605063"/>
              <a:gd name="connsiteY25" fmla="*/ 954099 h 2861666"/>
              <a:gd name="connsiteX26" fmla="*/ 2309114 w 3605063"/>
              <a:gd name="connsiteY26" fmla="*/ 953871 h 2861666"/>
              <a:gd name="connsiteX27" fmla="*/ 2282801 w 3605063"/>
              <a:gd name="connsiteY27" fmla="*/ 960449 h 2861666"/>
              <a:gd name="connsiteX28" fmla="*/ 1440763 w 3605063"/>
              <a:gd name="connsiteY28" fmla="*/ 1585399 h 2861666"/>
              <a:gd name="connsiteX29" fmla="*/ 1460499 w 3605063"/>
              <a:gd name="connsiteY29" fmla="*/ 1585399 h 2861666"/>
              <a:gd name="connsiteX30" fmla="*/ 2078870 w 3605063"/>
              <a:gd name="connsiteY30" fmla="*/ 1585399 h 2861666"/>
              <a:gd name="connsiteX31" fmla="*/ 2078870 w 3605063"/>
              <a:gd name="connsiteY31" fmla="*/ 1598556 h 2861666"/>
              <a:gd name="connsiteX32" fmla="*/ 1802576 w 3605063"/>
              <a:gd name="connsiteY32" fmla="*/ 2322181 h 2861666"/>
              <a:gd name="connsiteX33" fmla="*/ 1776263 w 3605063"/>
              <a:gd name="connsiteY33" fmla="*/ 2328760 h 2861666"/>
              <a:gd name="connsiteX34" fmla="*/ 953961 w 3605063"/>
              <a:gd name="connsiteY34" fmla="*/ 2335338 h 2861666"/>
              <a:gd name="connsiteX35" fmla="*/ 769765 w 3605063"/>
              <a:gd name="connsiteY35" fmla="*/ 2203770 h 2861666"/>
              <a:gd name="connsiteX36" fmla="*/ 809235 w 3605063"/>
              <a:gd name="connsiteY36" fmla="*/ 1953790 h 2861666"/>
              <a:gd name="connsiteX37" fmla="*/ 1065794 w 3605063"/>
              <a:gd name="connsiteY37" fmla="*/ 1328840 h 2861666"/>
              <a:gd name="connsiteX38" fmla="*/ 1276303 w 3605063"/>
              <a:gd name="connsiteY38" fmla="*/ 822302 h 2861666"/>
              <a:gd name="connsiteX39" fmla="*/ 1368401 w 3605063"/>
              <a:gd name="connsiteY39" fmla="*/ 644685 h 2861666"/>
              <a:gd name="connsiteX40" fmla="*/ 1493391 w 3605063"/>
              <a:gd name="connsiteY40" fmla="*/ 552587 h 2861666"/>
              <a:gd name="connsiteX41" fmla="*/ 1697322 w 3605063"/>
              <a:gd name="connsiteY41" fmla="*/ 526274 h 2861666"/>
              <a:gd name="connsiteX42" fmla="*/ 2381477 w 3605063"/>
              <a:gd name="connsiteY42" fmla="*/ 532852 h 2861666"/>
              <a:gd name="connsiteX43" fmla="*/ 2855123 w 3605063"/>
              <a:gd name="connsiteY43" fmla="*/ 539430 h 2861666"/>
              <a:gd name="connsiteX44" fmla="*/ 2860354 w 3605063"/>
              <a:gd name="connsiteY44" fmla="*/ 531481 h 2861666"/>
              <a:gd name="connsiteX45" fmla="*/ 3605063 w 3605063"/>
              <a:gd name="connsiteY45" fmla="*/ 0 h 2861666"/>
              <a:gd name="connsiteX0" fmla="*/ 3622730 w 3622730"/>
              <a:gd name="connsiteY0" fmla="*/ 0 h 2861666"/>
              <a:gd name="connsiteX1" fmla="*/ 2570183 w 3622730"/>
              <a:gd name="connsiteY1" fmla="*/ 6579 h 2861666"/>
              <a:gd name="connsiteX2" fmla="*/ 1668940 w 3622730"/>
              <a:gd name="connsiteY2" fmla="*/ 6579 h 2861666"/>
              <a:gd name="connsiteX3" fmla="*/ 1293970 w 3622730"/>
              <a:gd name="connsiteY3" fmla="*/ 46049 h 2861666"/>
              <a:gd name="connsiteX4" fmla="*/ 1030833 w 3622730"/>
              <a:gd name="connsiteY4" fmla="*/ 131568 h 2861666"/>
              <a:gd name="connsiteX5" fmla="*/ 872951 w 3622730"/>
              <a:gd name="connsiteY5" fmla="*/ 223666 h 2861666"/>
              <a:gd name="connsiteX6" fmla="*/ 688756 w 3622730"/>
              <a:gd name="connsiteY6" fmla="*/ 394705 h 2861666"/>
              <a:gd name="connsiteX7" fmla="*/ 557187 w 3622730"/>
              <a:gd name="connsiteY7" fmla="*/ 651263 h 2861666"/>
              <a:gd name="connsiteX8" fmla="*/ 340099 w 3622730"/>
              <a:gd name="connsiteY8" fmla="*/ 1138066 h 2861666"/>
              <a:gd name="connsiteX9" fmla="*/ 169061 w 3622730"/>
              <a:gd name="connsiteY9" fmla="*/ 1545928 h 2861666"/>
              <a:gd name="connsiteX10" fmla="*/ 50649 w 3622730"/>
              <a:gd name="connsiteY10" fmla="*/ 1874849 h 2861666"/>
              <a:gd name="connsiteX11" fmla="*/ 36 w 3622730"/>
              <a:gd name="connsiteY11" fmla="*/ 2167843 h 2861666"/>
              <a:gd name="connsiteX12" fmla="*/ 57228 w 3622730"/>
              <a:gd name="connsiteY12" fmla="*/ 2460328 h 2861666"/>
              <a:gd name="connsiteX13" fmla="*/ 267737 w 3622730"/>
              <a:gd name="connsiteY13" fmla="*/ 2710308 h 2861666"/>
              <a:gd name="connsiteX14" fmla="*/ 504560 w 3622730"/>
              <a:gd name="connsiteY14" fmla="*/ 2815563 h 2861666"/>
              <a:gd name="connsiteX15" fmla="*/ 787432 w 3622730"/>
              <a:gd name="connsiteY15" fmla="*/ 2855033 h 2861666"/>
              <a:gd name="connsiteX16" fmla="*/ 1234764 w 3622730"/>
              <a:gd name="connsiteY16" fmla="*/ 2861612 h 2861666"/>
              <a:gd name="connsiteX17" fmla="*/ 1807087 w 3622730"/>
              <a:gd name="connsiteY17" fmla="*/ 2855033 h 2861666"/>
              <a:gd name="connsiteX18" fmla="*/ 2392566 w 3622730"/>
              <a:gd name="connsiteY18" fmla="*/ 2861612 h 2861666"/>
              <a:gd name="connsiteX19" fmla="*/ 2451771 w 3622730"/>
              <a:gd name="connsiteY19" fmla="*/ 2743200 h 2861666"/>
              <a:gd name="connsiteX20" fmla="*/ 2649124 w 3622730"/>
              <a:gd name="connsiteY20" fmla="*/ 2276133 h 2861666"/>
              <a:gd name="connsiteX21" fmla="*/ 2899104 w 3622730"/>
              <a:gd name="connsiteY21" fmla="*/ 1670918 h 2861666"/>
              <a:gd name="connsiteX22" fmla="*/ 3070143 w 3622730"/>
              <a:gd name="connsiteY22" fmla="*/ 1263056 h 2861666"/>
              <a:gd name="connsiteX23" fmla="*/ 3188554 w 3622730"/>
              <a:gd name="connsiteY23" fmla="*/ 960449 h 2861666"/>
              <a:gd name="connsiteX24" fmla="*/ 3168819 w 3622730"/>
              <a:gd name="connsiteY24" fmla="*/ 953871 h 2861666"/>
              <a:gd name="connsiteX25" fmla="*/ 2840126 w 3622730"/>
              <a:gd name="connsiteY25" fmla="*/ 954099 h 2861666"/>
              <a:gd name="connsiteX26" fmla="*/ 2326781 w 3622730"/>
              <a:gd name="connsiteY26" fmla="*/ 953871 h 2861666"/>
              <a:gd name="connsiteX27" fmla="*/ 2300468 w 3622730"/>
              <a:gd name="connsiteY27" fmla="*/ 960449 h 2861666"/>
              <a:gd name="connsiteX28" fmla="*/ 1458430 w 3622730"/>
              <a:gd name="connsiteY28" fmla="*/ 1585399 h 2861666"/>
              <a:gd name="connsiteX29" fmla="*/ 1478166 w 3622730"/>
              <a:gd name="connsiteY29" fmla="*/ 1585399 h 2861666"/>
              <a:gd name="connsiteX30" fmla="*/ 2096537 w 3622730"/>
              <a:gd name="connsiteY30" fmla="*/ 1585399 h 2861666"/>
              <a:gd name="connsiteX31" fmla="*/ 2096537 w 3622730"/>
              <a:gd name="connsiteY31" fmla="*/ 1598556 h 2861666"/>
              <a:gd name="connsiteX32" fmla="*/ 1820243 w 3622730"/>
              <a:gd name="connsiteY32" fmla="*/ 2322181 h 2861666"/>
              <a:gd name="connsiteX33" fmla="*/ 1793930 w 3622730"/>
              <a:gd name="connsiteY33" fmla="*/ 2328760 h 2861666"/>
              <a:gd name="connsiteX34" fmla="*/ 971628 w 3622730"/>
              <a:gd name="connsiteY34" fmla="*/ 2335338 h 2861666"/>
              <a:gd name="connsiteX35" fmla="*/ 787432 w 3622730"/>
              <a:gd name="connsiteY35" fmla="*/ 2203770 h 2861666"/>
              <a:gd name="connsiteX36" fmla="*/ 826902 w 3622730"/>
              <a:gd name="connsiteY36" fmla="*/ 1953790 h 2861666"/>
              <a:gd name="connsiteX37" fmla="*/ 1083461 w 3622730"/>
              <a:gd name="connsiteY37" fmla="*/ 1328840 h 2861666"/>
              <a:gd name="connsiteX38" fmla="*/ 1293970 w 3622730"/>
              <a:gd name="connsiteY38" fmla="*/ 822302 h 2861666"/>
              <a:gd name="connsiteX39" fmla="*/ 1386068 w 3622730"/>
              <a:gd name="connsiteY39" fmla="*/ 644685 h 2861666"/>
              <a:gd name="connsiteX40" fmla="*/ 1511058 w 3622730"/>
              <a:gd name="connsiteY40" fmla="*/ 552587 h 2861666"/>
              <a:gd name="connsiteX41" fmla="*/ 1714989 w 3622730"/>
              <a:gd name="connsiteY41" fmla="*/ 526274 h 2861666"/>
              <a:gd name="connsiteX42" fmla="*/ 2399144 w 3622730"/>
              <a:gd name="connsiteY42" fmla="*/ 532852 h 2861666"/>
              <a:gd name="connsiteX43" fmla="*/ 2872790 w 3622730"/>
              <a:gd name="connsiteY43" fmla="*/ 539430 h 2861666"/>
              <a:gd name="connsiteX44" fmla="*/ 2878021 w 3622730"/>
              <a:gd name="connsiteY44" fmla="*/ 531481 h 2861666"/>
              <a:gd name="connsiteX45" fmla="*/ 3622730 w 3622730"/>
              <a:gd name="connsiteY45" fmla="*/ 0 h 2861666"/>
              <a:gd name="connsiteX0" fmla="*/ 3622730 w 3622730"/>
              <a:gd name="connsiteY0" fmla="*/ 0 h 2861666"/>
              <a:gd name="connsiteX1" fmla="*/ 2570183 w 3622730"/>
              <a:gd name="connsiteY1" fmla="*/ 6579 h 2861666"/>
              <a:gd name="connsiteX2" fmla="*/ 1668940 w 3622730"/>
              <a:gd name="connsiteY2" fmla="*/ 6579 h 2861666"/>
              <a:gd name="connsiteX3" fmla="*/ 1293970 w 3622730"/>
              <a:gd name="connsiteY3" fmla="*/ 46049 h 2861666"/>
              <a:gd name="connsiteX4" fmla="*/ 1030833 w 3622730"/>
              <a:gd name="connsiteY4" fmla="*/ 131568 h 2861666"/>
              <a:gd name="connsiteX5" fmla="*/ 872951 w 3622730"/>
              <a:gd name="connsiteY5" fmla="*/ 223666 h 2861666"/>
              <a:gd name="connsiteX6" fmla="*/ 688756 w 3622730"/>
              <a:gd name="connsiteY6" fmla="*/ 394705 h 2861666"/>
              <a:gd name="connsiteX7" fmla="*/ 557187 w 3622730"/>
              <a:gd name="connsiteY7" fmla="*/ 651263 h 2861666"/>
              <a:gd name="connsiteX8" fmla="*/ 340099 w 3622730"/>
              <a:gd name="connsiteY8" fmla="*/ 1138066 h 2861666"/>
              <a:gd name="connsiteX9" fmla="*/ 169061 w 3622730"/>
              <a:gd name="connsiteY9" fmla="*/ 1545928 h 2861666"/>
              <a:gd name="connsiteX10" fmla="*/ 50649 w 3622730"/>
              <a:gd name="connsiteY10" fmla="*/ 1874849 h 2861666"/>
              <a:gd name="connsiteX11" fmla="*/ 36 w 3622730"/>
              <a:gd name="connsiteY11" fmla="*/ 2167843 h 2861666"/>
              <a:gd name="connsiteX12" fmla="*/ 57228 w 3622730"/>
              <a:gd name="connsiteY12" fmla="*/ 2460328 h 2861666"/>
              <a:gd name="connsiteX13" fmla="*/ 267737 w 3622730"/>
              <a:gd name="connsiteY13" fmla="*/ 2710308 h 2861666"/>
              <a:gd name="connsiteX14" fmla="*/ 504560 w 3622730"/>
              <a:gd name="connsiteY14" fmla="*/ 2815563 h 2861666"/>
              <a:gd name="connsiteX15" fmla="*/ 787432 w 3622730"/>
              <a:gd name="connsiteY15" fmla="*/ 2855033 h 2861666"/>
              <a:gd name="connsiteX16" fmla="*/ 1234764 w 3622730"/>
              <a:gd name="connsiteY16" fmla="*/ 2861612 h 2861666"/>
              <a:gd name="connsiteX17" fmla="*/ 1807087 w 3622730"/>
              <a:gd name="connsiteY17" fmla="*/ 2855033 h 2861666"/>
              <a:gd name="connsiteX18" fmla="*/ 2392566 w 3622730"/>
              <a:gd name="connsiteY18" fmla="*/ 2861612 h 2861666"/>
              <a:gd name="connsiteX19" fmla="*/ 2451771 w 3622730"/>
              <a:gd name="connsiteY19" fmla="*/ 2743200 h 2861666"/>
              <a:gd name="connsiteX20" fmla="*/ 2649124 w 3622730"/>
              <a:gd name="connsiteY20" fmla="*/ 2276133 h 2861666"/>
              <a:gd name="connsiteX21" fmla="*/ 2899104 w 3622730"/>
              <a:gd name="connsiteY21" fmla="*/ 1670918 h 2861666"/>
              <a:gd name="connsiteX22" fmla="*/ 3070143 w 3622730"/>
              <a:gd name="connsiteY22" fmla="*/ 1263056 h 2861666"/>
              <a:gd name="connsiteX23" fmla="*/ 3188554 w 3622730"/>
              <a:gd name="connsiteY23" fmla="*/ 960449 h 2861666"/>
              <a:gd name="connsiteX24" fmla="*/ 3168819 w 3622730"/>
              <a:gd name="connsiteY24" fmla="*/ 953871 h 2861666"/>
              <a:gd name="connsiteX25" fmla="*/ 2840126 w 3622730"/>
              <a:gd name="connsiteY25" fmla="*/ 954099 h 2861666"/>
              <a:gd name="connsiteX26" fmla="*/ 2326781 w 3622730"/>
              <a:gd name="connsiteY26" fmla="*/ 953871 h 2861666"/>
              <a:gd name="connsiteX27" fmla="*/ 2300468 w 3622730"/>
              <a:gd name="connsiteY27" fmla="*/ 960449 h 2861666"/>
              <a:gd name="connsiteX28" fmla="*/ 1458430 w 3622730"/>
              <a:gd name="connsiteY28" fmla="*/ 1585399 h 2861666"/>
              <a:gd name="connsiteX29" fmla="*/ 1478166 w 3622730"/>
              <a:gd name="connsiteY29" fmla="*/ 1585399 h 2861666"/>
              <a:gd name="connsiteX30" fmla="*/ 2096537 w 3622730"/>
              <a:gd name="connsiteY30" fmla="*/ 1585399 h 2861666"/>
              <a:gd name="connsiteX31" fmla="*/ 2096537 w 3622730"/>
              <a:gd name="connsiteY31" fmla="*/ 1598556 h 2861666"/>
              <a:gd name="connsiteX32" fmla="*/ 1820243 w 3622730"/>
              <a:gd name="connsiteY32" fmla="*/ 2322181 h 2861666"/>
              <a:gd name="connsiteX33" fmla="*/ 1793930 w 3622730"/>
              <a:gd name="connsiteY33" fmla="*/ 2328760 h 2861666"/>
              <a:gd name="connsiteX34" fmla="*/ 971628 w 3622730"/>
              <a:gd name="connsiteY34" fmla="*/ 2335338 h 2861666"/>
              <a:gd name="connsiteX35" fmla="*/ 776799 w 3622730"/>
              <a:gd name="connsiteY35" fmla="*/ 2214403 h 2861666"/>
              <a:gd name="connsiteX36" fmla="*/ 826902 w 3622730"/>
              <a:gd name="connsiteY36" fmla="*/ 1953790 h 2861666"/>
              <a:gd name="connsiteX37" fmla="*/ 1083461 w 3622730"/>
              <a:gd name="connsiteY37" fmla="*/ 1328840 h 2861666"/>
              <a:gd name="connsiteX38" fmla="*/ 1293970 w 3622730"/>
              <a:gd name="connsiteY38" fmla="*/ 822302 h 2861666"/>
              <a:gd name="connsiteX39" fmla="*/ 1386068 w 3622730"/>
              <a:gd name="connsiteY39" fmla="*/ 644685 h 2861666"/>
              <a:gd name="connsiteX40" fmla="*/ 1511058 w 3622730"/>
              <a:gd name="connsiteY40" fmla="*/ 552587 h 2861666"/>
              <a:gd name="connsiteX41" fmla="*/ 1714989 w 3622730"/>
              <a:gd name="connsiteY41" fmla="*/ 526274 h 2861666"/>
              <a:gd name="connsiteX42" fmla="*/ 2399144 w 3622730"/>
              <a:gd name="connsiteY42" fmla="*/ 532852 h 2861666"/>
              <a:gd name="connsiteX43" fmla="*/ 2872790 w 3622730"/>
              <a:gd name="connsiteY43" fmla="*/ 539430 h 2861666"/>
              <a:gd name="connsiteX44" fmla="*/ 2878021 w 3622730"/>
              <a:gd name="connsiteY44" fmla="*/ 531481 h 2861666"/>
              <a:gd name="connsiteX45" fmla="*/ 3622730 w 3622730"/>
              <a:gd name="connsiteY45" fmla="*/ 0 h 2861666"/>
              <a:gd name="connsiteX0" fmla="*/ 3622730 w 3622730"/>
              <a:gd name="connsiteY0" fmla="*/ 0 h 2861666"/>
              <a:gd name="connsiteX1" fmla="*/ 2570183 w 3622730"/>
              <a:gd name="connsiteY1" fmla="*/ 6579 h 2861666"/>
              <a:gd name="connsiteX2" fmla="*/ 1668940 w 3622730"/>
              <a:gd name="connsiteY2" fmla="*/ 6579 h 2861666"/>
              <a:gd name="connsiteX3" fmla="*/ 1293970 w 3622730"/>
              <a:gd name="connsiteY3" fmla="*/ 46049 h 2861666"/>
              <a:gd name="connsiteX4" fmla="*/ 1030833 w 3622730"/>
              <a:gd name="connsiteY4" fmla="*/ 131568 h 2861666"/>
              <a:gd name="connsiteX5" fmla="*/ 872951 w 3622730"/>
              <a:gd name="connsiteY5" fmla="*/ 223666 h 2861666"/>
              <a:gd name="connsiteX6" fmla="*/ 688756 w 3622730"/>
              <a:gd name="connsiteY6" fmla="*/ 394705 h 2861666"/>
              <a:gd name="connsiteX7" fmla="*/ 557187 w 3622730"/>
              <a:gd name="connsiteY7" fmla="*/ 651263 h 2861666"/>
              <a:gd name="connsiteX8" fmla="*/ 340099 w 3622730"/>
              <a:gd name="connsiteY8" fmla="*/ 1138066 h 2861666"/>
              <a:gd name="connsiteX9" fmla="*/ 169061 w 3622730"/>
              <a:gd name="connsiteY9" fmla="*/ 1545928 h 2861666"/>
              <a:gd name="connsiteX10" fmla="*/ 50649 w 3622730"/>
              <a:gd name="connsiteY10" fmla="*/ 1874849 h 2861666"/>
              <a:gd name="connsiteX11" fmla="*/ 36 w 3622730"/>
              <a:gd name="connsiteY11" fmla="*/ 2167843 h 2861666"/>
              <a:gd name="connsiteX12" fmla="*/ 57228 w 3622730"/>
              <a:gd name="connsiteY12" fmla="*/ 2460328 h 2861666"/>
              <a:gd name="connsiteX13" fmla="*/ 267737 w 3622730"/>
              <a:gd name="connsiteY13" fmla="*/ 2710308 h 2861666"/>
              <a:gd name="connsiteX14" fmla="*/ 504560 w 3622730"/>
              <a:gd name="connsiteY14" fmla="*/ 2815563 h 2861666"/>
              <a:gd name="connsiteX15" fmla="*/ 787432 w 3622730"/>
              <a:gd name="connsiteY15" fmla="*/ 2855033 h 2861666"/>
              <a:gd name="connsiteX16" fmla="*/ 1234764 w 3622730"/>
              <a:gd name="connsiteY16" fmla="*/ 2861612 h 2861666"/>
              <a:gd name="connsiteX17" fmla="*/ 1807087 w 3622730"/>
              <a:gd name="connsiteY17" fmla="*/ 2855033 h 2861666"/>
              <a:gd name="connsiteX18" fmla="*/ 2392566 w 3622730"/>
              <a:gd name="connsiteY18" fmla="*/ 2861612 h 2861666"/>
              <a:gd name="connsiteX19" fmla="*/ 2451771 w 3622730"/>
              <a:gd name="connsiteY19" fmla="*/ 2743200 h 2861666"/>
              <a:gd name="connsiteX20" fmla="*/ 2649124 w 3622730"/>
              <a:gd name="connsiteY20" fmla="*/ 2276133 h 2861666"/>
              <a:gd name="connsiteX21" fmla="*/ 2899104 w 3622730"/>
              <a:gd name="connsiteY21" fmla="*/ 1670918 h 2861666"/>
              <a:gd name="connsiteX22" fmla="*/ 3070143 w 3622730"/>
              <a:gd name="connsiteY22" fmla="*/ 1263056 h 2861666"/>
              <a:gd name="connsiteX23" fmla="*/ 3188554 w 3622730"/>
              <a:gd name="connsiteY23" fmla="*/ 960449 h 2861666"/>
              <a:gd name="connsiteX24" fmla="*/ 3168819 w 3622730"/>
              <a:gd name="connsiteY24" fmla="*/ 953871 h 2861666"/>
              <a:gd name="connsiteX25" fmla="*/ 2840126 w 3622730"/>
              <a:gd name="connsiteY25" fmla="*/ 954099 h 2861666"/>
              <a:gd name="connsiteX26" fmla="*/ 2326781 w 3622730"/>
              <a:gd name="connsiteY26" fmla="*/ 953871 h 2861666"/>
              <a:gd name="connsiteX27" fmla="*/ 2300468 w 3622730"/>
              <a:gd name="connsiteY27" fmla="*/ 960449 h 2861666"/>
              <a:gd name="connsiteX28" fmla="*/ 1458430 w 3622730"/>
              <a:gd name="connsiteY28" fmla="*/ 1585399 h 2861666"/>
              <a:gd name="connsiteX29" fmla="*/ 1478166 w 3622730"/>
              <a:gd name="connsiteY29" fmla="*/ 1585399 h 2861666"/>
              <a:gd name="connsiteX30" fmla="*/ 2096537 w 3622730"/>
              <a:gd name="connsiteY30" fmla="*/ 1585399 h 2861666"/>
              <a:gd name="connsiteX31" fmla="*/ 2096537 w 3622730"/>
              <a:gd name="connsiteY31" fmla="*/ 1598556 h 2861666"/>
              <a:gd name="connsiteX32" fmla="*/ 1820243 w 3622730"/>
              <a:gd name="connsiteY32" fmla="*/ 2322181 h 2861666"/>
              <a:gd name="connsiteX33" fmla="*/ 1793930 w 3622730"/>
              <a:gd name="connsiteY33" fmla="*/ 2328760 h 2861666"/>
              <a:gd name="connsiteX34" fmla="*/ 971628 w 3622730"/>
              <a:gd name="connsiteY34" fmla="*/ 2335338 h 2861666"/>
              <a:gd name="connsiteX35" fmla="*/ 776799 w 3622730"/>
              <a:gd name="connsiteY35" fmla="*/ 2214403 h 2861666"/>
              <a:gd name="connsiteX36" fmla="*/ 826902 w 3622730"/>
              <a:gd name="connsiteY36" fmla="*/ 1953790 h 2861666"/>
              <a:gd name="connsiteX37" fmla="*/ 1083461 w 3622730"/>
              <a:gd name="connsiteY37" fmla="*/ 1328840 h 2861666"/>
              <a:gd name="connsiteX38" fmla="*/ 1293970 w 3622730"/>
              <a:gd name="connsiteY38" fmla="*/ 822302 h 2861666"/>
              <a:gd name="connsiteX39" fmla="*/ 1386068 w 3622730"/>
              <a:gd name="connsiteY39" fmla="*/ 644685 h 2861666"/>
              <a:gd name="connsiteX40" fmla="*/ 1511058 w 3622730"/>
              <a:gd name="connsiteY40" fmla="*/ 552587 h 2861666"/>
              <a:gd name="connsiteX41" fmla="*/ 1714989 w 3622730"/>
              <a:gd name="connsiteY41" fmla="*/ 526274 h 2861666"/>
              <a:gd name="connsiteX42" fmla="*/ 2399144 w 3622730"/>
              <a:gd name="connsiteY42" fmla="*/ 532852 h 2861666"/>
              <a:gd name="connsiteX43" fmla="*/ 2872790 w 3622730"/>
              <a:gd name="connsiteY43" fmla="*/ 539430 h 2861666"/>
              <a:gd name="connsiteX44" fmla="*/ 2878021 w 3622730"/>
              <a:gd name="connsiteY44" fmla="*/ 531481 h 2861666"/>
              <a:gd name="connsiteX45" fmla="*/ 3622730 w 3622730"/>
              <a:gd name="connsiteY45" fmla="*/ 0 h 2861666"/>
              <a:gd name="connsiteX0" fmla="*/ 3622730 w 3622730"/>
              <a:gd name="connsiteY0" fmla="*/ 0 h 2861666"/>
              <a:gd name="connsiteX1" fmla="*/ 2570183 w 3622730"/>
              <a:gd name="connsiteY1" fmla="*/ 6579 h 2861666"/>
              <a:gd name="connsiteX2" fmla="*/ 1668940 w 3622730"/>
              <a:gd name="connsiteY2" fmla="*/ 6579 h 2861666"/>
              <a:gd name="connsiteX3" fmla="*/ 1293970 w 3622730"/>
              <a:gd name="connsiteY3" fmla="*/ 46049 h 2861666"/>
              <a:gd name="connsiteX4" fmla="*/ 1030833 w 3622730"/>
              <a:gd name="connsiteY4" fmla="*/ 131568 h 2861666"/>
              <a:gd name="connsiteX5" fmla="*/ 872951 w 3622730"/>
              <a:gd name="connsiteY5" fmla="*/ 223666 h 2861666"/>
              <a:gd name="connsiteX6" fmla="*/ 688756 w 3622730"/>
              <a:gd name="connsiteY6" fmla="*/ 394705 h 2861666"/>
              <a:gd name="connsiteX7" fmla="*/ 557187 w 3622730"/>
              <a:gd name="connsiteY7" fmla="*/ 651263 h 2861666"/>
              <a:gd name="connsiteX8" fmla="*/ 340099 w 3622730"/>
              <a:gd name="connsiteY8" fmla="*/ 1138066 h 2861666"/>
              <a:gd name="connsiteX9" fmla="*/ 169061 w 3622730"/>
              <a:gd name="connsiteY9" fmla="*/ 1545928 h 2861666"/>
              <a:gd name="connsiteX10" fmla="*/ 50649 w 3622730"/>
              <a:gd name="connsiteY10" fmla="*/ 1874849 h 2861666"/>
              <a:gd name="connsiteX11" fmla="*/ 36 w 3622730"/>
              <a:gd name="connsiteY11" fmla="*/ 2167843 h 2861666"/>
              <a:gd name="connsiteX12" fmla="*/ 57228 w 3622730"/>
              <a:gd name="connsiteY12" fmla="*/ 2460328 h 2861666"/>
              <a:gd name="connsiteX13" fmla="*/ 267737 w 3622730"/>
              <a:gd name="connsiteY13" fmla="*/ 2710308 h 2861666"/>
              <a:gd name="connsiteX14" fmla="*/ 504560 w 3622730"/>
              <a:gd name="connsiteY14" fmla="*/ 2815563 h 2861666"/>
              <a:gd name="connsiteX15" fmla="*/ 787432 w 3622730"/>
              <a:gd name="connsiteY15" fmla="*/ 2855033 h 2861666"/>
              <a:gd name="connsiteX16" fmla="*/ 1234764 w 3622730"/>
              <a:gd name="connsiteY16" fmla="*/ 2861612 h 2861666"/>
              <a:gd name="connsiteX17" fmla="*/ 1807087 w 3622730"/>
              <a:gd name="connsiteY17" fmla="*/ 2855033 h 2861666"/>
              <a:gd name="connsiteX18" fmla="*/ 2392566 w 3622730"/>
              <a:gd name="connsiteY18" fmla="*/ 2861612 h 2861666"/>
              <a:gd name="connsiteX19" fmla="*/ 2451771 w 3622730"/>
              <a:gd name="connsiteY19" fmla="*/ 2743200 h 2861666"/>
              <a:gd name="connsiteX20" fmla="*/ 2649124 w 3622730"/>
              <a:gd name="connsiteY20" fmla="*/ 2276133 h 2861666"/>
              <a:gd name="connsiteX21" fmla="*/ 2899104 w 3622730"/>
              <a:gd name="connsiteY21" fmla="*/ 1670918 h 2861666"/>
              <a:gd name="connsiteX22" fmla="*/ 3070143 w 3622730"/>
              <a:gd name="connsiteY22" fmla="*/ 1263056 h 2861666"/>
              <a:gd name="connsiteX23" fmla="*/ 3188554 w 3622730"/>
              <a:gd name="connsiteY23" fmla="*/ 960449 h 2861666"/>
              <a:gd name="connsiteX24" fmla="*/ 3168819 w 3622730"/>
              <a:gd name="connsiteY24" fmla="*/ 953871 h 2861666"/>
              <a:gd name="connsiteX25" fmla="*/ 2840126 w 3622730"/>
              <a:gd name="connsiteY25" fmla="*/ 954099 h 2861666"/>
              <a:gd name="connsiteX26" fmla="*/ 2326781 w 3622730"/>
              <a:gd name="connsiteY26" fmla="*/ 953871 h 2861666"/>
              <a:gd name="connsiteX27" fmla="*/ 2300468 w 3622730"/>
              <a:gd name="connsiteY27" fmla="*/ 960449 h 2861666"/>
              <a:gd name="connsiteX28" fmla="*/ 1458430 w 3622730"/>
              <a:gd name="connsiteY28" fmla="*/ 1585399 h 2861666"/>
              <a:gd name="connsiteX29" fmla="*/ 1478166 w 3622730"/>
              <a:gd name="connsiteY29" fmla="*/ 1585399 h 2861666"/>
              <a:gd name="connsiteX30" fmla="*/ 2096537 w 3622730"/>
              <a:gd name="connsiteY30" fmla="*/ 1585399 h 2861666"/>
              <a:gd name="connsiteX31" fmla="*/ 2096537 w 3622730"/>
              <a:gd name="connsiteY31" fmla="*/ 1598556 h 2861666"/>
              <a:gd name="connsiteX32" fmla="*/ 1820243 w 3622730"/>
              <a:gd name="connsiteY32" fmla="*/ 2322181 h 2861666"/>
              <a:gd name="connsiteX33" fmla="*/ 1793930 w 3622730"/>
              <a:gd name="connsiteY33" fmla="*/ 2328760 h 2861666"/>
              <a:gd name="connsiteX34" fmla="*/ 971628 w 3622730"/>
              <a:gd name="connsiteY34" fmla="*/ 2335338 h 2861666"/>
              <a:gd name="connsiteX35" fmla="*/ 776799 w 3622730"/>
              <a:gd name="connsiteY35" fmla="*/ 2214403 h 2861666"/>
              <a:gd name="connsiteX36" fmla="*/ 826902 w 3622730"/>
              <a:gd name="connsiteY36" fmla="*/ 1953790 h 2861666"/>
              <a:gd name="connsiteX37" fmla="*/ 1083461 w 3622730"/>
              <a:gd name="connsiteY37" fmla="*/ 1328840 h 2861666"/>
              <a:gd name="connsiteX38" fmla="*/ 1293970 w 3622730"/>
              <a:gd name="connsiteY38" fmla="*/ 822302 h 2861666"/>
              <a:gd name="connsiteX39" fmla="*/ 1386068 w 3622730"/>
              <a:gd name="connsiteY39" fmla="*/ 644685 h 2861666"/>
              <a:gd name="connsiteX40" fmla="*/ 1511058 w 3622730"/>
              <a:gd name="connsiteY40" fmla="*/ 552587 h 2861666"/>
              <a:gd name="connsiteX41" fmla="*/ 1714989 w 3622730"/>
              <a:gd name="connsiteY41" fmla="*/ 526274 h 2861666"/>
              <a:gd name="connsiteX42" fmla="*/ 2399144 w 3622730"/>
              <a:gd name="connsiteY42" fmla="*/ 532852 h 2861666"/>
              <a:gd name="connsiteX43" fmla="*/ 2872790 w 3622730"/>
              <a:gd name="connsiteY43" fmla="*/ 539430 h 2861666"/>
              <a:gd name="connsiteX44" fmla="*/ 2878021 w 3622730"/>
              <a:gd name="connsiteY44" fmla="*/ 531481 h 2861666"/>
              <a:gd name="connsiteX45" fmla="*/ 3622730 w 3622730"/>
              <a:gd name="connsiteY45" fmla="*/ 0 h 2861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622730" h="2861666">
                <a:moveTo>
                  <a:pt x="3622730" y="0"/>
                </a:moveTo>
                <a:lnTo>
                  <a:pt x="2570183" y="6579"/>
                </a:lnTo>
                <a:lnTo>
                  <a:pt x="1668940" y="6579"/>
                </a:lnTo>
                <a:cubicBezTo>
                  <a:pt x="1456238" y="13157"/>
                  <a:pt x="1400321" y="25218"/>
                  <a:pt x="1293970" y="46049"/>
                </a:cubicBezTo>
                <a:cubicBezTo>
                  <a:pt x="1187619" y="66880"/>
                  <a:pt x="1101003" y="101965"/>
                  <a:pt x="1030833" y="131568"/>
                </a:cubicBezTo>
                <a:cubicBezTo>
                  <a:pt x="960663" y="161171"/>
                  <a:pt x="929964" y="179810"/>
                  <a:pt x="872951" y="223666"/>
                </a:cubicBezTo>
                <a:cubicBezTo>
                  <a:pt x="815938" y="267522"/>
                  <a:pt x="741383" y="323439"/>
                  <a:pt x="688756" y="394705"/>
                </a:cubicBezTo>
                <a:cubicBezTo>
                  <a:pt x="636129" y="465971"/>
                  <a:pt x="615296" y="527370"/>
                  <a:pt x="557187" y="651263"/>
                </a:cubicBezTo>
                <a:cubicBezTo>
                  <a:pt x="499078" y="775156"/>
                  <a:pt x="404787" y="988955"/>
                  <a:pt x="340099" y="1138066"/>
                </a:cubicBezTo>
                <a:cubicBezTo>
                  <a:pt x="275411" y="1287177"/>
                  <a:pt x="217303" y="1423131"/>
                  <a:pt x="169061" y="1545928"/>
                </a:cubicBezTo>
                <a:cubicBezTo>
                  <a:pt x="120819" y="1668725"/>
                  <a:pt x="78820" y="1771197"/>
                  <a:pt x="50649" y="1874849"/>
                </a:cubicBezTo>
                <a:cubicBezTo>
                  <a:pt x="22478" y="1978501"/>
                  <a:pt x="-1060" y="2070263"/>
                  <a:pt x="36" y="2167843"/>
                </a:cubicBezTo>
                <a:cubicBezTo>
                  <a:pt x="1132" y="2265423"/>
                  <a:pt x="12611" y="2369917"/>
                  <a:pt x="57228" y="2460328"/>
                </a:cubicBezTo>
                <a:cubicBezTo>
                  <a:pt x="101845" y="2550739"/>
                  <a:pt x="193182" y="2651102"/>
                  <a:pt x="267737" y="2710308"/>
                </a:cubicBezTo>
                <a:cubicBezTo>
                  <a:pt x="342292" y="2769514"/>
                  <a:pt x="417944" y="2791442"/>
                  <a:pt x="504560" y="2815563"/>
                </a:cubicBezTo>
                <a:cubicBezTo>
                  <a:pt x="591176" y="2839684"/>
                  <a:pt x="665731" y="2847358"/>
                  <a:pt x="787432" y="2855033"/>
                </a:cubicBezTo>
                <a:cubicBezTo>
                  <a:pt x="909133" y="2862708"/>
                  <a:pt x="1064822" y="2861612"/>
                  <a:pt x="1234764" y="2861612"/>
                </a:cubicBezTo>
                <a:cubicBezTo>
                  <a:pt x="1404706" y="2861612"/>
                  <a:pt x="1614120" y="2855033"/>
                  <a:pt x="1807087" y="2855033"/>
                </a:cubicBezTo>
                <a:cubicBezTo>
                  <a:pt x="2000054" y="2855033"/>
                  <a:pt x="2377194" y="2861201"/>
                  <a:pt x="2392566" y="2861612"/>
                </a:cubicBezTo>
                <a:cubicBezTo>
                  <a:pt x="2407938" y="2862023"/>
                  <a:pt x="2409011" y="2840780"/>
                  <a:pt x="2451771" y="2743200"/>
                </a:cubicBezTo>
                <a:cubicBezTo>
                  <a:pt x="2494531" y="2645620"/>
                  <a:pt x="2574569" y="2454847"/>
                  <a:pt x="2649124" y="2276133"/>
                </a:cubicBezTo>
                <a:cubicBezTo>
                  <a:pt x="2723679" y="2097419"/>
                  <a:pt x="2828934" y="1839764"/>
                  <a:pt x="2899104" y="1670918"/>
                </a:cubicBezTo>
                <a:cubicBezTo>
                  <a:pt x="2969274" y="1502072"/>
                  <a:pt x="3021901" y="1381467"/>
                  <a:pt x="3070143" y="1263056"/>
                </a:cubicBezTo>
                <a:cubicBezTo>
                  <a:pt x="3118385" y="1144645"/>
                  <a:pt x="3184808" y="977055"/>
                  <a:pt x="3188554" y="960449"/>
                </a:cubicBezTo>
                <a:cubicBezTo>
                  <a:pt x="3192300" y="943843"/>
                  <a:pt x="3191965" y="958104"/>
                  <a:pt x="3168819" y="953871"/>
                </a:cubicBezTo>
                <a:cubicBezTo>
                  <a:pt x="3145673" y="949638"/>
                  <a:pt x="2980466" y="954099"/>
                  <a:pt x="2840126" y="954099"/>
                </a:cubicBezTo>
                <a:lnTo>
                  <a:pt x="2326781" y="953871"/>
                </a:lnTo>
                <a:cubicBezTo>
                  <a:pt x="2297163" y="954929"/>
                  <a:pt x="2315018" y="947269"/>
                  <a:pt x="2300468" y="960449"/>
                </a:cubicBezTo>
                <a:cubicBezTo>
                  <a:pt x="2285918" y="973629"/>
                  <a:pt x="1458430" y="1585399"/>
                  <a:pt x="1458430" y="1585399"/>
                </a:cubicBezTo>
                <a:cubicBezTo>
                  <a:pt x="1457350" y="1584180"/>
                  <a:pt x="1478166" y="1585399"/>
                  <a:pt x="1478166" y="1585399"/>
                </a:cubicBezTo>
                <a:lnTo>
                  <a:pt x="2096537" y="1585399"/>
                </a:lnTo>
                <a:cubicBezTo>
                  <a:pt x="2110699" y="1584417"/>
                  <a:pt x="2105195" y="1584535"/>
                  <a:pt x="2096537" y="1598556"/>
                </a:cubicBezTo>
                <a:cubicBezTo>
                  <a:pt x="2087879" y="1612577"/>
                  <a:pt x="1826228" y="2311605"/>
                  <a:pt x="1820243" y="2322181"/>
                </a:cubicBezTo>
                <a:cubicBezTo>
                  <a:pt x="1814258" y="2332757"/>
                  <a:pt x="1793930" y="2328760"/>
                  <a:pt x="1793930" y="2328760"/>
                </a:cubicBezTo>
                <a:cubicBezTo>
                  <a:pt x="1652494" y="2330953"/>
                  <a:pt x="1141150" y="2354398"/>
                  <a:pt x="971628" y="2335338"/>
                </a:cubicBezTo>
                <a:cubicBezTo>
                  <a:pt x="802106" y="2316279"/>
                  <a:pt x="786744" y="2267360"/>
                  <a:pt x="776799" y="2214403"/>
                </a:cubicBezTo>
                <a:cubicBezTo>
                  <a:pt x="766854" y="2161446"/>
                  <a:pt x="775792" y="2101384"/>
                  <a:pt x="826902" y="1953790"/>
                </a:cubicBezTo>
                <a:cubicBezTo>
                  <a:pt x="878012" y="1806196"/>
                  <a:pt x="1005616" y="1517421"/>
                  <a:pt x="1083461" y="1328840"/>
                </a:cubicBezTo>
                <a:cubicBezTo>
                  <a:pt x="1161306" y="1140259"/>
                  <a:pt x="1243535" y="936328"/>
                  <a:pt x="1293970" y="822302"/>
                </a:cubicBezTo>
                <a:cubicBezTo>
                  <a:pt x="1344405" y="708276"/>
                  <a:pt x="1349887" y="689638"/>
                  <a:pt x="1386068" y="644685"/>
                </a:cubicBezTo>
                <a:cubicBezTo>
                  <a:pt x="1422249" y="599732"/>
                  <a:pt x="1456238" y="572322"/>
                  <a:pt x="1511058" y="552587"/>
                </a:cubicBezTo>
                <a:cubicBezTo>
                  <a:pt x="1565878" y="532852"/>
                  <a:pt x="1566975" y="529563"/>
                  <a:pt x="1714989" y="526274"/>
                </a:cubicBezTo>
                <a:cubicBezTo>
                  <a:pt x="1863003" y="522985"/>
                  <a:pt x="2399144" y="532852"/>
                  <a:pt x="2399144" y="532852"/>
                </a:cubicBezTo>
                <a:cubicBezTo>
                  <a:pt x="2592111" y="535045"/>
                  <a:pt x="2783981" y="546009"/>
                  <a:pt x="2872790" y="539430"/>
                </a:cubicBezTo>
                <a:cubicBezTo>
                  <a:pt x="2879049" y="545552"/>
                  <a:pt x="2878021" y="531481"/>
                  <a:pt x="2878021" y="531481"/>
                </a:cubicBezTo>
                <a:lnTo>
                  <a:pt x="3622730" y="0"/>
                </a:lnTo>
                <a:close/>
              </a:path>
            </a:pathLst>
          </a:custGeom>
          <a:solidFill>
            <a:schemeClr val="tx2">
              <a:lumMod val="65000"/>
              <a:lumOff val="35000"/>
              <a:alpha val="89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 Pro Light" panose="020B0504020101010102" pitchFamily="34" charset="0"/>
              <a:ea typeface="+mn-ea"/>
              <a:cs typeface="DIN Pro Light" panose="020B0504020101010102" pitchFamily="34" charset="0"/>
            </a:endParaRPr>
          </a:p>
        </p:txBody>
      </p:sp>
      <p:sp>
        <p:nvSpPr>
          <p:cNvPr id="109" name="Прямоугольник 8"/>
          <p:cNvSpPr/>
          <p:nvPr/>
        </p:nvSpPr>
        <p:spPr>
          <a:xfrm flipH="1">
            <a:off x="1763688" y="591530"/>
            <a:ext cx="4009931" cy="2542811"/>
          </a:xfrm>
          <a:custGeom>
            <a:avLst/>
            <a:gdLst>
              <a:gd name="connsiteX0" fmla="*/ 0 w 1498884"/>
              <a:gd name="connsiteY0" fmla="*/ 0 h 1012063"/>
              <a:gd name="connsiteX1" fmla="*/ 1498884 w 1498884"/>
              <a:gd name="connsiteY1" fmla="*/ 0 h 1012063"/>
              <a:gd name="connsiteX2" fmla="*/ 1498884 w 1498884"/>
              <a:gd name="connsiteY2" fmla="*/ 1012063 h 1012063"/>
              <a:gd name="connsiteX3" fmla="*/ 0 w 1498884"/>
              <a:gd name="connsiteY3" fmla="*/ 1012063 h 1012063"/>
              <a:gd name="connsiteX4" fmla="*/ 0 w 1498884"/>
              <a:gd name="connsiteY4" fmla="*/ 0 h 1012063"/>
              <a:gd name="connsiteX0" fmla="*/ 0 w 1498884"/>
              <a:gd name="connsiteY0" fmla="*/ 0 h 1012063"/>
              <a:gd name="connsiteX1" fmla="*/ 1498884 w 1498884"/>
              <a:gd name="connsiteY1" fmla="*/ 0 h 1012063"/>
              <a:gd name="connsiteX2" fmla="*/ 681760 w 1498884"/>
              <a:gd name="connsiteY2" fmla="*/ 418676 h 1012063"/>
              <a:gd name="connsiteX3" fmla="*/ 0 w 1498884"/>
              <a:gd name="connsiteY3" fmla="*/ 1012063 h 1012063"/>
              <a:gd name="connsiteX4" fmla="*/ 0 w 1498884"/>
              <a:gd name="connsiteY4" fmla="*/ 0 h 1012063"/>
              <a:gd name="connsiteX0" fmla="*/ 0 w 1498884"/>
              <a:gd name="connsiteY0" fmla="*/ 0 h 1012063"/>
              <a:gd name="connsiteX1" fmla="*/ 1498884 w 1498884"/>
              <a:gd name="connsiteY1" fmla="*/ 0 h 1012063"/>
              <a:gd name="connsiteX2" fmla="*/ 732002 w 1498884"/>
              <a:gd name="connsiteY2" fmla="*/ 509111 h 1012063"/>
              <a:gd name="connsiteX3" fmla="*/ 0 w 1498884"/>
              <a:gd name="connsiteY3" fmla="*/ 1012063 h 1012063"/>
              <a:gd name="connsiteX4" fmla="*/ 0 w 1498884"/>
              <a:gd name="connsiteY4" fmla="*/ 0 h 1012063"/>
              <a:gd name="connsiteX0" fmla="*/ 0 w 1498884"/>
              <a:gd name="connsiteY0" fmla="*/ 0 h 1012063"/>
              <a:gd name="connsiteX1" fmla="*/ 1498884 w 1498884"/>
              <a:gd name="connsiteY1" fmla="*/ 0 h 1012063"/>
              <a:gd name="connsiteX2" fmla="*/ 799610 w 1498884"/>
              <a:gd name="connsiteY2" fmla="*/ 473117 h 1012063"/>
              <a:gd name="connsiteX3" fmla="*/ 0 w 1498884"/>
              <a:gd name="connsiteY3" fmla="*/ 1012063 h 1012063"/>
              <a:gd name="connsiteX4" fmla="*/ 0 w 1498884"/>
              <a:gd name="connsiteY4" fmla="*/ 0 h 1012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98884" h="1012063">
                <a:moveTo>
                  <a:pt x="0" y="0"/>
                </a:moveTo>
                <a:lnTo>
                  <a:pt x="1498884" y="0"/>
                </a:lnTo>
                <a:lnTo>
                  <a:pt x="799610" y="473117"/>
                </a:lnTo>
                <a:lnTo>
                  <a:pt x="0" y="1012063"/>
                </a:lnTo>
                <a:lnTo>
                  <a:pt x="0" y="0"/>
                </a:lnTo>
                <a:close/>
              </a:path>
            </a:pathLst>
          </a:custGeom>
          <a:solidFill>
            <a:srgbClr val="3C3C3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25902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2564324" y="891510"/>
            <a:ext cx="998077" cy="68396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592397" eaLnBrk="0" fontAlgn="base" hangingPunct="0">
              <a:lnSpc>
                <a:spcPts val="750"/>
              </a:lnSpc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210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6 </a:t>
            </a:r>
            <a:r>
              <a:rPr lang="ru-RU" sz="750" b="1" dirty="0">
                <a:solidFill>
                  <a:schemeClr val="bg1">
                    <a:lumMod val="95000"/>
                  </a:schemeClr>
                </a:solidFill>
                <a:latin typeface="DINPro-Black" panose="02000503030000020004" pitchFamily="50" charset="0"/>
                <a:cs typeface="Times New Roman" pitchFamily="18" charset="0"/>
              </a:rPr>
              <a:t>ЖД путей </a:t>
            </a:r>
          </a:p>
          <a:p>
            <a:pPr defTabSz="592397" eaLnBrk="0" fontAlgn="base" hangingPunct="0">
              <a:lnSpc>
                <a:spcPts val="750"/>
              </a:lnSpc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  <a:t>протяженностью</a:t>
            </a:r>
            <a:r>
              <a:rPr lang="ru-RU" sz="788" dirty="0">
                <a:solidFill>
                  <a:schemeClr val="tx1"/>
                </a:solidFill>
                <a:latin typeface="Arial"/>
                <a:cs typeface="Times New Roman" pitchFamily="18" charset="0"/>
              </a:rPr>
              <a:t> </a:t>
            </a:r>
          </a:p>
          <a:p>
            <a:pPr defTabSz="592397" eaLnBrk="0" fontAlgn="base" hangingPunct="0">
              <a:lnSpc>
                <a:spcPts val="750"/>
              </a:lnSpc>
              <a:spcBef>
                <a:spcPts val="450"/>
              </a:spcBef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135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2413 </a:t>
            </a:r>
            <a:r>
              <a:rPr lang="ru-RU" sz="750" b="1" dirty="0">
                <a:solidFill>
                  <a:schemeClr val="bg1">
                    <a:lumMod val="95000"/>
                  </a:schemeClr>
                </a:solidFill>
                <a:latin typeface="DINPro-Black" panose="02000503030000020004" pitchFamily="50" charset="0"/>
                <a:cs typeface="Times New Roman" pitchFamily="18" charset="0"/>
              </a:rPr>
              <a:t>метров</a:t>
            </a:r>
            <a:r>
              <a:rPr lang="ru-RU" sz="788" dirty="0">
                <a:solidFill>
                  <a:schemeClr val="bg1">
                    <a:lumMod val="95000"/>
                  </a:schemeClr>
                </a:solidFill>
                <a:latin typeface="Arial"/>
                <a:cs typeface="Times New Roman" pitchFamily="18" charset="0"/>
              </a:rPr>
              <a:t> </a:t>
            </a:r>
          </a:p>
          <a:p>
            <a:pPr defTabSz="592397" eaLnBrk="0" fontAlgn="base" hangingPunct="0">
              <a:lnSpc>
                <a:spcPts val="750"/>
              </a:lnSpc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  <a:t>в границах </a:t>
            </a:r>
          </a:p>
          <a:p>
            <a:pPr defTabSz="592397" eaLnBrk="0" fontAlgn="base" hangingPunct="0">
              <a:lnSpc>
                <a:spcPts val="750"/>
              </a:lnSpc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  <a:t>нефтебазы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51520" y="3783109"/>
            <a:ext cx="957313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92397"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280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979 </a:t>
            </a:r>
            <a:endParaRPr lang="ru-RU" b="1" dirty="0">
              <a:solidFill>
                <a:srgbClr val="DE5307"/>
              </a:solidFill>
              <a:latin typeface="DINPro-Black" panose="02000503030000020004" pitchFamily="50" charset="0"/>
              <a:cs typeface="Times New Roman" pitchFamily="18" charset="0"/>
            </a:endParaRPr>
          </a:p>
          <a:p>
            <a:pPr defTabSz="592397"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b="1" dirty="0">
                <a:solidFill>
                  <a:schemeClr val="bg1"/>
                </a:solidFill>
                <a:latin typeface="DINPro-Black" panose="02000503030000020004" pitchFamily="50" charset="0"/>
                <a:cs typeface="Times New Roman" pitchFamily="18" charset="0"/>
              </a:rPr>
              <a:t>тыс. тонн/год</a:t>
            </a:r>
            <a:r>
              <a:rPr lang="en-US" sz="750" b="1" dirty="0">
                <a:solidFill>
                  <a:schemeClr val="bg1"/>
                </a:solidFill>
                <a:latin typeface="DINPro-Black" panose="02000503030000020004" pitchFamily="50" charset="0"/>
                <a:cs typeface="Times New Roman" pitchFamily="18" charset="0"/>
              </a:rPr>
              <a:t> </a:t>
            </a:r>
            <a:endParaRPr lang="ru-RU" sz="750" b="1" dirty="0">
              <a:solidFill>
                <a:schemeClr val="bg1"/>
              </a:solidFill>
              <a:latin typeface="DINPro-Black" panose="02000503030000020004" pitchFamily="50" charset="0"/>
              <a:cs typeface="Times New Roman" pitchFamily="18" charset="0"/>
            </a:endParaRPr>
          </a:p>
          <a:p>
            <a:pPr defTabSz="592397"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dirty="0">
                <a:solidFill>
                  <a:schemeClr val="bg1"/>
                </a:solidFill>
                <a:latin typeface="DINPro-Light" panose="02000504040000020003" pitchFamily="50" charset="0"/>
                <a:cs typeface="Times New Roman" pitchFamily="18" charset="0"/>
              </a:rPr>
              <a:t>прогнозируемый </a:t>
            </a:r>
          </a:p>
          <a:p>
            <a:pPr defTabSz="592397"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dirty="0">
                <a:solidFill>
                  <a:schemeClr val="bg1"/>
                </a:solidFill>
                <a:latin typeface="DINPro-Light" panose="02000504040000020003" pitchFamily="50" charset="0"/>
                <a:cs typeface="Times New Roman" pitchFamily="18" charset="0"/>
              </a:rPr>
              <a:t>объем </a:t>
            </a:r>
            <a:br>
              <a:rPr lang="ru-RU" sz="750" dirty="0">
                <a:solidFill>
                  <a:schemeClr val="bg1"/>
                </a:solidFill>
                <a:latin typeface="DINPro-Light" panose="02000504040000020003" pitchFamily="50" charset="0"/>
                <a:cs typeface="Times New Roman" pitchFamily="18" charset="0"/>
              </a:rPr>
            </a:br>
            <a:r>
              <a:rPr lang="ru-RU" sz="750" dirty="0">
                <a:solidFill>
                  <a:schemeClr val="bg1"/>
                </a:solidFill>
                <a:latin typeface="DINPro-Light" panose="02000504040000020003" pitchFamily="50" charset="0"/>
                <a:cs typeface="Times New Roman" pitchFamily="18" charset="0"/>
              </a:rPr>
              <a:t>перевалки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443786" y="879562"/>
            <a:ext cx="797229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2397">
              <a:lnSpc>
                <a:spcPts val="900"/>
              </a:lnSpc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  <a:t>Объект сможет </a:t>
            </a:r>
            <a:b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</a:b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  <a:t>принимать </a:t>
            </a:r>
            <a:b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</a:b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  <a:t>состав из</a:t>
            </a: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Arial"/>
                <a:cs typeface="Times New Roman" pitchFamily="18" charset="0"/>
              </a:rPr>
              <a:t> </a:t>
            </a:r>
          </a:p>
          <a:p>
            <a:pPr defTabSz="592397">
              <a:lnSpc>
                <a:spcPts val="900"/>
              </a:lnSpc>
              <a:spcBef>
                <a:spcPts val="900"/>
              </a:spcBef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240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71</a:t>
            </a:r>
            <a:r>
              <a:rPr lang="ru-RU" sz="135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 </a:t>
            </a:r>
            <a:br>
              <a:rPr lang="ru-RU" sz="135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</a:br>
            <a:r>
              <a:rPr lang="ru-RU" sz="750" b="1" dirty="0">
                <a:solidFill>
                  <a:schemeClr val="bg1">
                    <a:lumMod val="95000"/>
                  </a:schemeClr>
                </a:solidFill>
                <a:latin typeface="DINPro-Black" panose="02000503030000020004" pitchFamily="50" charset="0"/>
                <a:cs typeface="Times New Roman" pitchFamily="18" charset="0"/>
              </a:rPr>
              <a:t>цистерн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194056" y="3659998"/>
            <a:ext cx="94936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2397"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280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22</a:t>
            </a:r>
            <a:r>
              <a:rPr lang="ru-RU" sz="360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 </a:t>
            </a:r>
            <a:r>
              <a:rPr lang="en-US" sz="135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/>
            </a:r>
            <a:br>
              <a:rPr lang="en-US" sz="135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</a:br>
            <a:r>
              <a:rPr lang="ru-RU" sz="750" b="1" dirty="0">
                <a:solidFill>
                  <a:srgbClr val="FFFFFF"/>
                </a:solidFill>
                <a:latin typeface="DINPro-Black" panose="02000503030000020004" pitchFamily="50" charset="0"/>
                <a:cs typeface="Times New Roman" pitchFamily="18" charset="0"/>
              </a:rPr>
              <a:t>здания и сооружения</a:t>
            </a:r>
            <a:r>
              <a:rPr lang="ru-RU" sz="750" dirty="0">
                <a:solidFill>
                  <a:srgbClr val="FFFFFF"/>
                </a:solidFill>
                <a:latin typeface="Arial"/>
                <a:cs typeface="Times New Roman" pitchFamily="18" charset="0"/>
              </a:rPr>
              <a:t>, </a:t>
            </a:r>
            <a:r>
              <a:rPr lang="en-US" sz="750" dirty="0">
                <a:solidFill>
                  <a:srgbClr val="FFFFFF"/>
                </a:solidFill>
                <a:latin typeface="Arial"/>
                <a:cs typeface="Times New Roman" pitchFamily="18" charset="0"/>
              </a:rPr>
              <a:t/>
            </a:r>
            <a:br>
              <a:rPr lang="en-US" sz="750" dirty="0">
                <a:solidFill>
                  <a:srgbClr val="FFFFFF"/>
                </a:solidFill>
                <a:latin typeface="Arial"/>
                <a:cs typeface="Times New Roman" pitchFamily="18" charset="0"/>
              </a:rPr>
            </a:br>
            <a:r>
              <a:rPr lang="ru-RU" sz="750" dirty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  <a:t>в </a:t>
            </a:r>
            <a:r>
              <a:rPr lang="ru-RU" sz="750" dirty="0" err="1" smtClean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  <a:t>т.ч</a:t>
            </a:r>
            <a:r>
              <a:rPr lang="ru-RU" sz="750" dirty="0" smtClean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  <a:t>.</a:t>
            </a:r>
            <a:r>
              <a:rPr lang="en-US" sz="750" dirty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  <a:t/>
            </a:r>
            <a:br>
              <a:rPr lang="en-US" sz="750" dirty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</a:br>
            <a:r>
              <a:rPr lang="ru-RU" sz="750" dirty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  <a:t>пожарное депо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083960" y="4011910"/>
            <a:ext cx="939868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2397">
              <a:lnSpc>
                <a:spcPts val="900"/>
              </a:lnSpc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dirty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  <a:t>Пропускная </a:t>
            </a:r>
            <a:br>
              <a:rPr lang="ru-RU" sz="750" dirty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</a:br>
            <a:r>
              <a:rPr lang="ru-RU" sz="750" dirty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  <a:t>способность АСН</a:t>
            </a:r>
            <a:r>
              <a:rPr lang="ru-RU" sz="750" b="1" dirty="0">
                <a:solidFill>
                  <a:srgbClr val="FFFFFF"/>
                </a:solidFill>
                <a:latin typeface="DINPro-Light" panose="02000504040000020003" pitchFamily="50" charset="0"/>
                <a:cs typeface="Times New Roman" pitchFamily="18" charset="0"/>
              </a:rPr>
              <a:t> </a:t>
            </a:r>
          </a:p>
          <a:p>
            <a:pPr defTabSz="592397">
              <a:lnSpc>
                <a:spcPts val="900"/>
              </a:lnSpc>
              <a:spcBef>
                <a:spcPts val="1350"/>
              </a:spcBef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240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140 </a:t>
            </a:r>
            <a:r>
              <a:rPr lang="ru-RU" sz="1350" b="1" dirty="0">
                <a:solidFill>
                  <a:srgbClr val="DE5307"/>
                </a:solidFill>
                <a:latin typeface="DINPro-Light" panose="02000504040000020003" pitchFamily="50" charset="0"/>
                <a:cs typeface="Times New Roman" pitchFamily="18" charset="0"/>
              </a:rPr>
              <a:t/>
            </a:r>
            <a:br>
              <a:rPr lang="ru-RU" sz="1350" b="1" dirty="0">
                <a:solidFill>
                  <a:srgbClr val="DE5307"/>
                </a:solidFill>
                <a:latin typeface="DINPro-Light" panose="02000504040000020003" pitchFamily="50" charset="0"/>
                <a:cs typeface="Times New Roman" pitchFamily="18" charset="0"/>
              </a:rPr>
            </a:br>
            <a:r>
              <a:rPr lang="ru-RU" sz="750" b="1" dirty="0">
                <a:solidFill>
                  <a:srgbClr val="FFFFFF"/>
                </a:solidFill>
                <a:latin typeface="DINPro-Black" panose="02000503030000020004" pitchFamily="50" charset="0"/>
                <a:cs typeface="Times New Roman" pitchFamily="18" charset="0"/>
              </a:rPr>
              <a:t>бензовозов /</a:t>
            </a:r>
            <a:r>
              <a:rPr lang="ru-RU" sz="750" b="1" dirty="0" err="1">
                <a:solidFill>
                  <a:srgbClr val="FFFFFF"/>
                </a:solidFill>
                <a:latin typeface="DINPro-Black" panose="02000503030000020004" pitchFamily="50" charset="0"/>
                <a:cs typeface="Times New Roman" pitchFamily="18" charset="0"/>
              </a:rPr>
              <a:t>сут</a:t>
            </a:r>
            <a:r>
              <a:rPr lang="ru-RU" sz="750" b="1" dirty="0">
                <a:solidFill>
                  <a:srgbClr val="FFFFFF"/>
                </a:solidFill>
                <a:latin typeface="DINPro-Black" panose="02000503030000020004" pitchFamily="50" charset="0"/>
                <a:cs typeface="Times New Roman" pitchFamily="18" charset="0"/>
              </a:rPr>
              <a:t>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139952" y="891511"/>
            <a:ext cx="1025604" cy="1182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2397">
              <a:lnSpc>
                <a:spcPts val="750"/>
              </a:lnSpc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  <a:t>Железнодорожная сливная эстакада протяженностью</a:t>
            </a:r>
          </a:p>
          <a:p>
            <a:pPr defTabSz="592397">
              <a:lnSpc>
                <a:spcPts val="750"/>
              </a:lnSpc>
              <a:spcBef>
                <a:spcPts val="1350"/>
              </a:spcBef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2700" b="1" dirty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150</a:t>
            </a:r>
          </a:p>
          <a:p>
            <a:pPr defTabSz="592397">
              <a:lnSpc>
                <a:spcPts val="750"/>
              </a:lnSpc>
              <a:spcBef>
                <a:spcPts val="225"/>
              </a:spcBef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750" b="1" dirty="0">
                <a:solidFill>
                  <a:schemeClr val="bg1">
                    <a:lumMod val="95000"/>
                  </a:schemeClr>
                </a:solidFill>
                <a:latin typeface="DINPro-Black" panose="02000503030000020004" pitchFamily="50" charset="0"/>
                <a:cs typeface="Times New Roman" pitchFamily="18" charset="0"/>
              </a:rPr>
              <a:t>метров </a:t>
            </a: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  <a:t>может обслуживать до</a:t>
            </a: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Arial"/>
                <a:cs typeface="Times New Roman" pitchFamily="18" charset="0"/>
              </a:rPr>
              <a:t> </a:t>
            </a:r>
          </a:p>
          <a:p>
            <a:pPr defTabSz="592397">
              <a:lnSpc>
                <a:spcPts val="750"/>
              </a:lnSpc>
              <a:spcBef>
                <a:spcPts val="450"/>
              </a:spcBef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ru-RU" sz="1350" b="1" dirty="0" smtClean="0">
                <a:solidFill>
                  <a:srgbClr val="DE5307"/>
                </a:solidFill>
                <a:latin typeface="DINPro-Black" panose="02000503030000020004" pitchFamily="50" charset="0"/>
                <a:cs typeface="Times New Roman" pitchFamily="18" charset="0"/>
              </a:rPr>
              <a:t>36 </a:t>
            </a: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Black" panose="02000503030000020004" pitchFamily="50" charset="0"/>
                <a:cs typeface="Times New Roman" pitchFamily="18" charset="0"/>
              </a:rPr>
              <a:t>цистерн</a:t>
            </a:r>
            <a:r>
              <a:rPr lang="ru-RU" sz="750" b="1" dirty="0">
                <a:solidFill>
                  <a:schemeClr val="bg1">
                    <a:lumMod val="95000"/>
                  </a:schemeClr>
                </a:solidFill>
                <a:latin typeface="DINPro-Black" panose="02000503030000020004" pitchFamily="50" charset="0"/>
                <a:cs typeface="Times New Roman" pitchFamily="18" charset="0"/>
              </a:rPr>
              <a:t> </a:t>
            </a:r>
            <a:br>
              <a:rPr lang="ru-RU" sz="750" b="1" dirty="0">
                <a:solidFill>
                  <a:schemeClr val="bg1">
                    <a:lumMod val="95000"/>
                  </a:schemeClr>
                </a:solidFill>
                <a:latin typeface="DINPro-Black" panose="02000503030000020004" pitchFamily="50" charset="0"/>
                <a:cs typeface="Times New Roman" pitchFamily="18" charset="0"/>
              </a:rPr>
            </a:br>
            <a:r>
              <a:rPr lang="ru-RU" sz="750" dirty="0">
                <a:solidFill>
                  <a:schemeClr val="bg1">
                    <a:lumMod val="95000"/>
                  </a:schemeClr>
                </a:solidFill>
                <a:latin typeface="DINPro-Light" panose="02000504040000020003" pitchFamily="50" charset="0"/>
                <a:cs typeface="Times New Roman" pitchFamily="18" charset="0"/>
              </a:rPr>
              <a:t>в сутки</a:t>
            </a:r>
          </a:p>
        </p:txBody>
      </p:sp>
      <p:grpSp>
        <p:nvGrpSpPr>
          <p:cNvPr id="48" name="Группа 47"/>
          <p:cNvGrpSpPr/>
          <p:nvPr/>
        </p:nvGrpSpPr>
        <p:grpSpPr>
          <a:xfrm>
            <a:off x="251520" y="3543858"/>
            <a:ext cx="1843818" cy="1188132"/>
            <a:chOff x="335360" y="4040978"/>
            <a:chExt cx="2458424" cy="2855261"/>
          </a:xfrm>
        </p:grpSpPr>
        <p:cxnSp>
          <p:nvCxnSpPr>
            <p:cNvPr id="140" name="Прямая соединительная линия 139">
              <a:extLst>
                <a:ext uri="{FF2B5EF4-FFF2-40B4-BE49-F238E27FC236}">
                  <a16:creationId xmlns:a16="http://schemas.microsoft.com/office/drawing/2014/main" id="{115C8EB0-0DF6-46D9-AD67-B200E81707BB}"/>
                </a:ext>
              </a:extLst>
            </p:cNvPr>
            <p:cNvCxnSpPr/>
            <p:nvPr/>
          </p:nvCxnSpPr>
          <p:spPr>
            <a:xfrm>
              <a:off x="2793784" y="5134812"/>
              <a:ext cx="0" cy="1723188"/>
            </a:xfrm>
            <a:prstGeom prst="line">
              <a:avLst/>
            </a:prstGeom>
            <a:ln w="12700">
              <a:solidFill>
                <a:srgbClr val="DE5307"/>
              </a:solidFill>
              <a:prstDash val="dash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3" name="Прямая соединительная линия 142">
              <a:extLst>
                <a:ext uri="{FF2B5EF4-FFF2-40B4-BE49-F238E27FC236}">
                  <a16:creationId xmlns:a16="http://schemas.microsoft.com/office/drawing/2014/main" id="{115C8EB0-0DF6-46D9-AD67-B200E81707BB}"/>
                </a:ext>
              </a:extLst>
            </p:cNvPr>
            <p:cNvCxnSpPr/>
            <p:nvPr/>
          </p:nvCxnSpPr>
          <p:spPr>
            <a:xfrm>
              <a:off x="1603067" y="4560252"/>
              <a:ext cx="0" cy="2335987"/>
            </a:xfrm>
            <a:prstGeom prst="line">
              <a:avLst/>
            </a:prstGeom>
            <a:ln w="12700">
              <a:solidFill>
                <a:srgbClr val="DE5307"/>
              </a:solidFill>
              <a:prstDash val="dash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4" name="Прямая соединительная линия 143">
              <a:extLst>
                <a:ext uri="{FF2B5EF4-FFF2-40B4-BE49-F238E27FC236}">
                  <a16:creationId xmlns:a16="http://schemas.microsoft.com/office/drawing/2014/main" id="{115C8EB0-0DF6-46D9-AD67-B200E81707BB}"/>
                </a:ext>
              </a:extLst>
            </p:cNvPr>
            <p:cNvCxnSpPr/>
            <p:nvPr/>
          </p:nvCxnSpPr>
          <p:spPr>
            <a:xfrm>
              <a:off x="335360" y="4040978"/>
              <a:ext cx="0" cy="2817022"/>
            </a:xfrm>
            <a:prstGeom prst="line">
              <a:avLst/>
            </a:prstGeom>
            <a:ln w="12700">
              <a:solidFill>
                <a:srgbClr val="DE5307"/>
              </a:solidFill>
              <a:prstDash val="dash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id="{115C8EB0-0DF6-46D9-AD67-B200E81707BB}"/>
              </a:ext>
            </a:extLst>
          </p:cNvPr>
          <p:cNvCxnSpPr/>
          <p:nvPr/>
        </p:nvCxnSpPr>
        <p:spPr>
          <a:xfrm>
            <a:off x="4139952" y="942942"/>
            <a:ext cx="0" cy="1552585"/>
          </a:xfrm>
          <a:prstGeom prst="line">
            <a:avLst/>
          </a:prstGeom>
          <a:ln w="12700">
            <a:solidFill>
              <a:srgbClr val="DE5307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>
            <a:extLst>
              <a:ext uri="{FF2B5EF4-FFF2-40B4-BE49-F238E27FC236}">
                <a16:creationId xmlns:a16="http://schemas.microsoft.com/office/drawing/2014/main" id="{115C8EB0-0DF6-46D9-AD67-B200E81707BB}"/>
              </a:ext>
            </a:extLst>
          </p:cNvPr>
          <p:cNvCxnSpPr/>
          <p:nvPr/>
        </p:nvCxnSpPr>
        <p:spPr>
          <a:xfrm>
            <a:off x="3443630" y="942943"/>
            <a:ext cx="0" cy="1046945"/>
          </a:xfrm>
          <a:prstGeom prst="line">
            <a:avLst/>
          </a:prstGeom>
          <a:ln w="12700">
            <a:solidFill>
              <a:srgbClr val="DE5307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>
            <a:extLst>
              <a:ext uri="{FF2B5EF4-FFF2-40B4-BE49-F238E27FC236}">
                <a16:creationId xmlns:a16="http://schemas.microsoft.com/office/drawing/2014/main" id="{115C8EB0-0DF6-46D9-AD67-B200E81707BB}"/>
              </a:ext>
            </a:extLst>
          </p:cNvPr>
          <p:cNvCxnSpPr/>
          <p:nvPr/>
        </p:nvCxnSpPr>
        <p:spPr>
          <a:xfrm>
            <a:off x="2498107" y="942942"/>
            <a:ext cx="0" cy="494682"/>
          </a:xfrm>
          <a:prstGeom prst="line">
            <a:avLst/>
          </a:prstGeom>
          <a:ln w="12700">
            <a:solidFill>
              <a:srgbClr val="DE5307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4" y="213489"/>
            <a:ext cx="387638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3"/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ТЕРМИНАЛ </a:t>
            </a:r>
            <a:r>
              <a:rPr lang="ru-RU" sz="1600" b="1" dirty="0" smtClean="0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ГЛАДКОЕ. 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Основные показатели 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115C8EB0-0DF6-46D9-AD67-B200E81707BB}"/>
              </a:ext>
            </a:extLst>
          </p:cNvPr>
          <p:cNvCxnSpPr/>
          <p:nvPr/>
        </p:nvCxnSpPr>
        <p:spPr>
          <a:xfrm>
            <a:off x="7164288" y="951570"/>
            <a:ext cx="0" cy="3781720"/>
          </a:xfrm>
          <a:prstGeom prst="line">
            <a:avLst/>
          </a:prstGeom>
          <a:ln w="12700">
            <a:solidFill>
              <a:srgbClr val="DE5307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>
            <a:extLst>
              <a:ext uri="{FF2B5EF4-FFF2-40B4-BE49-F238E27FC236}">
                <a16:creationId xmlns:a16="http://schemas.microsoft.com/office/drawing/2014/main" id="{115C8EB0-0DF6-46D9-AD67-B200E81707BB}"/>
              </a:ext>
            </a:extLst>
          </p:cNvPr>
          <p:cNvCxnSpPr/>
          <p:nvPr/>
        </p:nvCxnSpPr>
        <p:spPr>
          <a:xfrm>
            <a:off x="5256076" y="951570"/>
            <a:ext cx="0" cy="3781720"/>
          </a:xfrm>
          <a:prstGeom prst="line">
            <a:avLst/>
          </a:prstGeom>
          <a:ln w="12700">
            <a:solidFill>
              <a:srgbClr val="DE5307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6" name="Прямоугольник 105"/>
          <p:cNvSpPr/>
          <p:nvPr/>
        </p:nvSpPr>
        <p:spPr>
          <a:xfrm>
            <a:off x="7189586" y="913982"/>
            <a:ext cx="1764196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/>
            <a:r>
              <a:rPr lang="ru-RU" sz="700" b="1" dirty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cs typeface="Times New Roman" pitchFamily="18" charset="0"/>
              </a:rPr>
              <a:t>ПЕРИМЕТР УЧЕТА НП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189586" y="1105678"/>
            <a:ext cx="18002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DE5307"/>
                </a:solidFill>
                <a:latin typeface="+mj-lt"/>
                <a:cs typeface="Times New Roman" pitchFamily="18" charset="0"/>
              </a:rPr>
              <a:t>Исключено влияние человеческого фактора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на результаты измерений и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их</a:t>
            </a:r>
            <a:r>
              <a:rPr lang="en-US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интерпретацию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;</a:t>
            </a:r>
          </a:p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Автоматическая интеграция ИС</a:t>
            </a:r>
            <a:r>
              <a:rPr lang="en-US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в 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учетные системы Компании;</a:t>
            </a:r>
          </a:p>
          <a:p>
            <a:r>
              <a:rPr lang="ru-RU" sz="700" dirty="0">
                <a:solidFill>
                  <a:srgbClr val="DE5307"/>
                </a:solidFill>
                <a:latin typeface="+mj-lt"/>
                <a:cs typeface="Times New Roman" pitchFamily="18" charset="0"/>
              </a:rPr>
              <a:t>Точность измерений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параметров НП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превосходит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Федеральные требования</a:t>
            </a:r>
          </a:p>
        </p:txBody>
      </p:sp>
      <p:sp>
        <p:nvSpPr>
          <p:cNvPr id="148" name="Прямоугольник 147"/>
          <p:cNvSpPr/>
          <p:nvPr/>
        </p:nvSpPr>
        <p:spPr>
          <a:xfrm>
            <a:off x="7189586" y="3759938"/>
            <a:ext cx="176419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/>
            <a:r>
              <a:rPr lang="ru-RU" sz="700" b="1" dirty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cs typeface="Times New Roman" pitchFamily="18" charset="0"/>
              </a:rPr>
              <a:t>ОХРАНА ОКРУЖАЮЩЕЙ СРЕДЫ И ПРОМЫШЛЕННАЯ БЕЗОПАСНОСТ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189586" y="4133527"/>
            <a:ext cx="17641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Снижение выбросов в атмосферу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паров углеводородов при наливе НП в АЦ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на 95-98%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за счет установки рекуперации паров;</a:t>
            </a:r>
          </a:p>
        </p:txBody>
      </p:sp>
      <p:sp>
        <p:nvSpPr>
          <p:cNvPr id="151" name="Прямоугольник 150"/>
          <p:cNvSpPr/>
          <p:nvPr/>
        </p:nvSpPr>
        <p:spPr>
          <a:xfrm>
            <a:off x="7189586" y="2247714"/>
            <a:ext cx="176419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/>
            <a:r>
              <a:rPr lang="ru-RU" sz="700" b="1" dirty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cs typeface="Times New Roman" pitchFamily="18" charset="0"/>
              </a:rPr>
              <a:t>АДМИНИСТРАТИВНО-БЫТОВОЙ КОРПУС</a:t>
            </a:r>
          </a:p>
        </p:txBody>
      </p:sp>
      <p:sp>
        <p:nvSpPr>
          <p:cNvPr id="167" name="Прямоугольник 166"/>
          <p:cNvSpPr/>
          <p:nvPr/>
        </p:nvSpPr>
        <p:spPr>
          <a:xfrm>
            <a:off x="7189586" y="2505112"/>
            <a:ext cx="176419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Система ПАЗ;</a:t>
            </a:r>
            <a:endParaRPr lang="ru-RU" sz="70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Система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управления автоматическим пожаротушением;</a:t>
            </a:r>
          </a:p>
          <a:p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Единое окно система </a:t>
            </a:r>
            <a:r>
              <a:rPr lang="en-US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MES;</a:t>
            </a:r>
          </a:p>
          <a:p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АСУ ТОИР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(предиктивная аналитика);</a:t>
            </a:r>
          </a:p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Автоматизированный контроль наличия СИЗ.</a:t>
            </a:r>
            <a:endParaRPr lang="ru-RU" sz="70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5256076" y="2128040"/>
            <a:ext cx="1750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/>
            <a:r>
              <a:rPr lang="ru-RU" sz="700" b="1" dirty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cs typeface="Times New Roman" pitchFamily="18" charset="0"/>
              </a:rPr>
              <a:t>АВТОМАТИЧЕСКАЯ СТАНЦИЯ НАЛИВА</a:t>
            </a:r>
          </a:p>
        </p:txBody>
      </p:sp>
      <p:sp>
        <p:nvSpPr>
          <p:cNvPr id="157" name="Прямоугольник 156"/>
          <p:cNvSpPr/>
          <p:nvPr/>
        </p:nvSpPr>
        <p:spPr>
          <a:xfrm>
            <a:off x="5256076" y="4089008"/>
            <a:ext cx="19183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/>
            <a:r>
              <a:rPr lang="ru-RU" sz="700" b="1" dirty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cs typeface="Times New Roman" pitchFamily="18" charset="0"/>
              </a:rPr>
              <a:t>ТЕХНОЛОГИЧЕСКАЯ НАСОСНАЯ СТАНЦИЯ</a:t>
            </a: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64D07669-D07E-46D0-86A3-3A2F9D58CA50}"/>
              </a:ext>
            </a:extLst>
          </p:cNvPr>
          <p:cNvSpPr/>
          <p:nvPr/>
        </p:nvSpPr>
        <p:spPr>
          <a:xfrm>
            <a:off x="5346625" y="1105678"/>
            <a:ext cx="1541443" cy="28591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92382" eaLnBrk="0" fontAlgn="base" hangingPunct="0">
              <a:spcBef>
                <a:spcPct val="0"/>
              </a:spcBef>
              <a:spcAft>
                <a:spcPct val="0"/>
              </a:spcAft>
              <a:tabLst>
                <a:tab pos="2373924" algn="r"/>
                <a:tab pos="2453054" algn="l"/>
                <a:tab pos="4747847" algn="r"/>
              </a:tabLst>
              <a:defRPr/>
            </a:pP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12 постов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  <a:cs typeface="Arial" panose="020B0604020202020204" pitchFamily="34" charset="0"/>
              </a:rPr>
              <a:t>автоматизированного слива НП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  <a:cs typeface="Arial" panose="020B0604020202020204" pitchFamily="34" charset="0"/>
              </a:rPr>
              <a:t>для </a:t>
            </a:r>
            <a:r>
              <a:rPr lang="ru-RU" sz="700" dirty="0" err="1">
                <a:solidFill>
                  <a:schemeClr val="bg1">
                    <a:lumMod val="95000"/>
                  </a:schemeClr>
                </a:solidFill>
                <a:latin typeface="+mj-lt"/>
                <a:cs typeface="Arial" panose="020B0604020202020204" pitchFamily="34" charset="0"/>
              </a:rPr>
              <a:t>повагонного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  <a:cs typeface="Arial" panose="020B0604020202020204" pitchFamily="34" charset="0"/>
              </a:rPr>
              <a:t> приёма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  <a:cs typeface="Arial" panose="020B0604020202020204" pitchFamily="34" charset="0"/>
              </a:rPr>
              <a:t>нефтепродуктов</a:t>
            </a:r>
          </a:p>
        </p:txBody>
      </p:sp>
      <p:sp>
        <p:nvSpPr>
          <p:cNvPr id="170" name="Прямоугольник 169"/>
          <p:cNvSpPr/>
          <p:nvPr/>
        </p:nvSpPr>
        <p:spPr>
          <a:xfrm>
            <a:off x="5256076" y="913982"/>
            <a:ext cx="1764196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/>
            <a:r>
              <a:rPr lang="ru-RU" sz="700" b="1" dirty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cs typeface="Times New Roman" pitchFamily="18" charset="0"/>
              </a:rPr>
              <a:t>Ж/Д ЭСТАКАДА</a:t>
            </a:r>
          </a:p>
        </p:txBody>
      </p:sp>
      <p:sp>
        <p:nvSpPr>
          <p:cNvPr id="171" name="Прямоугольник 170"/>
          <p:cNvSpPr/>
          <p:nvPr/>
        </p:nvSpPr>
        <p:spPr>
          <a:xfrm>
            <a:off x="5256076" y="1427897"/>
            <a:ext cx="2542742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/>
            <a:r>
              <a:rPr lang="ru-RU" sz="750" b="1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cs typeface="Times New Roman" pitchFamily="18" charset="0"/>
              </a:rPr>
              <a:t>РЕЗЕРВУАРНЫЙ ПАРК</a:t>
            </a:r>
            <a:endParaRPr lang="ru-RU" sz="750" b="1" dirty="0">
              <a:solidFill>
                <a:schemeClr val="bg1">
                  <a:lumMod val="95000"/>
                </a:schemeClr>
              </a:solidFill>
              <a:latin typeface="DINPro-Medium" panose="02000503030000020004" pitchFamily="2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256076" y="1567232"/>
            <a:ext cx="19802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92397" eaLnBrk="0" fontAlgn="base" hangingPunct="0">
              <a:tabLst>
                <a:tab pos="2373983" algn="r"/>
                <a:tab pos="2453115" algn="l"/>
                <a:tab pos="4747965" algn="r"/>
              </a:tabLst>
              <a:defRPr/>
            </a:pPr>
            <a:r>
              <a:rPr lang="en-US" sz="700" dirty="0">
                <a:solidFill>
                  <a:srgbClr val="DE5307"/>
                </a:solidFill>
                <a:latin typeface="+mj-lt"/>
                <a:cs typeface="Times New Roman" pitchFamily="18" charset="0"/>
              </a:rPr>
              <a:t>~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Times New Roman" pitchFamily="18" charset="0"/>
              </a:rPr>
              <a:t> 40 тыс. м</a:t>
            </a:r>
            <a:r>
              <a:rPr lang="ru-RU" sz="700" baseline="30000" dirty="0">
                <a:solidFill>
                  <a:srgbClr val="DE5307"/>
                </a:solidFill>
                <a:latin typeface="+mj-lt"/>
                <a:cs typeface="Times New Roman" pitchFamily="18" charset="0"/>
              </a:rPr>
              <a:t>3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Times New Roman" pitchFamily="18" charset="0"/>
              </a:rPr>
              <a:t> (13 шт. х </a:t>
            </a:r>
            <a:r>
              <a:rPr lang="ru-RU" sz="700" dirty="0" smtClean="0">
                <a:solidFill>
                  <a:srgbClr val="DE5307"/>
                </a:solidFill>
                <a:latin typeface="+mj-lt"/>
                <a:cs typeface="Times New Roman" pitchFamily="18" charset="0"/>
              </a:rPr>
              <a:t>3000 м</a:t>
            </a:r>
            <a:r>
              <a:rPr lang="ru-RU" sz="700" baseline="30000" dirty="0" smtClean="0">
                <a:solidFill>
                  <a:srgbClr val="DE5307"/>
                </a:solidFill>
                <a:latin typeface="+mj-lt"/>
                <a:cs typeface="Times New Roman" pitchFamily="18" charset="0"/>
              </a:rPr>
              <a:t>3</a:t>
            </a:r>
            <a:r>
              <a:rPr lang="ru-RU" sz="700" dirty="0" smtClean="0">
                <a:solidFill>
                  <a:srgbClr val="DE5307"/>
                </a:solidFill>
                <a:latin typeface="+mj-lt"/>
                <a:cs typeface="Times New Roman" pitchFamily="18" charset="0"/>
              </a:rPr>
              <a:t>, </a:t>
            </a:r>
            <a:br>
              <a:rPr lang="ru-RU" sz="700" dirty="0" smtClean="0">
                <a:solidFill>
                  <a:srgbClr val="DE5307"/>
                </a:solidFill>
                <a:latin typeface="+mj-lt"/>
                <a:cs typeface="Times New Roman" pitchFamily="18" charset="0"/>
              </a:rPr>
            </a:br>
            <a:r>
              <a:rPr lang="ru-RU" sz="700" dirty="0" smtClean="0">
                <a:solidFill>
                  <a:srgbClr val="DE5307"/>
                </a:solidFill>
                <a:latin typeface="+mj-lt"/>
                <a:cs typeface="Times New Roman" pitchFamily="18" charset="0"/>
              </a:rPr>
              <a:t>2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Times New Roman" pitchFamily="18" charset="0"/>
              </a:rPr>
              <a:t>шт. </a:t>
            </a:r>
            <a:r>
              <a:rPr lang="ru-RU" sz="700" dirty="0" smtClean="0">
                <a:solidFill>
                  <a:srgbClr val="DE5307"/>
                </a:solidFill>
                <a:latin typeface="+mj-lt"/>
                <a:cs typeface="Times New Roman" pitchFamily="18" charset="0"/>
              </a:rPr>
              <a:t>х 500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Times New Roman" pitchFamily="18" charset="0"/>
              </a:rPr>
              <a:t>м</a:t>
            </a:r>
            <a:r>
              <a:rPr lang="ru-RU" sz="700" baseline="30000" dirty="0">
                <a:solidFill>
                  <a:srgbClr val="DE5307"/>
                </a:solidFill>
                <a:latin typeface="+mj-lt"/>
                <a:cs typeface="Times New Roman" pitchFamily="18" charset="0"/>
              </a:rPr>
              <a:t>3</a:t>
            </a:r>
            <a:r>
              <a:rPr lang="ru-RU" sz="700" dirty="0" smtClean="0">
                <a:solidFill>
                  <a:srgbClr val="DE5307"/>
                </a:solidFill>
                <a:latin typeface="+mj-lt"/>
                <a:cs typeface="Times New Roman" pitchFamily="18" charset="0"/>
              </a:rPr>
              <a:t>)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  <a:cs typeface="Times New Roman" panose="02020603050405020304" pitchFamily="18" charset="0"/>
              </a:rPr>
              <a:t>единовременного хранения НП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  <a:cs typeface="Times New Roman" panose="02020603050405020304" pitchFamily="18" charset="0"/>
              </a:rPr>
              <a:t>с автоматизированной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  <a:cs typeface="Times New Roman" panose="02020603050405020304" pitchFamily="18" charset="0"/>
              </a:rPr>
              <a:t>системой </a:t>
            </a:r>
            <a:r>
              <a:rPr lang="ru-RU" sz="700" dirty="0" err="1">
                <a:solidFill>
                  <a:schemeClr val="bg1">
                    <a:lumMod val="95000"/>
                  </a:schemeClr>
                </a:solidFill>
                <a:latin typeface="+mj-lt"/>
                <a:cs typeface="Times New Roman" panose="02020603050405020304" pitchFamily="18" charset="0"/>
              </a:rPr>
              <a:t>подслойного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  <a:cs typeface="Times New Roman" panose="02020603050405020304" pitchFamily="18" charset="0"/>
              </a:rPr>
              <a:t>пожаротушения</a:t>
            </a:r>
          </a:p>
        </p:txBody>
      </p:sp>
      <p:sp>
        <p:nvSpPr>
          <p:cNvPr id="173" name="Прямоугольник 172"/>
          <p:cNvSpPr/>
          <p:nvPr/>
        </p:nvSpPr>
        <p:spPr>
          <a:xfrm>
            <a:off x="5256076" y="2366123"/>
            <a:ext cx="1970157" cy="173893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5 островков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обслуживают</a:t>
            </a:r>
            <a:r>
              <a:rPr lang="ru-RU" sz="700" dirty="0">
                <a:solidFill>
                  <a:srgbClr val="3B3838"/>
                </a:solidFill>
                <a:latin typeface="+mj-lt"/>
              </a:rPr>
              <a:t>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6 технологических проездов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для налива авто-цистерн (АЦ);</a:t>
            </a:r>
          </a:p>
          <a:p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4 проезда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для нижнего и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2 проезда</a:t>
            </a:r>
            <a:r>
              <a:rPr lang="ru-RU" sz="700" b="1" dirty="0">
                <a:solidFill>
                  <a:srgbClr val="0070C1"/>
                </a:solidFill>
                <a:latin typeface="+mj-lt"/>
              </a:rPr>
              <a:t>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для верхнего налива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;</a:t>
            </a:r>
          </a:p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Погрешность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измерения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/>
            </a:r>
            <a:b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</a:b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массы и объема НП</a:t>
            </a:r>
            <a:r>
              <a:rPr lang="ru-RU" sz="700" dirty="0">
                <a:latin typeface="+mj-lt"/>
              </a:rPr>
              <a:t>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-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0,25%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;</a:t>
            </a:r>
          </a:p>
          <a:p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ср. плотности -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0,5 кг/м</a:t>
            </a:r>
            <a:r>
              <a:rPr lang="ru-RU" sz="700" baseline="300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3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; </a:t>
            </a:r>
            <a:b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</a:b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ср. температуры -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0,5 °С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;</a:t>
            </a:r>
          </a:p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Изготовление </a:t>
            </a:r>
            <a:r>
              <a:rPr lang="ru-RU" sz="700" dirty="0" err="1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брендированных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 сортов топлив линейки Газпром нефть и Шелл</a:t>
            </a:r>
          </a:p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Отпуск 5-ти базовых и 6-ти </a:t>
            </a:r>
            <a:r>
              <a:rPr lang="ru-RU" sz="700" dirty="0" err="1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брендированных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 НП</a:t>
            </a:r>
            <a:endParaRPr lang="ru-RU" sz="70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  <a:p>
            <a:r>
              <a:rPr lang="en-US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&gt;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70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параметров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ИС передаются в АСУТП онлайн</a:t>
            </a:r>
            <a:endParaRPr lang="ru-RU" sz="70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174" name="Прямоугольник 173"/>
          <p:cNvSpPr/>
          <p:nvPr/>
        </p:nvSpPr>
        <p:spPr>
          <a:xfrm>
            <a:off x="5256076" y="4380735"/>
            <a:ext cx="1989140" cy="4154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Макс.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производительность насосных агрегатов внутрибазовых перекачек -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до 700 м</a:t>
            </a:r>
            <a:r>
              <a:rPr lang="ru-RU" sz="700" baseline="300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3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/час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, на отпуске - 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до 350 м</a:t>
            </a:r>
            <a:r>
              <a:rPr lang="ru-RU" sz="700" baseline="300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3</a:t>
            </a:r>
            <a:r>
              <a:rPr lang="ru-RU" sz="700" dirty="0">
                <a:solidFill>
                  <a:srgbClr val="DE5307"/>
                </a:solidFill>
                <a:latin typeface="+mj-lt"/>
                <a:cs typeface="Arial" panose="020B0604020202020204" pitchFamily="34" charset="0"/>
              </a:rPr>
              <a:t>/час.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chemeClr val="tx1"/>
              </a:solidFill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249A5FEA-6247-C14D-9BB2-1C3F1C7B7F0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0" r="100000">
                        <a14:foregroundMark x1="5570" y1="65169" x2="5570" y2="65169"/>
                        <a14:foregroundMark x1="24138" y1="49438" x2="24138" y2="49438"/>
                        <a14:foregroundMark x1="22016" y1="19101" x2="22016" y2="19101"/>
                        <a14:foregroundMark x1="32626" y1="19101" x2="32626" y2="19101"/>
                        <a14:foregroundMark x1="30239" y1="53933" x2="30239" y2="53933"/>
                        <a14:foregroundMark x1="36605" y1="76404" x2="36605" y2="76404"/>
                        <a14:foregroundMark x1="35544" y1="28090" x2="35544" y2="28090"/>
                        <a14:foregroundMark x1="45889" y1="74157" x2="45889" y2="74157"/>
                        <a14:foregroundMark x1="46419" y1="24719" x2="46419" y2="24719"/>
                        <a14:foregroundMark x1="58090" y1="46067" x2="58090" y2="46067"/>
                        <a14:foregroundMark x1="82228" y1="48315" x2="82228" y2="48315"/>
                        <a14:foregroundMark x1="36605" y1="34831" x2="36605" y2="34831"/>
                        <a14:foregroundMark x1="47480" y1="37079" x2="47480" y2="37079"/>
                        <a14:foregroundMark x1="40318" y1="20225" x2="40318" y2="20225"/>
                        <a14:foregroundMark x1="40053" y1="31461" x2="40053" y2="31461"/>
                        <a14:foregroundMark x1="92308" y1="56180" x2="92308" y2="56180"/>
                      </a14:backgroundRemoval>
                    </a14:imgEffect>
                    <a14:imgEffect>
                      <a14:brightnessContrast bright="4000" contrast="-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105676"/>
            <a:ext cx="1568715" cy="369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774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" name="Прямоугольник 640"/>
          <p:cNvSpPr/>
          <p:nvPr/>
        </p:nvSpPr>
        <p:spPr>
          <a:xfrm>
            <a:off x="278926" y="1980465"/>
            <a:ext cx="8466594" cy="1134392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658" name="Прямоугольник 657"/>
          <p:cNvSpPr/>
          <p:nvPr/>
        </p:nvSpPr>
        <p:spPr>
          <a:xfrm>
            <a:off x="1979712" y="2374486"/>
            <a:ext cx="1545071" cy="472535"/>
          </a:xfrm>
          <a:prstGeom prst="rect">
            <a:avLst/>
          </a:prstGeom>
          <a:solidFill>
            <a:schemeClr val="bg1">
              <a:lumMod val="65000"/>
              <a:alpha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Предел погрешности: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Масса –</a:t>
            </a:r>
            <a:r>
              <a:rPr lang="en-US" sz="6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0,25%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Объем – 0,25%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Плотность ср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– 0,5 кг/м</a:t>
            </a:r>
            <a:r>
              <a:rPr lang="ru-RU" sz="600" baseline="30000" dirty="0">
                <a:solidFill>
                  <a:schemeClr val="bg1">
                    <a:lumMod val="95000"/>
                  </a:schemeClr>
                </a:solidFill>
              </a:rPr>
              <a:t>3</a:t>
            </a:r>
            <a:endParaRPr lang="ru-RU" sz="600" dirty="0">
              <a:solidFill>
                <a:schemeClr val="bg1">
                  <a:lumMod val="95000"/>
                </a:schemeClr>
              </a:solidFill>
            </a:endParaRP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Температура </a:t>
            </a: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ср –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0,5 </a:t>
            </a: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С </a:t>
            </a:r>
            <a:endParaRPr lang="ru-RU" sz="600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109" name="Прямая соединительная линия 108"/>
          <p:cNvCxnSpPr/>
          <p:nvPr/>
        </p:nvCxnSpPr>
        <p:spPr>
          <a:xfrm>
            <a:off x="2650292" y="1835219"/>
            <a:ext cx="0" cy="20531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>
            <a:off x="4411388" y="1839569"/>
            <a:ext cx="0" cy="2057609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>
            <a:off x="6086990" y="1826828"/>
            <a:ext cx="0" cy="2053132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801863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4" y="76242"/>
            <a:ext cx="87598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/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Целевая 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модель оснащения нефтебаз АО «</a:t>
            </a:r>
            <a:r>
              <a:rPr lang="ru-RU" sz="1600" b="1" dirty="0" err="1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Газпромнефть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-Терминал</a:t>
            </a:r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»</a:t>
            </a:r>
          </a:p>
          <a:p>
            <a:pPr defTabSz="914363"/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в 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рамках Программы внедрения системы </a:t>
            </a:r>
            <a:r>
              <a:rPr lang="ru-RU" sz="1600" b="1" dirty="0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«</a:t>
            </a:r>
            <a:r>
              <a:rPr lang="ru-RU" sz="1600" b="1" dirty="0" err="1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Нефтеконтроль</a:t>
            </a:r>
            <a:r>
              <a:rPr lang="ru-RU" sz="1600" b="1" dirty="0" smtClean="0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»</a:t>
            </a:r>
            <a:endParaRPr lang="ru-RU" sz="1600" b="1" dirty="0">
              <a:solidFill>
                <a:srgbClr val="DE5307"/>
              </a:solidFill>
              <a:latin typeface="DIN Pro" panose="020B0504020101010102" pitchFamily="34" charset="0"/>
              <a:cs typeface="DIN Pro" panose="020B0504020101010102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1307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chemeClr val="tx1"/>
              </a:solidFill>
            </a:endParaRPr>
          </a:p>
        </p:txBody>
      </p:sp>
      <p:sp>
        <p:nvSpPr>
          <p:cNvPr id="232" name="Прямоугольник 231"/>
          <p:cNvSpPr/>
          <p:nvPr/>
        </p:nvSpPr>
        <p:spPr>
          <a:xfrm>
            <a:off x="782390" y="2645975"/>
            <a:ext cx="981298" cy="24835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Учетные операции </a:t>
            </a:r>
          </a:p>
          <a:p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без участия человека</a:t>
            </a:r>
          </a:p>
        </p:txBody>
      </p:sp>
      <p:sp>
        <p:nvSpPr>
          <p:cNvPr id="270" name="Прямоугольник 269"/>
          <p:cNvSpPr/>
          <p:nvPr/>
        </p:nvSpPr>
        <p:spPr>
          <a:xfrm>
            <a:off x="782390" y="3791273"/>
            <a:ext cx="935014" cy="24835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50"/>
              </a:spcBef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Учетные операции с участием человека</a:t>
            </a:r>
          </a:p>
        </p:txBody>
      </p:sp>
      <p:grpSp>
        <p:nvGrpSpPr>
          <p:cNvPr id="271" name="sur_2_z"/>
          <p:cNvGrpSpPr>
            <a:grpSpLocks noChangeAspect="1"/>
          </p:cNvGrpSpPr>
          <p:nvPr/>
        </p:nvGrpSpPr>
        <p:grpSpPr>
          <a:xfrm>
            <a:off x="649496" y="3793112"/>
            <a:ext cx="98820" cy="219140"/>
            <a:chOff x="3252788" y="5476875"/>
            <a:chExt cx="304800" cy="695325"/>
          </a:xfrm>
        </p:grpSpPr>
        <p:sp>
          <p:nvSpPr>
            <p:cNvPr id="272" name="Freeform 262"/>
            <p:cNvSpPr>
              <a:spLocks/>
            </p:cNvSpPr>
            <p:nvPr/>
          </p:nvSpPr>
          <p:spPr bwMode="auto">
            <a:xfrm>
              <a:off x="3257550" y="5632450"/>
              <a:ext cx="293688" cy="190500"/>
            </a:xfrm>
            <a:custGeom>
              <a:avLst/>
              <a:gdLst>
                <a:gd name="T0" fmla="*/ 624 w 741"/>
                <a:gd name="T1" fmla="*/ 70 h 479"/>
                <a:gd name="T2" fmla="*/ 624 w 741"/>
                <a:gd name="T3" fmla="*/ 70 h 479"/>
                <a:gd name="T4" fmla="*/ 613 w 741"/>
                <a:gd name="T5" fmla="*/ 60 h 479"/>
                <a:gd name="T6" fmla="*/ 601 w 741"/>
                <a:gd name="T7" fmla="*/ 51 h 479"/>
                <a:gd name="T8" fmla="*/ 588 w 741"/>
                <a:gd name="T9" fmla="*/ 43 h 479"/>
                <a:gd name="T10" fmla="*/ 573 w 741"/>
                <a:gd name="T11" fmla="*/ 36 h 479"/>
                <a:gd name="T12" fmla="*/ 558 w 741"/>
                <a:gd name="T13" fmla="*/ 29 h 479"/>
                <a:gd name="T14" fmla="*/ 544 w 741"/>
                <a:gd name="T15" fmla="*/ 24 h 479"/>
                <a:gd name="T16" fmla="*/ 529 w 741"/>
                <a:gd name="T17" fmla="*/ 19 h 479"/>
                <a:gd name="T18" fmla="*/ 515 w 741"/>
                <a:gd name="T19" fmla="*/ 14 h 479"/>
                <a:gd name="T20" fmla="*/ 468 w 741"/>
                <a:gd name="T21" fmla="*/ 3 h 479"/>
                <a:gd name="T22" fmla="*/ 447 w 741"/>
                <a:gd name="T23" fmla="*/ 0 h 479"/>
                <a:gd name="T24" fmla="*/ 370 w 741"/>
                <a:gd name="T25" fmla="*/ 95 h 479"/>
                <a:gd name="T26" fmla="*/ 287 w 741"/>
                <a:gd name="T27" fmla="*/ 0 h 479"/>
                <a:gd name="T28" fmla="*/ 267 w 741"/>
                <a:gd name="T29" fmla="*/ 4 h 479"/>
                <a:gd name="T30" fmla="*/ 219 w 741"/>
                <a:gd name="T31" fmla="*/ 16 h 479"/>
                <a:gd name="T32" fmla="*/ 205 w 741"/>
                <a:gd name="T33" fmla="*/ 20 h 479"/>
                <a:gd name="T34" fmla="*/ 191 w 741"/>
                <a:gd name="T35" fmla="*/ 25 h 479"/>
                <a:gd name="T36" fmla="*/ 177 w 741"/>
                <a:gd name="T37" fmla="*/ 31 h 479"/>
                <a:gd name="T38" fmla="*/ 163 w 741"/>
                <a:gd name="T39" fmla="*/ 37 h 479"/>
                <a:gd name="T40" fmla="*/ 149 w 741"/>
                <a:gd name="T41" fmla="*/ 44 h 479"/>
                <a:gd name="T42" fmla="*/ 137 w 741"/>
                <a:gd name="T43" fmla="*/ 52 h 479"/>
                <a:gd name="T44" fmla="*/ 126 w 741"/>
                <a:gd name="T45" fmla="*/ 60 h 479"/>
                <a:gd name="T46" fmla="*/ 116 w 741"/>
                <a:gd name="T47" fmla="*/ 70 h 479"/>
                <a:gd name="T48" fmla="*/ 112 w 741"/>
                <a:gd name="T49" fmla="*/ 76 h 479"/>
                <a:gd name="T50" fmla="*/ 103 w 741"/>
                <a:gd name="T51" fmla="*/ 95 h 479"/>
                <a:gd name="T52" fmla="*/ 88 w 741"/>
                <a:gd name="T53" fmla="*/ 123 h 479"/>
                <a:gd name="T54" fmla="*/ 69 w 741"/>
                <a:gd name="T55" fmla="*/ 162 h 479"/>
                <a:gd name="T56" fmla="*/ 60 w 741"/>
                <a:gd name="T57" fmla="*/ 185 h 479"/>
                <a:gd name="T58" fmla="*/ 50 w 741"/>
                <a:gd name="T59" fmla="*/ 210 h 479"/>
                <a:gd name="T60" fmla="*/ 40 w 741"/>
                <a:gd name="T61" fmla="*/ 238 h 479"/>
                <a:gd name="T62" fmla="*/ 31 w 741"/>
                <a:gd name="T63" fmla="*/ 266 h 479"/>
                <a:gd name="T64" fmla="*/ 22 w 741"/>
                <a:gd name="T65" fmla="*/ 298 h 479"/>
                <a:gd name="T66" fmla="*/ 13 w 741"/>
                <a:gd name="T67" fmla="*/ 331 h 479"/>
                <a:gd name="T68" fmla="*/ 6 w 741"/>
                <a:gd name="T69" fmla="*/ 365 h 479"/>
                <a:gd name="T70" fmla="*/ 0 w 741"/>
                <a:gd name="T71" fmla="*/ 401 h 479"/>
                <a:gd name="T72" fmla="*/ 189 w 741"/>
                <a:gd name="T73" fmla="*/ 401 h 479"/>
                <a:gd name="T74" fmla="*/ 189 w 741"/>
                <a:gd name="T75" fmla="*/ 479 h 479"/>
                <a:gd name="T76" fmla="*/ 548 w 741"/>
                <a:gd name="T77" fmla="*/ 479 h 479"/>
                <a:gd name="T78" fmla="*/ 548 w 741"/>
                <a:gd name="T79" fmla="*/ 401 h 479"/>
                <a:gd name="T80" fmla="*/ 741 w 741"/>
                <a:gd name="T81" fmla="*/ 401 h 479"/>
                <a:gd name="T82" fmla="*/ 735 w 741"/>
                <a:gd name="T83" fmla="*/ 365 h 479"/>
                <a:gd name="T84" fmla="*/ 727 w 741"/>
                <a:gd name="T85" fmla="*/ 331 h 479"/>
                <a:gd name="T86" fmla="*/ 719 w 741"/>
                <a:gd name="T87" fmla="*/ 298 h 479"/>
                <a:gd name="T88" fmla="*/ 709 w 741"/>
                <a:gd name="T89" fmla="*/ 266 h 479"/>
                <a:gd name="T90" fmla="*/ 700 w 741"/>
                <a:gd name="T91" fmla="*/ 238 h 479"/>
                <a:gd name="T92" fmla="*/ 691 w 741"/>
                <a:gd name="T93" fmla="*/ 210 h 479"/>
                <a:gd name="T94" fmla="*/ 681 w 741"/>
                <a:gd name="T95" fmla="*/ 185 h 479"/>
                <a:gd name="T96" fmla="*/ 671 w 741"/>
                <a:gd name="T97" fmla="*/ 162 h 479"/>
                <a:gd name="T98" fmla="*/ 653 w 741"/>
                <a:gd name="T99" fmla="*/ 123 h 479"/>
                <a:gd name="T100" fmla="*/ 638 w 741"/>
                <a:gd name="T101" fmla="*/ 95 h 479"/>
                <a:gd name="T102" fmla="*/ 628 w 741"/>
                <a:gd name="T103" fmla="*/ 76 h 479"/>
                <a:gd name="T104" fmla="*/ 624 w 741"/>
                <a:gd name="T105" fmla="*/ 7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1" h="479">
                  <a:moveTo>
                    <a:pt x="624" y="70"/>
                  </a:moveTo>
                  <a:lnTo>
                    <a:pt x="624" y="70"/>
                  </a:lnTo>
                  <a:lnTo>
                    <a:pt x="613" y="60"/>
                  </a:lnTo>
                  <a:lnTo>
                    <a:pt x="601" y="51"/>
                  </a:lnTo>
                  <a:lnTo>
                    <a:pt x="588" y="43"/>
                  </a:lnTo>
                  <a:lnTo>
                    <a:pt x="573" y="36"/>
                  </a:lnTo>
                  <a:lnTo>
                    <a:pt x="558" y="29"/>
                  </a:lnTo>
                  <a:lnTo>
                    <a:pt x="544" y="24"/>
                  </a:lnTo>
                  <a:lnTo>
                    <a:pt x="529" y="19"/>
                  </a:lnTo>
                  <a:lnTo>
                    <a:pt x="515" y="14"/>
                  </a:lnTo>
                  <a:lnTo>
                    <a:pt x="468" y="3"/>
                  </a:lnTo>
                  <a:lnTo>
                    <a:pt x="447" y="0"/>
                  </a:lnTo>
                  <a:lnTo>
                    <a:pt x="370" y="95"/>
                  </a:lnTo>
                  <a:lnTo>
                    <a:pt x="287" y="0"/>
                  </a:lnTo>
                  <a:lnTo>
                    <a:pt x="267" y="4"/>
                  </a:lnTo>
                  <a:lnTo>
                    <a:pt x="219" y="16"/>
                  </a:lnTo>
                  <a:lnTo>
                    <a:pt x="205" y="20"/>
                  </a:lnTo>
                  <a:lnTo>
                    <a:pt x="191" y="25"/>
                  </a:lnTo>
                  <a:lnTo>
                    <a:pt x="177" y="31"/>
                  </a:lnTo>
                  <a:lnTo>
                    <a:pt x="163" y="37"/>
                  </a:lnTo>
                  <a:lnTo>
                    <a:pt x="149" y="44"/>
                  </a:lnTo>
                  <a:lnTo>
                    <a:pt x="137" y="52"/>
                  </a:lnTo>
                  <a:lnTo>
                    <a:pt x="126" y="60"/>
                  </a:lnTo>
                  <a:lnTo>
                    <a:pt x="116" y="70"/>
                  </a:lnTo>
                  <a:lnTo>
                    <a:pt x="112" y="76"/>
                  </a:lnTo>
                  <a:lnTo>
                    <a:pt x="103" y="95"/>
                  </a:lnTo>
                  <a:lnTo>
                    <a:pt x="88" y="123"/>
                  </a:lnTo>
                  <a:lnTo>
                    <a:pt x="69" y="162"/>
                  </a:lnTo>
                  <a:lnTo>
                    <a:pt x="60" y="185"/>
                  </a:lnTo>
                  <a:lnTo>
                    <a:pt x="50" y="210"/>
                  </a:lnTo>
                  <a:lnTo>
                    <a:pt x="40" y="238"/>
                  </a:lnTo>
                  <a:lnTo>
                    <a:pt x="31" y="266"/>
                  </a:lnTo>
                  <a:lnTo>
                    <a:pt x="22" y="298"/>
                  </a:lnTo>
                  <a:lnTo>
                    <a:pt x="13" y="331"/>
                  </a:lnTo>
                  <a:lnTo>
                    <a:pt x="6" y="365"/>
                  </a:lnTo>
                  <a:lnTo>
                    <a:pt x="0" y="401"/>
                  </a:lnTo>
                  <a:lnTo>
                    <a:pt x="189" y="401"/>
                  </a:lnTo>
                  <a:lnTo>
                    <a:pt x="189" y="479"/>
                  </a:lnTo>
                  <a:lnTo>
                    <a:pt x="548" y="479"/>
                  </a:lnTo>
                  <a:lnTo>
                    <a:pt x="548" y="401"/>
                  </a:lnTo>
                  <a:lnTo>
                    <a:pt x="741" y="401"/>
                  </a:lnTo>
                  <a:lnTo>
                    <a:pt x="735" y="365"/>
                  </a:lnTo>
                  <a:lnTo>
                    <a:pt x="727" y="331"/>
                  </a:lnTo>
                  <a:lnTo>
                    <a:pt x="719" y="298"/>
                  </a:lnTo>
                  <a:lnTo>
                    <a:pt x="709" y="266"/>
                  </a:lnTo>
                  <a:lnTo>
                    <a:pt x="700" y="238"/>
                  </a:lnTo>
                  <a:lnTo>
                    <a:pt x="691" y="210"/>
                  </a:lnTo>
                  <a:lnTo>
                    <a:pt x="681" y="185"/>
                  </a:lnTo>
                  <a:lnTo>
                    <a:pt x="671" y="162"/>
                  </a:lnTo>
                  <a:lnTo>
                    <a:pt x="653" y="123"/>
                  </a:lnTo>
                  <a:lnTo>
                    <a:pt x="638" y="95"/>
                  </a:lnTo>
                  <a:lnTo>
                    <a:pt x="628" y="76"/>
                  </a:lnTo>
                  <a:lnTo>
                    <a:pt x="624" y="7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73" name="Freeform 263"/>
            <p:cNvSpPr>
              <a:spLocks/>
            </p:cNvSpPr>
            <p:nvPr/>
          </p:nvSpPr>
          <p:spPr bwMode="auto">
            <a:xfrm>
              <a:off x="3351213" y="5546725"/>
              <a:ext cx="101600" cy="84138"/>
            </a:xfrm>
            <a:custGeom>
              <a:avLst/>
              <a:gdLst>
                <a:gd name="T0" fmla="*/ 109 w 255"/>
                <a:gd name="T1" fmla="*/ 207 h 209"/>
                <a:gd name="T2" fmla="*/ 82 w 255"/>
                <a:gd name="T3" fmla="*/ 196 h 209"/>
                <a:gd name="T4" fmla="*/ 62 w 255"/>
                <a:gd name="T5" fmla="*/ 179 h 209"/>
                <a:gd name="T6" fmla="*/ 36 w 255"/>
                <a:gd name="T7" fmla="*/ 138 h 209"/>
                <a:gd name="T8" fmla="*/ 14 w 255"/>
                <a:gd name="T9" fmla="*/ 106 h 209"/>
                <a:gd name="T10" fmla="*/ 1 w 255"/>
                <a:gd name="T11" fmla="*/ 86 h 209"/>
                <a:gd name="T12" fmla="*/ 3 w 255"/>
                <a:gd name="T13" fmla="*/ 66 h 209"/>
                <a:gd name="T14" fmla="*/ 6 w 255"/>
                <a:gd name="T15" fmla="*/ 48 h 209"/>
                <a:gd name="T16" fmla="*/ 4 w 255"/>
                <a:gd name="T17" fmla="*/ 11 h 209"/>
                <a:gd name="T18" fmla="*/ 11 w 255"/>
                <a:gd name="T19" fmla="*/ 0 h 209"/>
                <a:gd name="T20" fmla="*/ 21 w 255"/>
                <a:gd name="T21" fmla="*/ 0 h 209"/>
                <a:gd name="T22" fmla="*/ 28 w 255"/>
                <a:gd name="T23" fmla="*/ 11 h 209"/>
                <a:gd name="T24" fmla="*/ 32 w 255"/>
                <a:gd name="T25" fmla="*/ 54 h 209"/>
                <a:gd name="T26" fmla="*/ 32 w 255"/>
                <a:gd name="T27" fmla="*/ 65 h 209"/>
                <a:gd name="T28" fmla="*/ 25 w 255"/>
                <a:gd name="T29" fmla="*/ 72 h 209"/>
                <a:gd name="T30" fmla="*/ 27 w 255"/>
                <a:gd name="T31" fmla="*/ 86 h 209"/>
                <a:gd name="T32" fmla="*/ 42 w 255"/>
                <a:gd name="T33" fmla="*/ 103 h 209"/>
                <a:gd name="T34" fmla="*/ 53 w 255"/>
                <a:gd name="T35" fmla="*/ 116 h 209"/>
                <a:gd name="T36" fmla="*/ 63 w 255"/>
                <a:gd name="T37" fmla="*/ 138 h 209"/>
                <a:gd name="T38" fmla="*/ 80 w 255"/>
                <a:gd name="T39" fmla="*/ 163 h 209"/>
                <a:gd name="T40" fmla="*/ 101 w 255"/>
                <a:gd name="T41" fmla="*/ 177 h 209"/>
                <a:gd name="T42" fmla="*/ 130 w 255"/>
                <a:gd name="T43" fmla="*/ 184 h 209"/>
                <a:gd name="T44" fmla="*/ 158 w 255"/>
                <a:gd name="T45" fmla="*/ 177 h 209"/>
                <a:gd name="T46" fmla="*/ 178 w 255"/>
                <a:gd name="T47" fmla="*/ 163 h 209"/>
                <a:gd name="T48" fmla="*/ 195 w 255"/>
                <a:gd name="T49" fmla="*/ 138 h 209"/>
                <a:gd name="T50" fmla="*/ 202 w 255"/>
                <a:gd name="T51" fmla="*/ 116 h 209"/>
                <a:gd name="T52" fmla="*/ 215 w 255"/>
                <a:gd name="T53" fmla="*/ 103 h 209"/>
                <a:gd name="T54" fmla="*/ 228 w 255"/>
                <a:gd name="T55" fmla="*/ 86 h 209"/>
                <a:gd name="T56" fmla="*/ 231 w 255"/>
                <a:gd name="T57" fmla="*/ 72 h 209"/>
                <a:gd name="T58" fmla="*/ 224 w 255"/>
                <a:gd name="T59" fmla="*/ 65 h 209"/>
                <a:gd name="T60" fmla="*/ 224 w 255"/>
                <a:gd name="T61" fmla="*/ 55 h 209"/>
                <a:gd name="T62" fmla="*/ 228 w 255"/>
                <a:gd name="T63" fmla="*/ 13 h 209"/>
                <a:gd name="T64" fmla="*/ 235 w 255"/>
                <a:gd name="T65" fmla="*/ 2 h 209"/>
                <a:gd name="T66" fmla="*/ 249 w 255"/>
                <a:gd name="T67" fmla="*/ 5 h 209"/>
                <a:gd name="T68" fmla="*/ 251 w 255"/>
                <a:gd name="T69" fmla="*/ 26 h 209"/>
                <a:gd name="T70" fmla="*/ 248 w 255"/>
                <a:gd name="T71" fmla="*/ 56 h 209"/>
                <a:gd name="T72" fmla="*/ 255 w 255"/>
                <a:gd name="T73" fmla="*/ 72 h 209"/>
                <a:gd name="T74" fmla="*/ 251 w 255"/>
                <a:gd name="T75" fmla="*/ 93 h 209"/>
                <a:gd name="T76" fmla="*/ 233 w 255"/>
                <a:gd name="T77" fmla="*/ 119 h 209"/>
                <a:gd name="T78" fmla="*/ 216 w 255"/>
                <a:gd name="T79" fmla="*/ 152 h 209"/>
                <a:gd name="T80" fmla="*/ 191 w 255"/>
                <a:gd name="T81" fmla="*/ 185 h 209"/>
                <a:gd name="T82" fmla="*/ 169 w 255"/>
                <a:gd name="T83" fmla="*/ 201 h 209"/>
                <a:gd name="T84" fmla="*/ 141 w 255"/>
                <a:gd name="T85" fmla="*/ 20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5" h="209">
                  <a:moveTo>
                    <a:pt x="130" y="209"/>
                  </a:moveTo>
                  <a:lnTo>
                    <a:pt x="119" y="208"/>
                  </a:lnTo>
                  <a:lnTo>
                    <a:pt x="109" y="207"/>
                  </a:lnTo>
                  <a:lnTo>
                    <a:pt x="99" y="203"/>
                  </a:lnTo>
                  <a:lnTo>
                    <a:pt x="91" y="201"/>
                  </a:lnTo>
                  <a:lnTo>
                    <a:pt x="82" y="196"/>
                  </a:lnTo>
                  <a:lnTo>
                    <a:pt x="75" y="191"/>
                  </a:lnTo>
                  <a:lnTo>
                    <a:pt x="68" y="185"/>
                  </a:lnTo>
                  <a:lnTo>
                    <a:pt x="62" y="179"/>
                  </a:lnTo>
                  <a:lnTo>
                    <a:pt x="50" y="165"/>
                  </a:lnTo>
                  <a:lnTo>
                    <a:pt x="42" y="152"/>
                  </a:lnTo>
                  <a:lnTo>
                    <a:pt x="36" y="138"/>
                  </a:lnTo>
                  <a:lnTo>
                    <a:pt x="31" y="126"/>
                  </a:lnTo>
                  <a:lnTo>
                    <a:pt x="24" y="119"/>
                  </a:lnTo>
                  <a:lnTo>
                    <a:pt x="14" y="106"/>
                  </a:lnTo>
                  <a:lnTo>
                    <a:pt x="9" y="100"/>
                  </a:lnTo>
                  <a:lnTo>
                    <a:pt x="5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3" y="66"/>
                  </a:lnTo>
                  <a:lnTo>
                    <a:pt x="5" y="61"/>
                  </a:lnTo>
                  <a:lnTo>
                    <a:pt x="8" y="56"/>
                  </a:lnTo>
                  <a:lnTo>
                    <a:pt x="6" y="48"/>
                  </a:lnTo>
                  <a:lnTo>
                    <a:pt x="5" y="38"/>
                  </a:lnTo>
                  <a:lnTo>
                    <a:pt x="4" y="26"/>
                  </a:lnTo>
                  <a:lnTo>
                    <a:pt x="4" y="11"/>
                  </a:lnTo>
                  <a:lnTo>
                    <a:pt x="5" y="6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5" y="2"/>
                  </a:lnTo>
                  <a:lnTo>
                    <a:pt x="27" y="6"/>
                  </a:lnTo>
                  <a:lnTo>
                    <a:pt x="28" y="11"/>
                  </a:lnTo>
                  <a:lnTo>
                    <a:pt x="28" y="28"/>
                  </a:lnTo>
                  <a:lnTo>
                    <a:pt x="31" y="44"/>
                  </a:lnTo>
                  <a:lnTo>
                    <a:pt x="32" y="54"/>
                  </a:lnTo>
                  <a:lnTo>
                    <a:pt x="32" y="57"/>
                  </a:lnTo>
                  <a:lnTo>
                    <a:pt x="32" y="61"/>
                  </a:lnTo>
                  <a:lnTo>
                    <a:pt x="32" y="65"/>
                  </a:lnTo>
                  <a:lnTo>
                    <a:pt x="31" y="67"/>
                  </a:lnTo>
                  <a:lnTo>
                    <a:pt x="28" y="70"/>
                  </a:lnTo>
                  <a:lnTo>
                    <a:pt x="25" y="72"/>
                  </a:lnTo>
                  <a:lnTo>
                    <a:pt x="25" y="76"/>
                  </a:lnTo>
                  <a:lnTo>
                    <a:pt x="26" y="81"/>
                  </a:lnTo>
                  <a:lnTo>
                    <a:pt x="27" y="86"/>
                  </a:lnTo>
                  <a:lnTo>
                    <a:pt x="31" y="89"/>
                  </a:lnTo>
                  <a:lnTo>
                    <a:pt x="35" y="94"/>
                  </a:lnTo>
                  <a:lnTo>
                    <a:pt x="42" y="103"/>
                  </a:lnTo>
                  <a:lnTo>
                    <a:pt x="49" y="110"/>
                  </a:lnTo>
                  <a:lnTo>
                    <a:pt x="52" y="112"/>
                  </a:lnTo>
                  <a:lnTo>
                    <a:pt x="53" y="116"/>
                  </a:lnTo>
                  <a:lnTo>
                    <a:pt x="54" y="120"/>
                  </a:lnTo>
                  <a:lnTo>
                    <a:pt x="58" y="128"/>
                  </a:lnTo>
                  <a:lnTo>
                    <a:pt x="63" y="138"/>
                  </a:lnTo>
                  <a:lnTo>
                    <a:pt x="70" y="150"/>
                  </a:lnTo>
                  <a:lnTo>
                    <a:pt x="75" y="157"/>
                  </a:lnTo>
                  <a:lnTo>
                    <a:pt x="80" y="163"/>
                  </a:lnTo>
                  <a:lnTo>
                    <a:pt x="86" y="169"/>
                  </a:lnTo>
                  <a:lnTo>
                    <a:pt x="93" y="174"/>
                  </a:lnTo>
                  <a:lnTo>
                    <a:pt x="101" y="177"/>
                  </a:lnTo>
                  <a:lnTo>
                    <a:pt x="111" y="181"/>
                  </a:lnTo>
                  <a:lnTo>
                    <a:pt x="119" y="184"/>
                  </a:lnTo>
                  <a:lnTo>
                    <a:pt x="130" y="184"/>
                  </a:lnTo>
                  <a:lnTo>
                    <a:pt x="141" y="184"/>
                  </a:lnTo>
                  <a:lnTo>
                    <a:pt x="150" y="181"/>
                  </a:lnTo>
                  <a:lnTo>
                    <a:pt x="158" y="177"/>
                  </a:lnTo>
                  <a:lnTo>
                    <a:pt x="166" y="174"/>
                  </a:lnTo>
                  <a:lnTo>
                    <a:pt x="173" y="169"/>
                  </a:lnTo>
                  <a:lnTo>
                    <a:pt x="178" y="163"/>
                  </a:lnTo>
                  <a:lnTo>
                    <a:pt x="184" y="157"/>
                  </a:lnTo>
                  <a:lnTo>
                    <a:pt x="188" y="150"/>
                  </a:lnTo>
                  <a:lnTo>
                    <a:pt x="195" y="138"/>
                  </a:lnTo>
                  <a:lnTo>
                    <a:pt x="199" y="128"/>
                  </a:lnTo>
                  <a:lnTo>
                    <a:pt x="201" y="120"/>
                  </a:lnTo>
                  <a:lnTo>
                    <a:pt x="202" y="116"/>
                  </a:lnTo>
                  <a:lnTo>
                    <a:pt x="204" y="112"/>
                  </a:lnTo>
                  <a:lnTo>
                    <a:pt x="207" y="110"/>
                  </a:lnTo>
                  <a:lnTo>
                    <a:pt x="215" y="103"/>
                  </a:lnTo>
                  <a:lnTo>
                    <a:pt x="222" y="94"/>
                  </a:lnTo>
                  <a:lnTo>
                    <a:pt x="226" y="89"/>
                  </a:lnTo>
                  <a:lnTo>
                    <a:pt x="228" y="86"/>
                  </a:lnTo>
                  <a:lnTo>
                    <a:pt x="231" y="81"/>
                  </a:lnTo>
                  <a:lnTo>
                    <a:pt x="232" y="76"/>
                  </a:lnTo>
                  <a:lnTo>
                    <a:pt x="231" y="72"/>
                  </a:lnTo>
                  <a:lnTo>
                    <a:pt x="227" y="70"/>
                  </a:lnTo>
                  <a:lnTo>
                    <a:pt x="226" y="67"/>
                  </a:lnTo>
                  <a:lnTo>
                    <a:pt x="224" y="65"/>
                  </a:lnTo>
                  <a:lnTo>
                    <a:pt x="223" y="61"/>
                  </a:lnTo>
                  <a:lnTo>
                    <a:pt x="223" y="57"/>
                  </a:lnTo>
                  <a:lnTo>
                    <a:pt x="224" y="55"/>
                  </a:lnTo>
                  <a:lnTo>
                    <a:pt x="226" y="45"/>
                  </a:lnTo>
                  <a:lnTo>
                    <a:pt x="227" y="30"/>
                  </a:lnTo>
                  <a:lnTo>
                    <a:pt x="228" y="13"/>
                  </a:lnTo>
                  <a:lnTo>
                    <a:pt x="229" y="8"/>
                  </a:lnTo>
                  <a:lnTo>
                    <a:pt x="232" y="5"/>
                  </a:lnTo>
                  <a:lnTo>
                    <a:pt x="235" y="2"/>
                  </a:lnTo>
                  <a:lnTo>
                    <a:pt x="240" y="1"/>
                  </a:lnTo>
                  <a:lnTo>
                    <a:pt x="244" y="2"/>
                  </a:lnTo>
                  <a:lnTo>
                    <a:pt x="249" y="5"/>
                  </a:lnTo>
                  <a:lnTo>
                    <a:pt x="251" y="8"/>
                  </a:lnTo>
                  <a:lnTo>
                    <a:pt x="251" y="13"/>
                  </a:lnTo>
                  <a:lnTo>
                    <a:pt x="251" y="26"/>
                  </a:lnTo>
                  <a:lnTo>
                    <a:pt x="250" y="38"/>
                  </a:lnTo>
                  <a:lnTo>
                    <a:pt x="249" y="48"/>
                  </a:lnTo>
                  <a:lnTo>
                    <a:pt x="248" y="56"/>
                  </a:lnTo>
                  <a:lnTo>
                    <a:pt x="251" y="61"/>
                  </a:lnTo>
                  <a:lnTo>
                    <a:pt x="254" y="66"/>
                  </a:lnTo>
                  <a:lnTo>
                    <a:pt x="255" y="72"/>
                  </a:lnTo>
                  <a:lnTo>
                    <a:pt x="255" y="78"/>
                  </a:lnTo>
                  <a:lnTo>
                    <a:pt x="254" y="86"/>
                  </a:lnTo>
                  <a:lnTo>
                    <a:pt x="251" y="93"/>
                  </a:lnTo>
                  <a:lnTo>
                    <a:pt x="248" y="100"/>
                  </a:lnTo>
                  <a:lnTo>
                    <a:pt x="243" y="106"/>
                  </a:lnTo>
                  <a:lnTo>
                    <a:pt x="233" y="119"/>
                  </a:lnTo>
                  <a:lnTo>
                    <a:pt x="226" y="126"/>
                  </a:lnTo>
                  <a:lnTo>
                    <a:pt x="221" y="138"/>
                  </a:lnTo>
                  <a:lnTo>
                    <a:pt x="216" y="152"/>
                  </a:lnTo>
                  <a:lnTo>
                    <a:pt x="207" y="165"/>
                  </a:lnTo>
                  <a:lnTo>
                    <a:pt x="197" y="179"/>
                  </a:lnTo>
                  <a:lnTo>
                    <a:pt x="191" y="185"/>
                  </a:lnTo>
                  <a:lnTo>
                    <a:pt x="184" y="191"/>
                  </a:lnTo>
                  <a:lnTo>
                    <a:pt x="177" y="196"/>
                  </a:lnTo>
                  <a:lnTo>
                    <a:pt x="169" y="201"/>
                  </a:lnTo>
                  <a:lnTo>
                    <a:pt x="161" y="203"/>
                  </a:lnTo>
                  <a:lnTo>
                    <a:pt x="151" y="207"/>
                  </a:lnTo>
                  <a:lnTo>
                    <a:pt x="141" y="208"/>
                  </a:lnTo>
                  <a:lnTo>
                    <a:pt x="130" y="20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74" name="Freeform 264"/>
            <p:cNvSpPr>
              <a:spLocks/>
            </p:cNvSpPr>
            <p:nvPr/>
          </p:nvSpPr>
          <p:spPr bwMode="auto">
            <a:xfrm>
              <a:off x="3365500" y="5597525"/>
              <a:ext cx="11113" cy="39688"/>
            </a:xfrm>
            <a:custGeom>
              <a:avLst/>
              <a:gdLst>
                <a:gd name="T0" fmla="*/ 14 w 26"/>
                <a:gd name="T1" fmla="*/ 100 h 100"/>
                <a:gd name="T2" fmla="*/ 10 w 26"/>
                <a:gd name="T3" fmla="*/ 100 h 100"/>
                <a:gd name="T4" fmla="*/ 6 w 26"/>
                <a:gd name="T5" fmla="*/ 98 h 100"/>
                <a:gd name="T6" fmla="*/ 3 w 26"/>
                <a:gd name="T7" fmla="*/ 94 h 100"/>
                <a:gd name="T8" fmla="*/ 2 w 26"/>
                <a:gd name="T9" fmla="*/ 89 h 100"/>
                <a:gd name="T10" fmla="*/ 0 w 26"/>
                <a:gd name="T11" fmla="*/ 11 h 100"/>
                <a:gd name="T12" fmla="*/ 1 w 26"/>
                <a:gd name="T13" fmla="*/ 6 h 100"/>
                <a:gd name="T14" fmla="*/ 3 w 26"/>
                <a:gd name="T15" fmla="*/ 2 h 100"/>
                <a:gd name="T16" fmla="*/ 7 w 26"/>
                <a:gd name="T17" fmla="*/ 0 h 100"/>
                <a:gd name="T18" fmla="*/ 12 w 26"/>
                <a:gd name="T19" fmla="*/ 0 h 100"/>
                <a:gd name="T20" fmla="*/ 17 w 26"/>
                <a:gd name="T21" fmla="*/ 0 h 100"/>
                <a:gd name="T22" fmla="*/ 21 w 26"/>
                <a:gd name="T23" fmla="*/ 2 h 100"/>
                <a:gd name="T24" fmla="*/ 23 w 26"/>
                <a:gd name="T25" fmla="*/ 6 h 100"/>
                <a:gd name="T26" fmla="*/ 24 w 26"/>
                <a:gd name="T27" fmla="*/ 11 h 100"/>
                <a:gd name="T28" fmla="*/ 26 w 26"/>
                <a:gd name="T29" fmla="*/ 87 h 100"/>
                <a:gd name="T30" fmla="*/ 26 w 26"/>
                <a:gd name="T31" fmla="*/ 92 h 100"/>
                <a:gd name="T32" fmla="*/ 23 w 26"/>
                <a:gd name="T33" fmla="*/ 97 h 100"/>
                <a:gd name="T34" fmla="*/ 19 w 26"/>
                <a:gd name="T35" fmla="*/ 99 h 100"/>
                <a:gd name="T36" fmla="*/ 14 w 26"/>
                <a:gd name="T37" fmla="*/ 100 h 100"/>
                <a:gd name="T38" fmla="*/ 14 w 26"/>
                <a:gd name="T3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100">
                  <a:moveTo>
                    <a:pt x="14" y="100"/>
                  </a:moveTo>
                  <a:lnTo>
                    <a:pt x="10" y="100"/>
                  </a:lnTo>
                  <a:lnTo>
                    <a:pt x="6" y="98"/>
                  </a:lnTo>
                  <a:lnTo>
                    <a:pt x="3" y="94"/>
                  </a:lnTo>
                  <a:lnTo>
                    <a:pt x="2" y="89"/>
                  </a:lnTo>
                  <a:lnTo>
                    <a:pt x="0" y="11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4" y="11"/>
                  </a:lnTo>
                  <a:lnTo>
                    <a:pt x="26" y="87"/>
                  </a:lnTo>
                  <a:lnTo>
                    <a:pt x="26" y="92"/>
                  </a:lnTo>
                  <a:lnTo>
                    <a:pt x="23" y="97"/>
                  </a:lnTo>
                  <a:lnTo>
                    <a:pt x="19" y="99"/>
                  </a:lnTo>
                  <a:lnTo>
                    <a:pt x="14" y="100"/>
                  </a:lnTo>
                  <a:lnTo>
                    <a:pt x="14" y="10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75" name="Freeform 265"/>
            <p:cNvSpPr>
              <a:spLocks/>
            </p:cNvSpPr>
            <p:nvPr/>
          </p:nvSpPr>
          <p:spPr bwMode="auto">
            <a:xfrm>
              <a:off x="3430588" y="5597525"/>
              <a:ext cx="9525" cy="39688"/>
            </a:xfrm>
            <a:custGeom>
              <a:avLst/>
              <a:gdLst>
                <a:gd name="T0" fmla="*/ 13 w 26"/>
                <a:gd name="T1" fmla="*/ 100 h 100"/>
                <a:gd name="T2" fmla="*/ 13 w 26"/>
                <a:gd name="T3" fmla="*/ 100 h 100"/>
                <a:gd name="T4" fmla="*/ 8 w 26"/>
                <a:gd name="T5" fmla="*/ 99 h 100"/>
                <a:gd name="T6" fmla="*/ 4 w 26"/>
                <a:gd name="T7" fmla="*/ 97 h 100"/>
                <a:gd name="T8" fmla="*/ 2 w 26"/>
                <a:gd name="T9" fmla="*/ 92 h 100"/>
                <a:gd name="T10" fmla="*/ 0 w 26"/>
                <a:gd name="T11" fmla="*/ 87 h 100"/>
                <a:gd name="T12" fmla="*/ 3 w 26"/>
                <a:gd name="T13" fmla="*/ 11 h 100"/>
                <a:gd name="T14" fmla="*/ 4 w 26"/>
                <a:gd name="T15" fmla="*/ 6 h 100"/>
                <a:gd name="T16" fmla="*/ 7 w 26"/>
                <a:gd name="T17" fmla="*/ 2 h 100"/>
                <a:gd name="T18" fmla="*/ 10 w 26"/>
                <a:gd name="T19" fmla="*/ 0 h 100"/>
                <a:gd name="T20" fmla="*/ 15 w 26"/>
                <a:gd name="T21" fmla="*/ 0 h 100"/>
                <a:gd name="T22" fmla="*/ 15 w 26"/>
                <a:gd name="T23" fmla="*/ 0 h 100"/>
                <a:gd name="T24" fmla="*/ 19 w 26"/>
                <a:gd name="T25" fmla="*/ 0 h 100"/>
                <a:gd name="T26" fmla="*/ 24 w 26"/>
                <a:gd name="T27" fmla="*/ 2 h 100"/>
                <a:gd name="T28" fmla="*/ 26 w 26"/>
                <a:gd name="T29" fmla="*/ 6 h 100"/>
                <a:gd name="T30" fmla="*/ 26 w 26"/>
                <a:gd name="T31" fmla="*/ 11 h 100"/>
                <a:gd name="T32" fmla="*/ 25 w 26"/>
                <a:gd name="T33" fmla="*/ 89 h 100"/>
                <a:gd name="T34" fmla="*/ 24 w 26"/>
                <a:gd name="T35" fmla="*/ 94 h 100"/>
                <a:gd name="T36" fmla="*/ 21 w 26"/>
                <a:gd name="T37" fmla="*/ 98 h 100"/>
                <a:gd name="T38" fmla="*/ 18 w 26"/>
                <a:gd name="T39" fmla="*/ 100 h 100"/>
                <a:gd name="T40" fmla="*/ 13 w 26"/>
                <a:gd name="T41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100">
                  <a:moveTo>
                    <a:pt x="13" y="100"/>
                  </a:moveTo>
                  <a:lnTo>
                    <a:pt x="13" y="100"/>
                  </a:lnTo>
                  <a:lnTo>
                    <a:pt x="8" y="99"/>
                  </a:lnTo>
                  <a:lnTo>
                    <a:pt x="4" y="97"/>
                  </a:lnTo>
                  <a:lnTo>
                    <a:pt x="2" y="92"/>
                  </a:lnTo>
                  <a:lnTo>
                    <a:pt x="0" y="87"/>
                  </a:lnTo>
                  <a:lnTo>
                    <a:pt x="3" y="11"/>
                  </a:lnTo>
                  <a:lnTo>
                    <a:pt x="4" y="6"/>
                  </a:lnTo>
                  <a:lnTo>
                    <a:pt x="7" y="2"/>
                  </a:lnTo>
                  <a:lnTo>
                    <a:pt x="1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4" y="2"/>
                  </a:lnTo>
                  <a:lnTo>
                    <a:pt x="26" y="6"/>
                  </a:lnTo>
                  <a:lnTo>
                    <a:pt x="26" y="11"/>
                  </a:lnTo>
                  <a:lnTo>
                    <a:pt x="25" y="89"/>
                  </a:lnTo>
                  <a:lnTo>
                    <a:pt x="24" y="94"/>
                  </a:lnTo>
                  <a:lnTo>
                    <a:pt x="21" y="98"/>
                  </a:lnTo>
                  <a:lnTo>
                    <a:pt x="18" y="100"/>
                  </a:lnTo>
                  <a:lnTo>
                    <a:pt x="13" y="10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76" name="Freeform 266"/>
            <p:cNvSpPr>
              <a:spLocks/>
            </p:cNvSpPr>
            <p:nvPr/>
          </p:nvSpPr>
          <p:spPr bwMode="auto">
            <a:xfrm>
              <a:off x="3321050" y="6137275"/>
              <a:ext cx="66675" cy="30163"/>
            </a:xfrm>
            <a:custGeom>
              <a:avLst/>
              <a:gdLst>
                <a:gd name="T0" fmla="*/ 0 w 167"/>
                <a:gd name="T1" fmla="*/ 74 h 74"/>
                <a:gd name="T2" fmla="*/ 8 w 167"/>
                <a:gd name="T3" fmla="*/ 62 h 74"/>
                <a:gd name="T4" fmla="*/ 16 w 167"/>
                <a:gd name="T5" fmla="*/ 50 h 74"/>
                <a:gd name="T6" fmla="*/ 26 w 167"/>
                <a:gd name="T7" fmla="*/ 40 h 74"/>
                <a:gd name="T8" fmla="*/ 36 w 167"/>
                <a:gd name="T9" fmla="*/ 30 h 74"/>
                <a:gd name="T10" fmla="*/ 46 w 167"/>
                <a:gd name="T11" fmla="*/ 22 h 74"/>
                <a:gd name="T12" fmla="*/ 57 w 167"/>
                <a:gd name="T13" fmla="*/ 13 h 74"/>
                <a:gd name="T14" fmla="*/ 69 w 167"/>
                <a:gd name="T15" fmla="*/ 6 h 74"/>
                <a:gd name="T16" fmla="*/ 82 w 167"/>
                <a:gd name="T17" fmla="*/ 0 h 74"/>
                <a:gd name="T18" fmla="*/ 167 w 167"/>
                <a:gd name="T19" fmla="*/ 0 h 74"/>
                <a:gd name="T20" fmla="*/ 167 w 167"/>
                <a:gd name="T21" fmla="*/ 74 h 74"/>
                <a:gd name="T22" fmla="*/ 0 w 167"/>
                <a:gd name="T2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7" h="74">
                  <a:moveTo>
                    <a:pt x="0" y="74"/>
                  </a:moveTo>
                  <a:lnTo>
                    <a:pt x="8" y="62"/>
                  </a:lnTo>
                  <a:lnTo>
                    <a:pt x="16" y="50"/>
                  </a:lnTo>
                  <a:lnTo>
                    <a:pt x="26" y="40"/>
                  </a:lnTo>
                  <a:lnTo>
                    <a:pt x="36" y="30"/>
                  </a:lnTo>
                  <a:lnTo>
                    <a:pt x="46" y="22"/>
                  </a:lnTo>
                  <a:lnTo>
                    <a:pt x="57" y="13"/>
                  </a:lnTo>
                  <a:lnTo>
                    <a:pt x="69" y="6"/>
                  </a:lnTo>
                  <a:lnTo>
                    <a:pt x="82" y="0"/>
                  </a:lnTo>
                  <a:lnTo>
                    <a:pt x="167" y="0"/>
                  </a:lnTo>
                  <a:lnTo>
                    <a:pt x="167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77" name="Freeform 267"/>
            <p:cNvSpPr>
              <a:spLocks noEditPoints="1"/>
            </p:cNvSpPr>
            <p:nvPr/>
          </p:nvSpPr>
          <p:spPr bwMode="auto">
            <a:xfrm>
              <a:off x="3316288" y="6134100"/>
              <a:ext cx="76200" cy="38100"/>
            </a:xfrm>
            <a:custGeom>
              <a:avLst/>
              <a:gdLst>
                <a:gd name="T0" fmla="*/ 34 w 191"/>
                <a:gd name="T1" fmla="*/ 73 h 99"/>
                <a:gd name="T2" fmla="*/ 167 w 191"/>
                <a:gd name="T3" fmla="*/ 73 h 99"/>
                <a:gd name="T4" fmla="*/ 167 w 191"/>
                <a:gd name="T5" fmla="*/ 22 h 99"/>
                <a:gd name="T6" fmla="*/ 97 w 191"/>
                <a:gd name="T7" fmla="*/ 22 h 99"/>
                <a:gd name="T8" fmla="*/ 87 w 191"/>
                <a:gd name="T9" fmla="*/ 27 h 99"/>
                <a:gd name="T10" fmla="*/ 78 w 191"/>
                <a:gd name="T11" fmla="*/ 32 h 99"/>
                <a:gd name="T12" fmla="*/ 70 w 191"/>
                <a:gd name="T13" fmla="*/ 38 h 99"/>
                <a:gd name="T14" fmla="*/ 63 w 191"/>
                <a:gd name="T15" fmla="*/ 44 h 99"/>
                <a:gd name="T16" fmla="*/ 54 w 191"/>
                <a:gd name="T17" fmla="*/ 50 h 99"/>
                <a:gd name="T18" fmla="*/ 47 w 191"/>
                <a:gd name="T19" fmla="*/ 57 h 99"/>
                <a:gd name="T20" fmla="*/ 40 w 191"/>
                <a:gd name="T21" fmla="*/ 66 h 99"/>
                <a:gd name="T22" fmla="*/ 34 w 191"/>
                <a:gd name="T23" fmla="*/ 73 h 99"/>
                <a:gd name="T24" fmla="*/ 179 w 191"/>
                <a:gd name="T25" fmla="*/ 99 h 99"/>
                <a:gd name="T26" fmla="*/ 12 w 191"/>
                <a:gd name="T27" fmla="*/ 99 h 99"/>
                <a:gd name="T28" fmla="*/ 10 w 191"/>
                <a:gd name="T29" fmla="*/ 98 h 99"/>
                <a:gd name="T30" fmla="*/ 6 w 191"/>
                <a:gd name="T31" fmla="*/ 97 h 99"/>
                <a:gd name="T32" fmla="*/ 4 w 191"/>
                <a:gd name="T33" fmla="*/ 95 h 99"/>
                <a:gd name="T34" fmla="*/ 3 w 191"/>
                <a:gd name="T35" fmla="*/ 92 h 99"/>
                <a:gd name="T36" fmla="*/ 1 w 191"/>
                <a:gd name="T37" fmla="*/ 89 h 99"/>
                <a:gd name="T38" fmla="*/ 0 w 191"/>
                <a:gd name="T39" fmla="*/ 87 h 99"/>
                <a:gd name="T40" fmla="*/ 1 w 191"/>
                <a:gd name="T41" fmla="*/ 84 h 99"/>
                <a:gd name="T42" fmla="*/ 3 w 191"/>
                <a:gd name="T43" fmla="*/ 81 h 99"/>
                <a:gd name="T44" fmla="*/ 10 w 191"/>
                <a:gd name="T45" fmla="*/ 67 h 99"/>
                <a:gd name="T46" fmla="*/ 20 w 191"/>
                <a:gd name="T47" fmla="*/ 54 h 99"/>
                <a:gd name="T48" fmla="*/ 29 w 191"/>
                <a:gd name="T49" fmla="*/ 43 h 99"/>
                <a:gd name="T50" fmla="*/ 39 w 191"/>
                <a:gd name="T51" fmla="*/ 32 h 99"/>
                <a:gd name="T52" fmla="*/ 50 w 191"/>
                <a:gd name="T53" fmla="*/ 22 h 99"/>
                <a:gd name="T54" fmla="*/ 63 w 191"/>
                <a:gd name="T55" fmla="*/ 13 h 99"/>
                <a:gd name="T56" fmla="*/ 76 w 191"/>
                <a:gd name="T57" fmla="*/ 6 h 99"/>
                <a:gd name="T58" fmla="*/ 89 w 191"/>
                <a:gd name="T59" fmla="*/ 0 h 99"/>
                <a:gd name="T60" fmla="*/ 92 w 191"/>
                <a:gd name="T61" fmla="*/ 0 h 99"/>
                <a:gd name="T62" fmla="*/ 94 w 191"/>
                <a:gd name="T63" fmla="*/ 0 h 99"/>
                <a:gd name="T64" fmla="*/ 179 w 191"/>
                <a:gd name="T65" fmla="*/ 0 h 99"/>
                <a:gd name="T66" fmla="*/ 184 w 191"/>
                <a:gd name="T67" fmla="*/ 0 h 99"/>
                <a:gd name="T68" fmla="*/ 187 w 191"/>
                <a:gd name="T69" fmla="*/ 2 h 99"/>
                <a:gd name="T70" fmla="*/ 190 w 191"/>
                <a:gd name="T71" fmla="*/ 6 h 99"/>
                <a:gd name="T72" fmla="*/ 191 w 191"/>
                <a:gd name="T73" fmla="*/ 11 h 99"/>
                <a:gd name="T74" fmla="*/ 191 w 191"/>
                <a:gd name="T75" fmla="*/ 85 h 99"/>
                <a:gd name="T76" fmla="*/ 190 w 191"/>
                <a:gd name="T77" fmla="*/ 90 h 99"/>
                <a:gd name="T78" fmla="*/ 187 w 191"/>
                <a:gd name="T79" fmla="*/ 94 h 99"/>
                <a:gd name="T80" fmla="*/ 184 w 191"/>
                <a:gd name="T81" fmla="*/ 98 h 99"/>
                <a:gd name="T82" fmla="*/ 179 w 191"/>
                <a:gd name="T8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1" h="99">
                  <a:moveTo>
                    <a:pt x="34" y="73"/>
                  </a:moveTo>
                  <a:lnTo>
                    <a:pt x="167" y="73"/>
                  </a:lnTo>
                  <a:lnTo>
                    <a:pt x="167" y="22"/>
                  </a:lnTo>
                  <a:lnTo>
                    <a:pt x="97" y="22"/>
                  </a:lnTo>
                  <a:lnTo>
                    <a:pt x="87" y="27"/>
                  </a:lnTo>
                  <a:lnTo>
                    <a:pt x="78" y="32"/>
                  </a:lnTo>
                  <a:lnTo>
                    <a:pt x="70" y="38"/>
                  </a:lnTo>
                  <a:lnTo>
                    <a:pt x="63" y="44"/>
                  </a:lnTo>
                  <a:lnTo>
                    <a:pt x="54" y="50"/>
                  </a:lnTo>
                  <a:lnTo>
                    <a:pt x="47" y="57"/>
                  </a:lnTo>
                  <a:lnTo>
                    <a:pt x="40" y="66"/>
                  </a:lnTo>
                  <a:lnTo>
                    <a:pt x="34" y="73"/>
                  </a:lnTo>
                  <a:close/>
                  <a:moveTo>
                    <a:pt x="179" y="99"/>
                  </a:moveTo>
                  <a:lnTo>
                    <a:pt x="12" y="99"/>
                  </a:lnTo>
                  <a:lnTo>
                    <a:pt x="10" y="98"/>
                  </a:lnTo>
                  <a:lnTo>
                    <a:pt x="6" y="97"/>
                  </a:lnTo>
                  <a:lnTo>
                    <a:pt x="4" y="95"/>
                  </a:lnTo>
                  <a:lnTo>
                    <a:pt x="3" y="92"/>
                  </a:lnTo>
                  <a:lnTo>
                    <a:pt x="1" y="89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1"/>
                  </a:lnTo>
                  <a:lnTo>
                    <a:pt x="10" y="67"/>
                  </a:lnTo>
                  <a:lnTo>
                    <a:pt x="20" y="54"/>
                  </a:lnTo>
                  <a:lnTo>
                    <a:pt x="29" y="43"/>
                  </a:lnTo>
                  <a:lnTo>
                    <a:pt x="39" y="32"/>
                  </a:lnTo>
                  <a:lnTo>
                    <a:pt x="50" y="22"/>
                  </a:lnTo>
                  <a:lnTo>
                    <a:pt x="63" y="13"/>
                  </a:lnTo>
                  <a:lnTo>
                    <a:pt x="76" y="6"/>
                  </a:lnTo>
                  <a:lnTo>
                    <a:pt x="89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179" y="0"/>
                  </a:lnTo>
                  <a:lnTo>
                    <a:pt x="184" y="0"/>
                  </a:lnTo>
                  <a:lnTo>
                    <a:pt x="187" y="2"/>
                  </a:lnTo>
                  <a:lnTo>
                    <a:pt x="190" y="6"/>
                  </a:lnTo>
                  <a:lnTo>
                    <a:pt x="191" y="11"/>
                  </a:lnTo>
                  <a:lnTo>
                    <a:pt x="191" y="85"/>
                  </a:lnTo>
                  <a:lnTo>
                    <a:pt x="190" y="90"/>
                  </a:lnTo>
                  <a:lnTo>
                    <a:pt x="187" y="94"/>
                  </a:lnTo>
                  <a:lnTo>
                    <a:pt x="184" y="98"/>
                  </a:lnTo>
                  <a:lnTo>
                    <a:pt x="179" y="9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78" name="Freeform 268"/>
            <p:cNvSpPr>
              <a:spLocks/>
            </p:cNvSpPr>
            <p:nvPr/>
          </p:nvSpPr>
          <p:spPr bwMode="auto">
            <a:xfrm>
              <a:off x="3417888" y="6137275"/>
              <a:ext cx="65088" cy="30163"/>
            </a:xfrm>
            <a:custGeom>
              <a:avLst/>
              <a:gdLst>
                <a:gd name="T0" fmla="*/ 166 w 166"/>
                <a:gd name="T1" fmla="*/ 74 h 74"/>
                <a:gd name="T2" fmla="*/ 159 w 166"/>
                <a:gd name="T3" fmla="*/ 62 h 74"/>
                <a:gd name="T4" fmla="*/ 150 w 166"/>
                <a:gd name="T5" fmla="*/ 50 h 74"/>
                <a:gd name="T6" fmla="*/ 142 w 166"/>
                <a:gd name="T7" fmla="*/ 40 h 74"/>
                <a:gd name="T8" fmla="*/ 132 w 166"/>
                <a:gd name="T9" fmla="*/ 30 h 74"/>
                <a:gd name="T10" fmla="*/ 121 w 166"/>
                <a:gd name="T11" fmla="*/ 22 h 74"/>
                <a:gd name="T12" fmla="*/ 110 w 166"/>
                <a:gd name="T13" fmla="*/ 13 h 74"/>
                <a:gd name="T14" fmla="*/ 98 w 166"/>
                <a:gd name="T15" fmla="*/ 6 h 74"/>
                <a:gd name="T16" fmla="*/ 85 w 166"/>
                <a:gd name="T17" fmla="*/ 0 h 74"/>
                <a:gd name="T18" fmla="*/ 0 w 166"/>
                <a:gd name="T19" fmla="*/ 0 h 74"/>
                <a:gd name="T20" fmla="*/ 0 w 166"/>
                <a:gd name="T21" fmla="*/ 74 h 74"/>
                <a:gd name="T22" fmla="*/ 166 w 166"/>
                <a:gd name="T2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74">
                  <a:moveTo>
                    <a:pt x="166" y="74"/>
                  </a:moveTo>
                  <a:lnTo>
                    <a:pt x="159" y="62"/>
                  </a:lnTo>
                  <a:lnTo>
                    <a:pt x="150" y="50"/>
                  </a:lnTo>
                  <a:lnTo>
                    <a:pt x="142" y="40"/>
                  </a:lnTo>
                  <a:lnTo>
                    <a:pt x="132" y="30"/>
                  </a:lnTo>
                  <a:lnTo>
                    <a:pt x="121" y="22"/>
                  </a:lnTo>
                  <a:lnTo>
                    <a:pt x="110" y="13"/>
                  </a:lnTo>
                  <a:lnTo>
                    <a:pt x="98" y="6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4"/>
                  </a:lnTo>
                  <a:lnTo>
                    <a:pt x="166" y="7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79" name="Freeform 269"/>
            <p:cNvSpPr>
              <a:spLocks noEditPoints="1"/>
            </p:cNvSpPr>
            <p:nvPr/>
          </p:nvSpPr>
          <p:spPr bwMode="auto">
            <a:xfrm>
              <a:off x="3413125" y="6134100"/>
              <a:ext cx="74613" cy="38100"/>
            </a:xfrm>
            <a:custGeom>
              <a:avLst/>
              <a:gdLst>
                <a:gd name="T0" fmla="*/ 23 w 189"/>
                <a:gd name="T1" fmla="*/ 73 h 99"/>
                <a:gd name="T2" fmla="*/ 156 w 189"/>
                <a:gd name="T3" fmla="*/ 73 h 99"/>
                <a:gd name="T4" fmla="*/ 143 w 189"/>
                <a:gd name="T5" fmla="*/ 57 h 99"/>
                <a:gd name="T6" fmla="*/ 128 w 189"/>
                <a:gd name="T7" fmla="*/ 44 h 99"/>
                <a:gd name="T8" fmla="*/ 120 w 189"/>
                <a:gd name="T9" fmla="*/ 38 h 99"/>
                <a:gd name="T10" fmla="*/ 111 w 189"/>
                <a:gd name="T11" fmla="*/ 32 h 99"/>
                <a:gd name="T12" fmla="*/ 103 w 189"/>
                <a:gd name="T13" fmla="*/ 27 h 99"/>
                <a:gd name="T14" fmla="*/ 94 w 189"/>
                <a:gd name="T15" fmla="*/ 22 h 99"/>
                <a:gd name="T16" fmla="*/ 23 w 189"/>
                <a:gd name="T17" fmla="*/ 22 h 99"/>
                <a:gd name="T18" fmla="*/ 23 w 189"/>
                <a:gd name="T19" fmla="*/ 73 h 99"/>
                <a:gd name="T20" fmla="*/ 177 w 189"/>
                <a:gd name="T21" fmla="*/ 99 h 99"/>
                <a:gd name="T22" fmla="*/ 11 w 189"/>
                <a:gd name="T23" fmla="*/ 99 h 99"/>
                <a:gd name="T24" fmla="*/ 7 w 189"/>
                <a:gd name="T25" fmla="*/ 98 h 99"/>
                <a:gd name="T26" fmla="*/ 3 w 189"/>
                <a:gd name="T27" fmla="*/ 94 h 99"/>
                <a:gd name="T28" fmla="*/ 1 w 189"/>
                <a:gd name="T29" fmla="*/ 90 h 99"/>
                <a:gd name="T30" fmla="*/ 0 w 189"/>
                <a:gd name="T31" fmla="*/ 85 h 99"/>
                <a:gd name="T32" fmla="*/ 0 w 189"/>
                <a:gd name="T33" fmla="*/ 11 h 99"/>
                <a:gd name="T34" fmla="*/ 1 w 189"/>
                <a:gd name="T35" fmla="*/ 6 h 99"/>
                <a:gd name="T36" fmla="*/ 3 w 189"/>
                <a:gd name="T37" fmla="*/ 2 h 99"/>
                <a:gd name="T38" fmla="*/ 7 w 189"/>
                <a:gd name="T39" fmla="*/ 0 h 99"/>
                <a:gd name="T40" fmla="*/ 11 w 189"/>
                <a:gd name="T41" fmla="*/ 0 h 99"/>
                <a:gd name="T42" fmla="*/ 96 w 189"/>
                <a:gd name="T43" fmla="*/ 0 h 99"/>
                <a:gd name="T44" fmla="*/ 99 w 189"/>
                <a:gd name="T45" fmla="*/ 0 h 99"/>
                <a:gd name="T46" fmla="*/ 101 w 189"/>
                <a:gd name="T47" fmla="*/ 0 h 99"/>
                <a:gd name="T48" fmla="*/ 115 w 189"/>
                <a:gd name="T49" fmla="*/ 6 h 99"/>
                <a:gd name="T50" fmla="*/ 127 w 189"/>
                <a:gd name="T51" fmla="*/ 13 h 99"/>
                <a:gd name="T52" fmla="*/ 139 w 189"/>
                <a:gd name="T53" fmla="*/ 22 h 99"/>
                <a:gd name="T54" fmla="*/ 150 w 189"/>
                <a:gd name="T55" fmla="*/ 32 h 99"/>
                <a:gd name="T56" fmla="*/ 161 w 189"/>
                <a:gd name="T57" fmla="*/ 43 h 99"/>
                <a:gd name="T58" fmla="*/ 171 w 189"/>
                <a:gd name="T59" fmla="*/ 54 h 99"/>
                <a:gd name="T60" fmla="*/ 180 w 189"/>
                <a:gd name="T61" fmla="*/ 67 h 99"/>
                <a:gd name="T62" fmla="*/ 188 w 189"/>
                <a:gd name="T63" fmla="*/ 81 h 99"/>
                <a:gd name="T64" fmla="*/ 189 w 189"/>
                <a:gd name="T65" fmla="*/ 84 h 99"/>
                <a:gd name="T66" fmla="*/ 189 w 189"/>
                <a:gd name="T67" fmla="*/ 87 h 99"/>
                <a:gd name="T68" fmla="*/ 189 w 189"/>
                <a:gd name="T69" fmla="*/ 89 h 99"/>
                <a:gd name="T70" fmla="*/ 188 w 189"/>
                <a:gd name="T71" fmla="*/ 92 h 99"/>
                <a:gd name="T72" fmla="*/ 186 w 189"/>
                <a:gd name="T73" fmla="*/ 95 h 99"/>
                <a:gd name="T74" fmla="*/ 183 w 189"/>
                <a:gd name="T75" fmla="*/ 97 h 99"/>
                <a:gd name="T76" fmla="*/ 181 w 189"/>
                <a:gd name="T77" fmla="*/ 98 h 99"/>
                <a:gd name="T78" fmla="*/ 177 w 189"/>
                <a:gd name="T7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9" h="99">
                  <a:moveTo>
                    <a:pt x="23" y="73"/>
                  </a:moveTo>
                  <a:lnTo>
                    <a:pt x="156" y="73"/>
                  </a:lnTo>
                  <a:lnTo>
                    <a:pt x="143" y="57"/>
                  </a:lnTo>
                  <a:lnTo>
                    <a:pt x="128" y="44"/>
                  </a:lnTo>
                  <a:lnTo>
                    <a:pt x="120" y="38"/>
                  </a:lnTo>
                  <a:lnTo>
                    <a:pt x="111" y="32"/>
                  </a:lnTo>
                  <a:lnTo>
                    <a:pt x="103" y="27"/>
                  </a:lnTo>
                  <a:lnTo>
                    <a:pt x="94" y="22"/>
                  </a:lnTo>
                  <a:lnTo>
                    <a:pt x="23" y="22"/>
                  </a:lnTo>
                  <a:lnTo>
                    <a:pt x="23" y="73"/>
                  </a:lnTo>
                  <a:close/>
                  <a:moveTo>
                    <a:pt x="177" y="99"/>
                  </a:moveTo>
                  <a:lnTo>
                    <a:pt x="11" y="99"/>
                  </a:lnTo>
                  <a:lnTo>
                    <a:pt x="7" y="98"/>
                  </a:lnTo>
                  <a:lnTo>
                    <a:pt x="3" y="94"/>
                  </a:lnTo>
                  <a:lnTo>
                    <a:pt x="1" y="90"/>
                  </a:lnTo>
                  <a:lnTo>
                    <a:pt x="0" y="85"/>
                  </a:lnTo>
                  <a:lnTo>
                    <a:pt x="0" y="11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15" y="6"/>
                  </a:lnTo>
                  <a:lnTo>
                    <a:pt x="127" y="13"/>
                  </a:lnTo>
                  <a:lnTo>
                    <a:pt x="139" y="22"/>
                  </a:lnTo>
                  <a:lnTo>
                    <a:pt x="150" y="32"/>
                  </a:lnTo>
                  <a:lnTo>
                    <a:pt x="161" y="43"/>
                  </a:lnTo>
                  <a:lnTo>
                    <a:pt x="171" y="54"/>
                  </a:lnTo>
                  <a:lnTo>
                    <a:pt x="180" y="67"/>
                  </a:lnTo>
                  <a:lnTo>
                    <a:pt x="188" y="81"/>
                  </a:lnTo>
                  <a:lnTo>
                    <a:pt x="189" y="84"/>
                  </a:lnTo>
                  <a:lnTo>
                    <a:pt x="189" y="87"/>
                  </a:lnTo>
                  <a:lnTo>
                    <a:pt x="189" y="89"/>
                  </a:lnTo>
                  <a:lnTo>
                    <a:pt x="188" y="92"/>
                  </a:lnTo>
                  <a:lnTo>
                    <a:pt x="186" y="95"/>
                  </a:lnTo>
                  <a:lnTo>
                    <a:pt x="183" y="97"/>
                  </a:lnTo>
                  <a:lnTo>
                    <a:pt x="181" y="98"/>
                  </a:lnTo>
                  <a:lnTo>
                    <a:pt x="177" y="9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0" name="Freeform 270"/>
            <p:cNvSpPr>
              <a:spLocks/>
            </p:cNvSpPr>
            <p:nvPr/>
          </p:nvSpPr>
          <p:spPr bwMode="auto">
            <a:xfrm>
              <a:off x="3302000" y="5707063"/>
              <a:ext cx="34925" cy="57150"/>
            </a:xfrm>
            <a:custGeom>
              <a:avLst/>
              <a:gdLst>
                <a:gd name="T0" fmla="*/ 11 w 88"/>
                <a:gd name="T1" fmla="*/ 144 h 144"/>
                <a:gd name="T2" fmla="*/ 8 w 88"/>
                <a:gd name="T3" fmla="*/ 144 h 144"/>
                <a:gd name="T4" fmla="*/ 6 w 88"/>
                <a:gd name="T5" fmla="*/ 142 h 144"/>
                <a:gd name="T6" fmla="*/ 2 w 88"/>
                <a:gd name="T7" fmla="*/ 140 h 144"/>
                <a:gd name="T8" fmla="*/ 0 w 88"/>
                <a:gd name="T9" fmla="*/ 136 h 144"/>
                <a:gd name="T10" fmla="*/ 0 w 88"/>
                <a:gd name="T11" fmla="*/ 131 h 144"/>
                <a:gd name="T12" fmla="*/ 1 w 88"/>
                <a:gd name="T13" fmla="*/ 126 h 144"/>
                <a:gd name="T14" fmla="*/ 64 w 88"/>
                <a:gd name="T15" fmla="*/ 7 h 144"/>
                <a:gd name="T16" fmla="*/ 67 w 88"/>
                <a:gd name="T17" fmla="*/ 2 h 144"/>
                <a:gd name="T18" fmla="*/ 71 w 88"/>
                <a:gd name="T19" fmla="*/ 0 h 144"/>
                <a:gd name="T20" fmla="*/ 74 w 88"/>
                <a:gd name="T21" fmla="*/ 0 h 144"/>
                <a:gd name="T22" fmla="*/ 78 w 88"/>
                <a:gd name="T23" fmla="*/ 0 h 144"/>
                <a:gd name="T24" fmla="*/ 82 w 88"/>
                <a:gd name="T25" fmla="*/ 2 h 144"/>
                <a:gd name="T26" fmla="*/ 85 w 88"/>
                <a:gd name="T27" fmla="*/ 5 h 144"/>
                <a:gd name="T28" fmla="*/ 87 w 88"/>
                <a:gd name="T29" fmla="*/ 8 h 144"/>
                <a:gd name="T30" fmla="*/ 88 w 88"/>
                <a:gd name="T31" fmla="*/ 12 h 144"/>
                <a:gd name="T32" fmla="*/ 88 w 88"/>
                <a:gd name="T33" fmla="*/ 104 h 144"/>
                <a:gd name="T34" fmla="*/ 87 w 88"/>
                <a:gd name="T35" fmla="*/ 108 h 144"/>
                <a:gd name="T36" fmla="*/ 84 w 88"/>
                <a:gd name="T37" fmla="*/ 111 h 144"/>
                <a:gd name="T38" fmla="*/ 80 w 88"/>
                <a:gd name="T39" fmla="*/ 114 h 144"/>
                <a:gd name="T40" fmla="*/ 75 w 88"/>
                <a:gd name="T41" fmla="*/ 115 h 144"/>
                <a:gd name="T42" fmla="*/ 71 w 88"/>
                <a:gd name="T43" fmla="*/ 114 h 144"/>
                <a:gd name="T44" fmla="*/ 67 w 88"/>
                <a:gd name="T45" fmla="*/ 111 h 144"/>
                <a:gd name="T46" fmla="*/ 64 w 88"/>
                <a:gd name="T47" fmla="*/ 108 h 144"/>
                <a:gd name="T48" fmla="*/ 63 w 88"/>
                <a:gd name="T49" fmla="*/ 104 h 144"/>
                <a:gd name="T50" fmla="*/ 63 w 88"/>
                <a:gd name="T51" fmla="*/ 59 h 144"/>
                <a:gd name="T52" fmla="*/ 22 w 88"/>
                <a:gd name="T53" fmla="*/ 137 h 144"/>
                <a:gd name="T54" fmla="*/ 20 w 88"/>
                <a:gd name="T55" fmla="*/ 141 h 144"/>
                <a:gd name="T56" fmla="*/ 17 w 88"/>
                <a:gd name="T57" fmla="*/ 143 h 144"/>
                <a:gd name="T58" fmla="*/ 14 w 88"/>
                <a:gd name="T59" fmla="*/ 144 h 144"/>
                <a:gd name="T60" fmla="*/ 11 w 88"/>
                <a:gd name="T6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8" h="144">
                  <a:moveTo>
                    <a:pt x="11" y="144"/>
                  </a:moveTo>
                  <a:lnTo>
                    <a:pt x="8" y="144"/>
                  </a:lnTo>
                  <a:lnTo>
                    <a:pt x="6" y="142"/>
                  </a:lnTo>
                  <a:lnTo>
                    <a:pt x="2" y="140"/>
                  </a:lnTo>
                  <a:lnTo>
                    <a:pt x="0" y="136"/>
                  </a:lnTo>
                  <a:lnTo>
                    <a:pt x="0" y="131"/>
                  </a:lnTo>
                  <a:lnTo>
                    <a:pt x="1" y="126"/>
                  </a:lnTo>
                  <a:lnTo>
                    <a:pt x="64" y="7"/>
                  </a:lnTo>
                  <a:lnTo>
                    <a:pt x="67" y="2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82" y="2"/>
                  </a:lnTo>
                  <a:lnTo>
                    <a:pt x="85" y="5"/>
                  </a:lnTo>
                  <a:lnTo>
                    <a:pt x="87" y="8"/>
                  </a:lnTo>
                  <a:lnTo>
                    <a:pt x="88" y="12"/>
                  </a:lnTo>
                  <a:lnTo>
                    <a:pt x="88" y="104"/>
                  </a:lnTo>
                  <a:lnTo>
                    <a:pt x="87" y="108"/>
                  </a:lnTo>
                  <a:lnTo>
                    <a:pt x="84" y="111"/>
                  </a:lnTo>
                  <a:lnTo>
                    <a:pt x="80" y="114"/>
                  </a:lnTo>
                  <a:lnTo>
                    <a:pt x="75" y="115"/>
                  </a:lnTo>
                  <a:lnTo>
                    <a:pt x="71" y="114"/>
                  </a:lnTo>
                  <a:lnTo>
                    <a:pt x="67" y="111"/>
                  </a:lnTo>
                  <a:lnTo>
                    <a:pt x="64" y="108"/>
                  </a:lnTo>
                  <a:lnTo>
                    <a:pt x="63" y="104"/>
                  </a:lnTo>
                  <a:lnTo>
                    <a:pt x="63" y="59"/>
                  </a:lnTo>
                  <a:lnTo>
                    <a:pt x="22" y="137"/>
                  </a:lnTo>
                  <a:lnTo>
                    <a:pt x="20" y="141"/>
                  </a:lnTo>
                  <a:lnTo>
                    <a:pt x="17" y="143"/>
                  </a:lnTo>
                  <a:lnTo>
                    <a:pt x="14" y="144"/>
                  </a:lnTo>
                  <a:lnTo>
                    <a:pt x="11" y="14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1" name="Freeform 271"/>
            <p:cNvSpPr>
              <a:spLocks/>
            </p:cNvSpPr>
            <p:nvPr/>
          </p:nvSpPr>
          <p:spPr bwMode="auto">
            <a:xfrm>
              <a:off x="3327400" y="5786438"/>
              <a:ext cx="9525" cy="41275"/>
            </a:xfrm>
            <a:custGeom>
              <a:avLst/>
              <a:gdLst>
                <a:gd name="T0" fmla="*/ 12 w 25"/>
                <a:gd name="T1" fmla="*/ 101 h 101"/>
                <a:gd name="T2" fmla="*/ 8 w 25"/>
                <a:gd name="T3" fmla="*/ 100 h 101"/>
                <a:gd name="T4" fmla="*/ 4 w 25"/>
                <a:gd name="T5" fmla="*/ 98 h 101"/>
                <a:gd name="T6" fmla="*/ 1 w 25"/>
                <a:gd name="T7" fmla="*/ 94 h 101"/>
                <a:gd name="T8" fmla="*/ 0 w 25"/>
                <a:gd name="T9" fmla="*/ 89 h 101"/>
                <a:gd name="T10" fmla="*/ 0 w 25"/>
                <a:gd name="T11" fmla="*/ 13 h 101"/>
                <a:gd name="T12" fmla="*/ 1 w 25"/>
                <a:gd name="T13" fmla="*/ 8 h 101"/>
                <a:gd name="T14" fmla="*/ 4 w 25"/>
                <a:gd name="T15" fmla="*/ 3 h 101"/>
                <a:gd name="T16" fmla="*/ 8 w 25"/>
                <a:gd name="T17" fmla="*/ 1 h 101"/>
                <a:gd name="T18" fmla="*/ 12 w 25"/>
                <a:gd name="T19" fmla="*/ 0 h 101"/>
                <a:gd name="T20" fmla="*/ 17 w 25"/>
                <a:gd name="T21" fmla="*/ 1 h 101"/>
                <a:gd name="T22" fmla="*/ 21 w 25"/>
                <a:gd name="T23" fmla="*/ 3 h 101"/>
                <a:gd name="T24" fmla="*/ 24 w 25"/>
                <a:gd name="T25" fmla="*/ 8 h 101"/>
                <a:gd name="T26" fmla="*/ 25 w 25"/>
                <a:gd name="T27" fmla="*/ 13 h 101"/>
                <a:gd name="T28" fmla="*/ 25 w 25"/>
                <a:gd name="T29" fmla="*/ 89 h 101"/>
                <a:gd name="T30" fmla="*/ 24 w 25"/>
                <a:gd name="T31" fmla="*/ 94 h 101"/>
                <a:gd name="T32" fmla="*/ 21 w 25"/>
                <a:gd name="T33" fmla="*/ 98 h 101"/>
                <a:gd name="T34" fmla="*/ 17 w 25"/>
                <a:gd name="T35" fmla="*/ 100 h 101"/>
                <a:gd name="T36" fmla="*/ 12 w 25"/>
                <a:gd name="T3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01">
                  <a:moveTo>
                    <a:pt x="12" y="101"/>
                  </a:moveTo>
                  <a:lnTo>
                    <a:pt x="8" y="100"/>
                  </a:lnTo>
                  <a:lnTo>
                    <a:pt x="4" y="98"/>
                  </a:lnTo>
                  <a:lnTo>
                    <a:pt x="1" y="94"/>
                  </a:lnTo>
                  <a:lnTo>
                    <a:pt x="0" y="89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4" y="8"/>
                  </a:lnTo>
                  <a:lnTo>
                    <a:pt x="25" y="13"/>
                  </a:lnTo>
                  <a:lnTo>
                    <a:pt x="25" y="89"/>
                  </a:lnTo>
                  <a:lnTo>
                    <a:pt x="24" y="94"/>
                  </a:lnTo>
                  <a:lnTo>
                    <a:pt x="21" y="98"/>
                  </a:lnTo>
                  <a:lnTo>
                    <a:pt x="17" y="100"/>
                  </a:lnTo>
                  <a:lnTo>
                    <a:pt x="12" y="10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2" name="Freeform 272"/>
            <p:cNvSpPr>
              <a:spLocks/>
            </p:cNvSpPr>
            <p:nvPr/>
          </p:nvSpPr>
          <p:spPr bwMode="auto">
            <a:xfrm>
              <a:off x="3470275" y="5786438"/>
              <a:ext cx="9525" cy="41275"/>
            </a:xfrm>
            <a:custGeom>
              <a:avLst/>
              <a:gdLst>
                <a:gd name="T0" fmla="*/ 11 w 24"/>
                <a:gd name="T1" fmla="*/ 101 h 101"/>
                <a:gd name="T2" fmla="*/ 8 w 24"/>
                <a:gd name="T3" fmla="*/ 100 h 101"/>
                <a:gd name="T4" fmla="*/ 4 w 24"/>
                <a:gd name="T5" fmla="*/ 98 h 101"/>
                <a:gd name="T6" fmla="*/ 2 w 24"/>
                <a:gd name="T7" fmla="*/ 94 h 101"/>
                <a:gd name="T8" fmla="*/ 0 w 24"/>
                <a:gd name="T9" fmla="*/ 89 h 101"/>
                <a:gd name="T10" fmla="*/ 0 w 24"/>
                <a:gd name="T11" fmla="*/ 13 h 101"/>
                <a:gd name="T12" fmla="*/ 2 w 24"/>
                <a:gd name="T13" fmla="*/ 8 h 101"/>
                <a:gd name="T14" fmla="*/ 4 w 24"/>
                <a:gd name="T15" fmla="*/ 3 h 101"/>
                <a:gd name="T16" fmla="*/ 8 w 24"/>
                <a:gd name="T17" fmla="*/ 1 h 101"/>
                <a:gd name="T18" fmla="*/ 11 w 24"/>
                <a:gd name="T19" fmla="*/ 0 h 101"/>
                <a:gd name="T20" fmla="*/ 16 w 24"/>
                <a:gd name="T21" fmla="*/ 1 h 101"/>
                <a:gd name="T22" fmla="*/ 20 w 24"/>
                <a:gd name="T23" fmla="*/ 3 h 101"/>
                <a:gd name="T24" fmla="*/ 24 w 24"/>
                <a:gd name="T25" fmla="*/ 8 h 101"/>
                <a:gd name="T26" fmla="*/ 24 w 24"/>
                <a:gd name="T27" fmla="*/ 13 h 101"/>
                <a:gd name="T28" fmla="*/ 24 w 24"/>
                <a:gd name="T29" fmla="*/ 89 h 101"/>
                <a:gd name="T30" fmla="*/ 24 w 24"/>
                <a:gd name="T31" fmla="*/ 94 h 101"/>
                <a:gd name="T32" fmla="*/ 20 w 24"/>
                <a:gd name="T33" fmla="*/ 98 h 101"/>
                <a:gd name="T34" fmla="*/ 16 w 24"/>
                <a:gd name="T35" fmla="*/ 100 h 101"/>
                <a:gd name="T36" fmla="*/ 11 w 24"/>
                <a:gd name="T3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01">
                  <a:moveTo>
                    <a:pt x="11" y="101"/>
                  </a:moveTo>
                  <a:lnTo>
                    <a:pt x="8" y="100"/>
                  </a:lnTo>
                  <a:lnTo>
                    <a:pt x="4" y="98"/>
                  </a:lnTo>
                  <a:lnTo>
                    <a:pt x="2" y="94"/>
                  </a:lnTo>
                  <a:lnTo>
                    <a:pt x="0" y="89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4" y="8"/>
                  </a:lnTo>
                  <a:lnTo>
                    <a:pt x="24" y="13"/>
                  </a:lnTo>
                  <a:lnTo>
                    <a:pt x="24" y="89"/>
                  </a:lnTo>
                  <a:lnTo>
                    <a:pt x="24" y="94"/>
                  </a:lnTo>
                  <a:lnTo>
                    <a:pt x="20" y="98"/>
                  </a:lnTo>
                  <a:lnTo>
                    <a:pt x="16" y="100"/>
                  </a:lnTo>
                  <a:lnTo>
                    <a:pt x="11" y="10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3" name="Freeform 273"/>
            <p:cNvSpPr>
              <a:spLocks/>
            </p:cNvSpPr>
            <p:nvPr/>
          </p:nvSpPr>
          <p:spPr bwMode="auto">
            <a:xfrm>
              <a:off x="3354388" y="5492750"/>
              <a:ext cx="96838" cy="58738"/>
            </a:xfrm>
            <a:custGeom>
              <a:avLst/>
              <a:gdLst>
                <a:gd name="T0" fmla="*/ 101 w 246"/>
                <a:gd name="T1" fmla="*/ 0 h 147"/>
                <a:gd name="T2" fmla="*/ 92 w 246"/>
                <a:gd name="T3" fmla="*/ 2 h 147"/>
                <a:gd name="T4" fmla="*/ 83 w 246"/>
                <a:gd name="T5" fmla="*/ 5 h 147"/>
                <a:gd name="T6" fmla="*/ 75 w 246"/>
                <a:gd name="T7" fmla="*/ 8 h 147"/>
                <a:gd name="T8" fmla="*/ 68 w 246"/>
                <a:gd name="T9" fmla="*/ 12 h 147"/>
                <a:gd name="T10" fmla="*/ 53 w 246"/>
                <a:gd name="T11" fmla="*/ 21 h 147"/>
                <a:gd name="T12" fmla="*/ 41 w 246"/>
                <a:gd name="T13" fmla="*/ 31 h 147"/>
                <a:gd name="T14" fmla="*/ 28 w 246"/>
                <a:gd name="T15" fmla="*/ 44 h 147"/>
                <a:gd name="T16" fmla="*/ 19 w 246"/>
                <a:gd name="T17" fmla="*/ 57 h 147"/>
                <a:gd name="T18" fmla="*/ 11 w 246"/>
                <a:gd name="T19" fmla="*/ 73 h 147"/>
                <a:gd name="T20" fmla="*/ 5 w 246"/>
                <a:gd name="T21" fmla="*/ 91 h 147"/>
                <a:gd name="T22" fmla="*/ 3 w 246"/>
                <a:gd name="T23" fmla="*/ 104 h 147"/>
                <a:gd name="T24" fmla="*/ 0 w 246"/>
                <a:gd name="T25" fmla="*/ 119 h 147"/>
                <a:gd name="T26" fmla="*/ 0 w 246"/>
                <a:gd name="T27" fmla="*/ 133 h 147"/>
                <a:gd name="T28" fmla="*/ 0 w 246"/>
                <a:gd name="T29" fmla="*/ 147 h 147"/>
                <a:gd name="T30" fmla="*/ 125 w 246"/>
                <a:gd name="T31" fmla="*/ 147 h 147"/>
                <a:gd name="T32" fmla="*/ 143 w 246"/>
                <a:gd name="T33" fmla="*/ 147 h 147"/>
                <a:gd name="T34" fmla="*/ 185 w 246"/>
                <a:gd name="T35" fmla="*/ 147 h 147"/>
                <a:gd name="T36" fmla="*/ 227 w 246"/>
                <a:gd name="T37" fmla="*/ 147 h 147"/>
                <a:gd name="T38" fmla="*/ 245 w 246"/>
                <a:gd name="T39" fmla="*/ 147 h 147"/>
                <a:gd name="T40" fmla="*/ 246 w 246"/>
                <a:gd name="T41" fmla="*/ 141 h 147"/>
                <a:gd name="T42" fmla="*/ 245 w 246"/>
                <a:gd name="T43" fmla="*/ 126 h 147"/>
                <a:gd name="T44" fmla="*/ 243 w 246"/>
                <a:gd name="T45" fmla="*/ 110 h 147"/>
                <a:gd name="T46" fmla="*/ 240 w 246"/>
                <a:gd name="T47" fmla="*/ 102 h 147"/>
                <a:gd name="T48" fmla="*/ 238 w 246"/>
                <a:gd name="T49" fmla="*/ 86 h 147"/>
                <a:gd name="T50" fmla="*/ 233 w 246"/>
                <a:gd name="T51" fmla="*/ 70 h 147"/>
                <a:gd name="T52" fmla="*/ 226 w 246"/>
                <a:gd name="T53" fmla="*/ 56 h 147"/>
                <a:gd name="T54" fmla="*/ 217 w 246"/>
                <a:gd name="T55" fmla="*/ 43 h 147"/>
                <a:gd name="T56" fmla="*/ 210 w 246"/>
                <a:gd name="T57" fmla="*/ 35 h 147"/>
                <a:gd name="T58" fmla="*/ 202 w 246"/>
                <a:gd name="T59" fmla="*/ 28 h 147"/>
                <a:gd name="T60" fmla="*/ 195 w 246"/>
                <a:gd name="T61" fmla="*/ 22 h 147"/>
                <a:gd name="T62" fmla="*/ 186 w 246"/>
                <a:gd name="T63" fmla="*/ 16 h 147"/>
                <a:gd name="T64" fmla="*/ 177 w 246"/>
                <a:gd name="T65" fmla="*/ 11 h 147"/>
                <a:gd name="T66" fmla="*/ 168 w 246"/>
                <a:gd name="T67" fmla="*/ 7 h 147"/>
                <a:gd name="T68" fmla="*/ 158 w 246"/>
                <a:gd name="T69" fmla="*/ 4 h 147"/>
                <a:gd name="T70" fmla="*/ 148 w 246"/>
                <a:gd name="T71" fmla="*/ 0 h 147"/>
                <a:gd name="T72" fmla="*/ 101 w 246"/>
                <a:gd name="T7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6" h="147">
                  <a:moveTo>
                    <a:pt x="101" y="0"/>
                  </a:moveTo>
                  <a:lnTo>
                    <a:pt x="92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2"/>
                  </a:lnTo>
                  <a:lnTo>
                    <a:pt x="53" y="21"/>
                  </a:lnTo>
                  <a:lnTo>
                    <a:pt x="41" y="31"/>
                  </a:lnTo>
                  <a:lnTo>
                    <a:pt x="28" y="44"/>
                  </a:lnTo>
                  <a:lnTo>
                    <a:pt x="19" y="57"/>
                  </a:lnTo>
                  <a:lnTo>
                    <a:pt x="11" y="73"/>
                  </a:lnTo>
                  <a:lnTo>
                    <a:pt x="5" y="91"/>
                  </a:lnTo>
                  <a:lnTo>
                    <a:pt x="3" y="104"/>
                  </a:lnTo>
                  <a:lnTo>
                    <a:pt x="0" y="119"/>
                  </a:lnTo>
                  <a:lnTo>
                    <a:pt x="0" y="133"/>
                  </a:lnTo>
                  <a:lnTo>
                    <a:pt x="0" y="147"/>
                  </a:lnTo>
                  <a:lnTo>
                    <a:pt x="125" y="147"/>
                  </a:lnTo>
                  <a:lnTo>
                    <a:pt x="143" y="147"/>
                  </a:lnTo>
                  <a:lnTo>
                    <a:pt x="185" y="147"/>
                  </a:lnTo>
                  <a:lnTo>
                    <a:pt x="227" y="147"/>
                  </a:lnTo>
                  <a:lnTo>
                    <a:pt x="245" y="147"/>
                  </a:lnTo>
                  <a:lnTo>
                    <a:pt x="246" y="141"/>
                  </a:lnTo>
                  <a:lnTo>
                    <a:pt x="245" y="126"/>
                  </a:lnTo>
                  <a:lnTo>
                    <a:pt x="243" y="110"/>
                  </a:lnTo>
                  <a:lnTo>
                    <a:pt x="240" y="102"/>
                  </a:lnTo>
                  <a:lnTo>
                    <a:pt x="238" y="86"/>
                  </a:lnTo>
                  <a:lnTo>
                    <a:pt x="233" y="70"/>
                  </a:lnTo>
                  <a:lnTo>
                    <a:pt x="226" y="56"/>
                  </a:lnTo>
                  <a:lnTo>
                    <a:pt x="217" y="43"/>
                  </a:lnTo>
                  <a:lnTo>
                    <a:pt x="210" y="35"/>
                  </a:lnTo>
                  <a:lnTo>
                    <a:pt x="202" y="28"/>
                  </a:lnTo>
                  <a:lnTo>
                    <a:pt x="195" y="22"/>
                  </a:lnTo>
                  <a:lnTo>
                    <a:pt x="186" y="16"/>
                  </a:lnTo>
                  <a:lnTo>
                    <a:pt x="177" y="11"/>
                  </a:lnTo>
                  <a:lnTo>
                    <a:pt x="168" y="7"/>
                  </a:lnTo>
                  <a:lnTo>
                    <a:pt x="158" y="4"/>
                  </a:lnTo>
                  <a:lnTo>
                    <a:pt x="148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4" name="Freeform 274"/>
            <p:cNvSpPr>
              <a:spLocks/>
            </p:cNvSpPr>
            <p:nvPr/>
          </p:nvSpPr>
          <p:spPr bwMode="auto">
            <a:xfrm>
              <a:off x="3348038" y="5487988"/>
              <a:ext cx="107950" cy="68263"/>
            </a:xfrm>
            <a:custGeom>
              <a:avLst/>
              <a:gdLst>
                <a:gd name="T0" fmla="*/ 12 w 271"/>
                <a:gd name="T1" fmla="*/ 171 h 171"/>
                <a:gd name="T2" fmla="*/ 4 w 271"/>
                <a:gd name="T3" fmla="*/ 168 h 171"/>
                <a:gd name="T4" fmla="*/ 0 w 271"/>
                <a:gd name="T5" fmla="*/ 160 h 171"/>
                <a:gd name="T6" fmla="*/ 1 w 271"/>
                <a:gd name="T7" fmla="*/ 128 h 171"/>
                <a:gd name="T8" fmla="*/ 6 w 271"/>
                <a:gd name="T9" fmla="*/ 99 h 171"/>
                <a:gd name="T10" fmla="*/ 12 w 271"/>
                <a:gd name="T11" fmla="*/ 79 h 171"/>
                <a:gd name="T12" fmla="*/ 21 w 271"/>
                <a:gd name="T13" fmla="*/ 62 h 171"/>
                <a:gd name="T14" fmla="*/ 32 w 271"/>
                <a:gd name="T15" fmla="*/ 46 h 171"/>
                <a:gd name="T16" fmla="*/ 44 w 271"/>
                <a:gd name="T17" fmla="*/ 33 h 171"/>
                <a:gd name="T18" fmla="*/ 59 w 271"/>
                <a:gd name="T19" fmla="*/ 21 h 171"/>
                <a:gd name="T20" fmla="*/ 75 w 271"/>
                <a:gd name="T21" fmla="*/ 12 h 171"/>
                <a:gd name="T22" fmla="*/ 92 w 271"/>
                <a:gd name="T23" fmla="*/ 5 h 171"/>
                <a:gd name="T24" fmla="*/ 110 w 271"/>
                <a:gd name="T25" fmla="*/ 0 h 171"/>
                <a:gd name="T26" fmla="*/ 119 w 271"/>
                <a:gd name="T27" fmla="*/ 1 h 171"/>
                <a:gd name="T28" fmla="*/ 124 w 271"/>
                <a:gd name="T29" fmla="*/ 10 h 171"/>
                <a:gd name="T30" fmla="*/ 122 w 271"/>
                <a:gd name="T31" fmla="*/ 18 h 171"/>
                <a:gd name="T32" fmla="*/ 114 w 271"/>
                <a:gd name="T33" fmla="*/ 23 h 171"/>
                <a:gd name="T34" fmla="*/ 86 w 271"/>
                <a:gd name="T35" fmla="*/ 33 h 171"/>
                <a:gd name="T36" fmla="*/ 60 w 271"/>
                <a:gd name="T37" fmla="*/ 51 h 171"/>
                <a:gd name="T38" fmla="*/ 42 w 271"/>
                <a:gd name="T39" fmla="*/ 75 h 171"/>
                <a:gd name="T40" fmla="*/ 29 w 271"/>
                <a:gd name="T41" fmla="*/ 106 h 171"/>
                <a:gd name="T42" fmla="*/ 24 w 271"/>
                <a:gd name="T43" fmla="*/ 126 h 171"/>
                <a:gd name="T44" fmla="*/ 23 w 271"/>
                <a:gd name="T45" fmla="*/ 147 h 171"/>
                <a:gd name="T46" fmla="*/ 245 w 271"/>
                <a:gd name="T47" fmla="*/ 135 h 171"/>
                <a:gd name="T48" fmla="*/ 241 w 271"/>
                <a:gd name="T49" fmla="*/ 113 h 171"/>
                <a:gd name="T50" fmla="*/ 234 w 271"/>
                <a:gd name="T51" fmla="*/ 86 h 171"/>
                <a:gd name="T52" fmla="*/ 219 w 271"/>
                <a:gd name="T53" fmla="*/ 61 h 171"/>
                <a:gd name="T54" fmla="*/ 207 w 271"/>
                <a:gd name="T55" fmla="*/ 49 h 171"/>
                <a:gd name="T56" fmla="*/ 192 w 271"/>
                <a:gd name="T57" fmla="*/ 38 h 171"/>
                <a:gd name="T58" fmla="*/ 175 w 271"/>
                <a:gd name="T59" fmla="*/ 31 h 171"/>
                <a:gd name="T60" fmla="*/ 158 w 271"/>
                <a:gd name="T61" fmla="*/ 24 h 171"/>
                <a:gd name="T62" fmla="*/ 151 w 271"/>
                <a:gd name="T63" fmla="*/ 18 h 171"/>
                <a:gd name="T64" fmla="*/ 148 w 271"/>
                <a:gd name="T65" fmla="*/ 10 h 171"/>
                <a:gd name="T66" fmla="*/ 153 w 271"/>
                <a:gd name="T67" fmla="*/ 4 h 171"/>
                <a:gd name="T68" fmla="*/ 163 w 271"/>
                <a:gd name="T69" fmla="*/ 0 h 171"/>
                <a:gd name="T70" fmla="*/ 185 w 271"/>
                <a:gd name="T71" fmla="*/ 7 h 171"/>
                <a:gd name="T72" fmla="*/ 204 w 271"/>
                <a:gd name="T73" fmla="*/ 17 h 171"/>
                <a:gd name="T74" fmla="*/ 223 w 271"/>
                <a:gd name="T75" fmla="*/ 31 h 171"/>
                <a:gd name="T76" fmla="*/ 239 w 271"/>
                <a:gd name="T77" fmla="*/ 48 h 171"/>
                <a:gd name="T78" fmla="*/ 256 w 271"/>
                <a:gd name="T79" fmla="*/ 76 h 171"/>
                <a:gd name="T80" fmla="*/ 266 w 271"/>
                <a:gd name="T81" fmla="*/ 110 h 171"/>
                <a:gd name="T82" fmla="*/ 269 w 271"/>
                <a:gd name="T83" fmla="*/ 139 h 171"/>
                <a:gd name="T84" fmla="*/ 269 w 271"/>
                <a:gd name="T85" fmla="*/ 162 h 171"/>
                <a:gd name="T86" fmla="*/ 262 w 271"/>
                <a:gd name="T87" fmla="*/ 17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1" h="171">
                  <a:moveTo>
                    <a:pt x="257" y="171"/>
                  </a:moveTo>
                  <a:lnTo>
                    <a:pt x="12" y="171"/>
                  </a:lnTo>
                  <a:lnTo>
                    <a:pt x="7" y="170"/>
                  </a:lnTo>
                  <a:lnTo>
                    <a:pt x="4" y="168"/>
                  </a:lnTo>
                  <a:lnTo>
                    <a:pt x="1" y="164"/>
                  </a:lnTo>
                  <a:lnTo>
                    <a:pt x="0" y="160"/>
                  </a:lnTo>
                  <a:lnTo>
                    <a:pt x="0" y="143"/>
                  </a:lnTo>
                  <a:lnTo>
                    <a:pt x="1" y="128"/>
                  </a:lnTo>
                  <a:lnTo>
                    <a:pt x="2" y="113"/>
                  </a:lnTo>
                  <a:lnTo>
                    <a:pt x="6" y="99"/>
                  </a:lnTo>
                  <a:lnTo>
                    <a:pt x="8" y="89"/>
                  </a:lnTo>
                  <a:lnTo>
                    <a:pt x="12" y="79"/>
                  </a:lnTo>
                  <a:lnTo>
                    <a:pt x="16" y="71"/>
                  </a:lnTo>
                  <a:lnTo>
                    <a:pt x="21" y="62"/>
                  </a:lnTo>
                  <a:lnTo>
                    <a:pt x="26" y="54"/>
                  </a:lnTo>
                  <a:lnTo>
                    <a:pt x="32" y="46"/>
                  </a:lnTo>
                  <a:lnTo>
                    <a:pt x="38" y="39"/>
                  </a:lnTo>
                  <a:lnTo>
                    <a:pt x="44" y="33"/>
                  </a:lnTo>
                  <a:lnTo>
                    <a:pt x="51" y="27"/>
                  </a:lnTo>
                  <a:lnTo>
                    <a:pt x="59" y="21"/>
                  </a:lnTo>
                  <a:lnTo>
                    <a:pt x="66" y="16"/>
                  </a:lnTo>
                  <a:lnTo>
                    <a:pt x="75" y="12"/>
                  </a:lnTo>
                  <a:lnTo>
                    <a:pt x="83" y="8"/>
                  </a:lnTo>
                  <a:lnTo>
                    <a:pt x="92" y="5"/>
                  </a:lnTo>
                  <a:lnTo>
                    <a:pt x="100" y="2"/>
                  </a:lnTo>
                  <a:lnTo>
                    <a:pt x="110" y="0"/>
                  </a:lnTo>
                  <a:lnTo>
                    <a:pt x="115" y="0"/>
                  </a:lnTo>
                  <a:lnTo>
                    <a:pt x="119" y="1"/>
                  </a:lnTo>
                  <a:lnTo>
                    <a:pt x="122" y="5"/>
                  </a:lnTo>
                  <a:lnTo>
                    <a:pt x="124" y="10"/>
                  </a:lnTo>
                  <a:lnTo>
                    <a:pt x="124" y="15"/>
                  </a:lnTo>
                  <a:lnTo>
                    <a:pt x="122" y="18"/>
                  </a:lnTo>
                  <a:lnTo>
                    <a:pt x="119" y="22"/>
                  </a:lnTo>
                  <a:lnTo>
                    <a:pt x="114" y="23"/>
                  </a:lnTo>
                  <a:lnTo>
                    <a:pt x="99" y="27"/>
                  </a:lnTo>
                  <a:lnTo>
                    <a:pt x="86" y="33"/>
                  </a:lnTo>
                  <a:lnTo>
                    <a:pt x="72" y="42"/>
                  </a:lnTo>
                  <a:lnTo>
                    <a:pt x="60" y="51"/>
                  </a:lnTo>
                  <a:lnTo>
                    <a:pt x="50" y="62"/>
                  </a:lnTo>
                  <a:lnTo>
                    <a:pt x="42" y="75"/>
                  </a:lnTo>
                  <a:lnTo>
                    <a:pt x="34" y="89"/>
                  </a:lnTo>
                  <a:lnTo>
                    <a:pt x="29" y="106"/>
                  </a:lnTo>
                  <a:lnTo>
                    <a:pt x="27" y="116"/>
                  </a:lnTo>
                  <a:lnTo>
                    <a:pt x="24" y="126"/>
                  </a:lnTo>
                  <a:lnTo>
                    <a:pt x="24" y="136"/>
                  </a:lnTo>
                  <a:lnTo>
                    <a:pt x="23" y="147"/>
                  </a:lnTo>
                  <a:lnTo>
                    <a:pt x="246" y="147"/>
                  </a:lnTo>
                  <a:lnTo>
                    <a:pt x="245" y="135"/>
                  </a:lnTo>
                  <a:lnTo>
                    <a:pt x="241" y="117"/>
                  </a:lnTo>
                  <a:lnTo>
                    <a:pt x="241" y="113"/>
                  </a:lnTo>
                  <a:lnTo>
                    <a:pt x="239" y="99"/>
                  </a:lnTo>
                  <a:lnTo>
                    <a:pt x="234" y="86"/>
                  </a:lnTo>
                  <a:lnTo>
                    <a:pt x="228" y="73"/>
                  </a:lnTo>
                  <a:lnTo>
                    <a:pt x="219" y="61"/>
                  </a:lnTo>
                  <a:lnTo>
                    <a:pt x="213" y="55"/>
                  </a:lnTo>
                  <a:lnTo>
                    <a:pt x="207" y="49"/>
                  </a:lnTo>
                  <a:lnTo>
                    <a:pt x="200" y="43"/>
                  </a:lnTo>
                  <a:lnTo>
                    <a:pt x="192" y="38"/>
                  </a:lnTo>
                  <a:lnTo>
                    <a:pt x="184" y="33"/>
                  </a:lnTo>
                  <a:lnTo>
                    <a:pt x="175" y="31"/>
                  </a:lnTo>
                  <a:lnTo>
                    <a:pt x="167" y="27"/>
                  </a:lnTo>
                  <a:lnTo>
                    <a:pt x="158" y="24"/>
                  </a:lnTo>
                  <a:lnTo>
                    <a:pt x="153" y="22"/>
                  </a:lnTo>
                  <a:lnTo>
                    <a:pt x="151" y="18"/>
                  </a:lnTo>
                  <a:lnTo>
                    <a:pt x="148" y="15"/>
                  </a:lnTo>
                  <a:lnTo>
                    <a:pt x="148" y="10"/>
                  </a:lnTo>
                  <a:lnTo>
                    <a:pt x="151" y="6"/>
                  </a:lnTo>
                  <a:lnTo>
                    <a:pt x="153" y="4"/>
                  </a:lnTo>
                  <a:lnTo>
                    <a:pt x="158" y="1"/>
                  </a:lnTo>
                  <a:lnTo>
                    <a:pt x="163" y="0"/>
                  </a:lnTo>
                  <a:lnTo>
                    <a:pt x="174" y="4"/>
                  </a:lnTo>
                  <a:lnTo>
                    <a:pt x="185" y="7"/>
                  </a:lnTo>
                  <a:lnTo>
                    <a:pt x="195" y="12"/>
                  </a:lnTo>
                  <a:lnTo>
                    <a:pt x="204" y="17"/>
                  </a:lnTo>
                  <a:lnTo>
                    <a:pt x="214" y="23"/>
                  </a:lnTo>
                  <a:lnTo>
                    <a:pt x="223" y="31"/>
                  </a:lnTo>
                  <a:lnTo>
                    <a:pt x="231" y="39"/>
                  </a:lnTo>
                  <a:lnTo>
                    <a:pt x="239" y="48"/>
                  </a:lnTo>
                  <a:lnTo>
                    <a:pt x="249" y="61"/>
                  </a:lnTo>
                  <a:lnTo>
                    <a:pt x="256" y="76"/>
                  </a:lnTo>
                  <a:lnTo>
                    <a:pt x="262" y="93"/>
                  </a:lnTo>
                  <a:lnTo>
                    <a:pt x="266" y="110"/>
                  </a:lnTo>
                  <a:lnTo>
                    <a:pt x="266" y="115"/>
                  </a:lnTo>
                  <a:lnTo>
                    <a:pt x="269" y="139"/>
                  </a:lnTo>
                  <a:lnTo>
                    <a:pt x="271" y="154"/>
                  </a:lnTo>
                  <a:lnTo>
                    <a:pt x="269" y="162"/>
                  </a:lnTo>
                  <a:lnTo>
                    <a:pt x="267" y="166"/>
                  </a:lnTo>
                  <a:lnTo>
                    <a:pt x="262" y="170"/>
                  </a:lnTo>
                  <a:lnTo>
                    <a:pt x="257" y="17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5" name="Freeform 275"/>
            <p:cNvSpPr>
              <a:spLocks/>
            </p:cNvSpPr>
            <p:nvPr/>
          </p:nvSpPr>
          <p:spPr bwMode="auto">
            <a:xfrm>
              <a:off x="3392488" y="5481638"/>
              <a:ext cx="20638" cy="34925"/>
            </a:xfrm>
            <a:custGeom>
              <a:avLst/>
              <a:gdLst>
                <a:gd name="T0" fmla="*/ 43 w 50"/>
                <a:gd name="T1" fmla="*/ 87 h 87"/>
                <a:gd name="T2" fmla="*/ 8 w 50"/>
                <a:gd name="T3" fmla="*/ 87 h 87"/>
                <a:gd name="T4" fmla="*/ 0 w 50"/>
                <a:gd name="T5" fmla="*/ 0 h 87"/>
                <a:gd name="T6" fmla="*/ 50 w 50"/>
                <a:gd name="T7" fmla="*/ 0 h 87"/>
                <a:gd name="T8" fmla="*/ 43 w 50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87">
                  <a:moveTo>
                    <a:pt x="43" y="87"/>
                  </a:moveTo>
                  <a:lnTo>
                    <a:pt x="8" y="87"/>
                  </a:lnTo>
                  <a:lnTo>
                    <a:pt x="0" y="0"/>
                  </a:lnTo>
                  <a:lnTo>
                    <a:pt x="50" y="0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6" name="Freeform 276"/>
            <p:cNvSpPr>
              <a:spLocks noEditPoints="1"/>
            </p:cNvSpPr>
            <p:nvPr/>
          </p:nvSpPr>
          <p:spPr bwMode="auto">
            <a:xfrm>
              <a:off x="3387725" y="5476875"/>
              <a:ext cx="30163" cy="44450"/>
            </a:xfrm>
            <a:custGeom>
              <a:avLst/>
              <a:gdLst>
                <a:gd name="T0" fmla="*/ 31 w 75"/>
                <a:gd name="T1" fmla="*/ 88 h 110"/>
                <a:gd name="T2" fmla="*/ 44 w 75"/>
                <a:gd name="T3" fmla="*/ 88 h 110"/>
                <a:gd name="T4" fmla="*/ 49 w 75"/>
                <a:gd name="T5" fmla="*/ 25 h 110"/>
                <a:gd name="T6" fmla="*/ 24 w 75"/>
                <a:gd name="T7" fmla="*/ 25 h 110"/>
                <a:gd name="T8" fmla="*/ 31 w 75"/>
                <a:gd name="T9" fmla="*/ 88 h 110"/>
                <a:gd name="T10" fmla="*/ 55 w 75"/>
                <a:gd name="T11" fmla="*/ 110 h 110"/>
                <a:gd name="T12" fmla="*/ 20 w 75"/>
                <a:gd name="T13" fmla="*/ 110 h 110"/>
                <a:gd name="T14" fmla="*/ 15 w 75"/>
                <a:gd name="T15" fmla="*/ 110 h 110"/>
                <a:gd name="T16" fmla="*/ 11 w 75"/>
                <a:gd name="T17" fmla="*/ 107 h 110"/>
                <a:gd name="T18" fmla="*/ 8 w 75"/>
                <a:gd name="T19" fmla="*/ 104 h 110"/>
                <a:gd name="T20" fmla="*/ 7 w 75"/>
                <a:gd name="T21" fmla="*/ 99 h 110"/>
                <a:gd name="T22" fmla="*/ 0 w 75"/>
                <a:gd name="T23" fmla="*/ 13 h 110"/>
                <a:gd name="T24" fmla="*/ 0 w 75"/>
                <a:gd name="T25" fmla="*/ 11 h 110"/>
                <a:gd name="T26" fmla="*/ 1 w 75"/>
                <a:gd name="T27" fmla="*/ 8 h 110"/>
                <a:gd name="T28" fmla="*/ 2 w 75"/>
                <a:gd name="T29" fmla="*/ 6 h 110"/>
                <a:gd name="T30" fmla="*/ 4 w 75"/>
                <a:gd name="T31" fmla="*/ 4 h 110"/>
                <a:gd name="T32" fmla="*/ 7 w 75"/>
                <a:gd name="T33" fmla="*/ 1 h 110"/>
                <a:gd name="T34" fmla="*/ 12 w 75"/>
                <a:gd name="T35" fmla="*/ 0 h 110"/>
                <a:gd name="T36" fmla="*/ 62 w 75"/>
                <a:gd name="T37" fmla="*/ 0 h 110"/>
                <a:gd name="T38" fmla="*/ 67 w 75"/>
                <a:gd name="T39" fmla="*/ 1 h 110"/>
                <a:gd name="T40" fmla="*/ 71 w 75"/>
                <a:gd name="T41" fmla="*/ 4 h 110"/>
                <a:gd name="T42" fmla="*/ 73 w 75"/>
                <a:gd name="T43" fmla="*/ 8 h 110"/>
                <a:gd name="T44" fmla="*/ 75 w 75"/>
                <a:gd name="T45" fmla="*/ 13 h 110"/>
                <a:gd name="T46" fmla="*/ 67 w 75"/>
                <a:gd name="T47" fmla="*/ 99 h 110"/>
                <a:gd name="T48" fmla="*/ 66 w 75"/>
                <a:gd name="T49" fmla="*/ 104 h 110"/>
                <a:gd name="T50" fmla="*/ 64 w 75"/>
                <a:gd name="T51" fmla="*/ 107 h 110"/>
                <a:gd name="T52" fmla="*/ 60 w 75"/>
                <a:gd name="T53" fmla="*/ 110 h 110"/>
                <a:gd name="T54" fmla="*/ 55 w 75"/>
                <a:gd name="T5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" h="110">
                  <a:moveTo>
                    <a:pt x="31" y="88"/>
                  </a:moveTo>
                  <a:lnTo>
                    <a:pt x="44" y="88"/>
                  </a:lnTo>
                  <a:lnTo>
                    <a:pt x="49" y="25"/>
                  </a:lnTo>
                  <a:lnTo>
                    <a:pt x="24" y="25"/>
                  </a:lnTo>
                  <a:lnTo>
                    <a:pt x="31" y="88"/>
                  </a:lnTo>
                  <a:close/>
                  <a:moveTo>
                    <a:pt x="55" y="110"/>
                  </a:moveTo>
                  <a:lnTo>
                    <a:pt x="20" y="110"/>
                  </a:lnTo>
                  <a:lnTo>
                    <a:pt x="15" y="110"/>
                  </a:lnTo>
                  <a:lnTo>
                    <a:pt x="11" y="107"/>
                  </a:lnTo>
                  <a:lnTo>
                    <a:pt x="8" y="104"/>
                  </a:lnTo>
                  <a:lnTo>
                    <a:pt x="7" y="99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1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62" y="0"/>
                  </a:lnTo>
                  <a:lnTo>
                    <a:pt x="67" y="1"/>
                  </a:lnTo>
                  <a:lnTo>
                    <a:pt x="71" y="4"/>
                  </a:lnTo>
                  <a:lnTo>
                    <a:pt x="73" y="8"/>
                  </a:lnTo>
                  <a:lnTo>
                    <a:pt x="75" y="13"/>
                  </a:lnTo>
                  <a:lnTo>
                    <a:pt x="67" y="99"/>
                  </a:lnTo>
                  <a:lnTo>
                    <a:pt x="66" y="104"/>
                  </a:lnTo>
                  <a:lnTo>
                    <a:pt x="64" y="107"/>
                  </a:lnTo>
                  <a:lnTo>
                    <a:pt x="60" y="110"/>
                  </a:lnTo>
                  <a:lnTo>
                    <a:pt x="55" y="11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7" name="Freeform 277"/>
            <p:cNvSpPr>
              <a:spLocks/>
            </p:cNvSpPr>
            <p:nvPr/>
          </p:nvSpPr>
          <p:spPr bwMode="auto">
            <a:xfrm>
              <a:off x="3341688" y="5546725"/>
              <a:ext cx="120650" cy="9525"/>
            </a:xfrm>
            <a:custGeom>
              <a:avLst/>
              <a:gdLst>
                <a:gd name="T0" fmla="*/ 290 w 303"/>
                <a:gd name="T1" fmla="*/ 24 h 24"/>
                <a:gd name="T2" fmla="*/ 11 w 303"/>
                <a:gd name="T3" fmla="*/ 24 h 24"/>
                <a:gd name="T4" fmla="*/ 6 w 303"/>
                <a:gd name="T5" fmla="*/ 23 h 24"/>
                <a:gd name="T6" fmla="*/ 2 w 303"/>
                <a:gd name="T7" fmla="*/ 19 h 24"/>
                <a:gd name="T8" fmla="*/ 0 w 303"/>
                <a:gd name="T9" fmla="*/ 16 h 24"/>
                <a:gd name="T10" fmla="*/ 0 w 303"/>
                <a:gd name="T11" fmla="*/ 11 h 24"/>
                <a:gd name="T12" fmla="*/ 0 w 303"/>
                <a:gd name="T13" fmla="*/ 6 h 24"/>
                <a:gd name="T14" fmla="*/ 2 w 303"/>
                <a:gd name="T15" fmla="*/ 2 h 24"/>
                <a:gd name="T16" fmla="*/ 6 w 303"/>
                <a:gd name="T17" fmla="*/ 0 h 24"/>
                <a:gd name="T18" fmla="*/ 11 w 303"/>
                <a:gd name="T19" fmla="*/ 0 h 24"/>
                <a:gd name="T20" fmla="*/ 290 w 303"/>
                <a:gd name="T21" fmla="*/ 0 h 24"/>
                <a:gd name="T22" fmla="*/ 295 w 303"/>
                <a:gd name="T23" fmla="*/ 0 h 24"/>
                <a:gd name="T24" fmla="*/ 299 w 303"/>
                <a:gd name="T25" fmla="*/ 2 h 24"/>
                <a:gd name="T26" fmla="*/ 301 w 303"/>
                <a:gd name="T27" fmla="*/ 6 h 24"/>
                <a:gd name="T28" fmla="*/ 303 w 303"/>
                <a:gd name="T29" fmla="*/ 11 h 24"/>
                <a:gd name="T30" fmla="*/ 301 w 303"/>
                <a:gd name="T31" fmla="*/ 16 h 24"/>
                <a:gd name="T32" fmla="*/ 299 w 303"/>
                <a:gd name="T33" fmla="*/ 19 h 24"/>
                <a:gd name="T34" fmla="*/ 295 w 303"/>
                <a:gd name="T35" fmla="*/ 23 h 24"/>
                <a:gd name="T36" fmla="*/ 290 w 303"/>
                <a:gd name="T3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3" h="24">
                  <a:moveTo>
                    <a:pt x="290" y="24"/>
                  </a:moveTo>
                  <a:lnTo>
                    <a:pt x="11" y="24"/>
                  </a:lnTo>
                  <a:lnTo>
                    <a:pt x="6" y="23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lnTo>
                    <a:pt x="290" y="0"/>
                  </a:lnTo>
                  <a:lnTo>
                    <a:pt x="295" y="0"/>
                  </a:lnTo>
                  <a:lnTo>
                    <a:pt x="299" y="2"/>
                  </a:lnTo>
                  <a:lnTo>
                    <a:pt x="301" y="6"/>
                  </a:lnTo>
                  <a:lnTo>
                    <a:pt x="303" y="11"/>
                  </a:lnTo>
                  <a:lnTo>
                    <a:pt x="301" y="16"/>
                  </a:lnTo>
                  <a:lnTo>
                    <a:pt x="299" y="19"/>
                  </a:lnTo>
                  <a:lnTo>
                    <a:pt x="295" y="23"/>
                  </a:lnTo>
                  <a:lnTo>
                    <a:pt x="290" y="2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8" name="Freeform 278"/>
            <p:cNvSpPr>
              <a:spLocks noEditPoints="1"/>
            </p:cNvSpPr>
            <p:nvPr/>
          </p:nvSpPr>
          <p:spPr bwMode="auto">
            <a:xfrm>
              <a:off x="3365500" y="5559425"/>
              <a:ext cx="34925" cy="28575"/>
            </a:xfrm>
            <a:custGeom>
              <a:avLst/>
              <a:gdLst>
                <a:gd name="T0" fmla="*/ 34 w 88"/>
                <a:gd name="T1" fmla="*/ 24 h 70"/>
                <a:gd name="T2" fmla="*/ 30 w 88"/>
                <a:gd name="T3" fmla="*/ 26 h 70"/>
                <a:gd name="T4" fmla="*/ 27 w 88"/>
                <a:gd name="T5" fmla="*/ 28 h 70"/>
                <a:gd name="T6" fmla="*/ 24 w 88"/>
                <a:gd name="T7" fmla="*/ 31 h 70"/>
                <a:gd name="T8" fmla="*/ 23 w 88"/>
                <a:gd name="T9" fmla="*/ 34 h 70"/>
                <a:gd name="T10" fmla="*/ 24 w 88"/>
                <a:gd name="T11" fmla="*/ 39 h 70"/>
                <a:gd name="T12" fmla="*/ 27 w 88"/>
                <a:gd name="T13" fmla="*/ 42 h 70"/>
                <a:gd name="T14" fmla="*/ 30 w 88"/>
                <a:gd name="T15" fmla="*/ 44 h 70"/>
                <a:gd name="T16" fmla="*/ 34 w 88"/>
                <a:gd name="T17" fmla="*/ 45 h 70"/>
                <a:gd name="T18" fmla="*/ 53 w 88"/>
                <a:gd name="T19" fmla="*/ 45 h 70"/>
                <a:gd name="T20" fmla="*/ 57 w 88"/>
                <a:gd name="T21" fmla="*/ 44 h 70"/>
                <a:gd name="T22" fmla="*/ 61 w 88"/>
                <a:gd name="T23" fmla="*/ 42 h 70"/>
                <a:gd name="T24" fmla="*/ 63 w 88"/>
                <a:gd name="T25" fmla="*/ 39 h 70"/>
                <a:gd name="T26" fmla="*/ 63 w 88"/>
                <a:gd name="T27" fmla="*/ 34 h 70"/>
                <a:gd name="T28" fmla="*/ 63 w 88"/>
                <a:gd name="T29" fmla="*/ 31 h 70"/>
                <a:gd name="T30" fmla="*/ 61 w 88"/>
                <a:gd name="T31" fmla="*/ 28 h 70"/>
                <a:gd name="T32" fmla="*/ 57 w 88"/>
                <a:gd name="T33" fmla="*/ 26 h 70"/>
                <a:gd name="T34" fmla="*/ 53 w 88"/>
                <a:gd name="T35" fmla="*/ 24 h 70"/>
                <a:gd name="T36" fmla="*/ 34 w 88"/>
                <a:gd name="T37" fmla="*/ 24 h 70"/>
                <a:gd name="T38" fmla="*/ 53 w 88"/>
                <a:gd name="T39" fmla="*/ 70 h 70"/>
                <a:gd name="T40" fmla="*/ 34 w 88"/>
                <a:gd name="T41" fmla="*/ 70 h 70"/>
                <a:gd name="T42" fmla="*/ 27 w 88"/>
                <a:gd name="T43" fmla="*/ 70 h 70"/>
                <a:gd name="T44" fmla="*/ 20 w 88"/>
                <a:gd name="T45" fmla="*/ 67 h 70"/>
                <a:gd name="T46" fmla="*/ 14 w 88"/>
                <a:gd name="T47" fmla="*/ 64 h 70"/>
                <a:gd name="T48" fmla="*/ 9 w 88"/>
                <a:gd name="T49" fmla="*/ 60 h 70"/>
                <a:gd name="T50" fmla="*/ 4 w 88"/>
                <a:gd name="T51" fmla="*/ 54 h 70"/>
                <a:gd name="T52" fmla="*/ 2 w 88"/>
                <a:gd name="T53" fmla="*/ 48 h 70"/>
                <a:gd name="T54" fmla="*/ 0 w 88"/>
                <a:gd name="T55" fmla="*/ 42 h 70"/>
                <a:gd name="T56" fmla="*/ 0 w 88"/>
                <a:gd name="T57" fmla="*/ 34 h 70"/>
                <a:gd name="T58" fmla="*/ 0 w 88"/>
                <a:gd name="T59" fmla="*/ 27 h 70"/>
                <a:gd name="T60" fmla="*/ 2 w 88"/>
                <a:gd name="T61" fmla="*/ 21 h 70"/>
                <a:gd name="T62" fmla="*/ 4 w 88"/>
                <a:gd name="T63" fmla="*/ 16 h 70"/>
                <a:gd name="T64" fmla="*/ 9 w 88"/>
                <a:gd name="T65" fmla="*/ 10 h 70"/>
                <a:gd name="T66" fmla="*/ 14 w 88"/>
                <a:gd name="T67" fmla="*/ 6 h 70"/>
                <a:gd name="T68" fmla="*/ 20 w 88"/>
                <a:gd name="T69" fmla="*/ 2 h 70"/>
                <a:gd name="T70" fmla="*/ 27 w 88"/>
                <a:gd name="T71" fmla="*/ 1 h 70"/>
                <a:gd name="T72" fmla="*/ 34 w 88"/>
                <a:gd name="T73" fmla="*/ 0 h 70"/>
                <a:gd name="T74" fmla="*/ 53 w 88"/>
                <a:gd name="T75" fmla="*/ 0 h 70"/>
                <a:gd name="T76" fmla="*/ 60 w 88"/>
                <a:gd name="T77" fmla="*/ 1 h 70"/>
                <a:gd name="T78" fmla="*/ 67 w 88"/>
                <a:gd name="T79" fmla="*/ 2 h 70"/>
                <a:gd name="T80" fmla="*/ 72 w 88"/>
                <a:gd name="T81" fmla="*/ 6 h 70"/>
                <a:gd name="T82" fmla="*/ 78 w 88"/>
                <a:gd name="T83" fmla="*/ 10 h 70"/>
                <a:gd name="T84" fmla="*/ 82 w 88"/>
                <a:gd name="T85" fmla="*/ 16 h 70"/>
                <a:gd name="T86" fmla="*/ 85 w 88"/>
                <a:gd name="T87" fmla="*/ 21 h 70"/>
                <a:gd name="T88" fmla="*/ 87 w 88"/>
                <a:gd name="T89" fmla="*/ 27 h 70"/>
                <a:gd name="T90" fmla="*/ 88 w 88"/>
                <a:gd name="T91" fmla="*/ 34 h 70"/>
                <a:gd name="T92" fmla="*/ 87 w 88"/>
                <a:gd name="T93" fmla="*/ 42 h 70"/>
                <a:gd name="T94" fmla="*/ 85 w 88"/>
                <a:gd name="T95" fmla="*/ 48 h 70"/>
                <a:gd name="T96" fmla="*/ 82 w 88"/>
                <a:gd name="T97" fmla="*/ 54 h 70"/>
                <a:gd name="T98" fmla="*/ 78 w 88"/>
                <a:gd name="T99" fmla="*/ 60 h 70"/>
                <a:gd name="T100" fmla="*/ 72 w 88"/>
                <a:gd name="T101" fmla="*/ 64 h 70"/>
                <a:gd name="T102" fmla="*/ 67 w 88"/>
                <a:gd name="T103" fmla="*/ 67 h 70"/>
                <a:gd name="T104" fmla="*/ 60 w 88"/>
                <a:gd name="T105" fmla="*/ 70 h 70"/>
                <a:gd name="T106" fmla="*/ 53 w 88"/>
                <a:gd name="T10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70">
                  <a:moveTo>
                    <a:pt x="34" y="24"/>
                  </a:moveTo>
                  <a:lnTo>
                    <a:pt x="30" y="26"/>
                  </a:lnTo>
                  <a:lnTo>
                    <a:pt x="27" y="28"/>
                  </a:lnTo>
                  <a:lnTo>
                    <a:pt x="24" y="31"/>
                  </a:lnTo>
                  <a:lnTo>
                    <a:pt x="23" y="34"/>
                  </a:lnTo>
                  <a:lnTo>
                    <a:pt x="24" y="39"/>
                  </a:lnTo>
                  <a:lnTo>
                    <a:pt x="27" y="42"/>
                  </a:lnTo>
                  <a:lnTo>
                    <a:pt x="30" y="44"/>
                  </a:lnTo>
                  <a:lnTo>
                    <a:pt x="34" y="45"/>
                  </a:lnTo>
                  <a:lnTo>
                    <a:pt x="53" y="45"/>
                  </a:lnTo>
                  <a:lnTo>
                    <a:pt x="57" y="44"/>
                  </a:lnTo>
                  <a:lnTo>
                    <a:pt x="61" y="42"/>
                  </a:lnTo>
                  <a:lnTo>
                    <a:pt x="63" y="39"/>
                  </a:lnTo>
                  <a:lnTo>
                    <a:pt x="63" y="34"/>
                  </a:lnTo>
                  <a:lnTo>
                    <a:pt x="63" y="31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3" y="24"/>
                  </a:lnTo>
                  <a:lnTo>
                    <a:pt x="34" y="24"/>
                  </a:lnTo>
                  <a:close/>
                  <a:moveTo>
                    <a:pt x="53" y="70"/>
                  </a:moveTo>
                  <a:lnTo>
                    <a:pt x="34" y="70"/>
                  </a:lnTo>
                  <a:lnTo>
                    <a:pt x="27" y="70"/>
                  </a:lnTo>
                  <a:lnTo>
                    <a:pt x="20" y="67"/>
                  </a:lnTo>
                  <a:lnTo>
                    <a:pt x="14" y="64"/>
                  </a:lnTo>
                  <a:lnTo>
                    <a:pt x="9" y="60"/>
                  </a:lnTo>
                  <a:lnTo>
                    <a:pt x="4" y="54"/>
                  </a:lnTo>
                  <a:lnTo>
                    <a:pt x="2" y="48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1"/>
                  </a:lnTo>
                  <a:lnTo>
                    <a:pt x="4" y="16"/>
                  </a:lnTo>
                  <a:lnTo>
                    <a:pt x="9" y="10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53" y="0"/>
                  </a:lnTo>
                  <a:lnTo>
                    <a:pt x="60" y="1"/>
                  </a:lnTo>
                  <a:lnTo>
                    <a:pt x="67" y="2"/>
                  </a:lnTo>
                  <a:lnTo>
                    <a:pt x="72" y="6"/>
                  </a:lnTo>
                  <a:lnTo>
                    <a:pt x="78" y="10"/>
                  </a:lnTo>
                  <a:lnTo>
                    <a:pt x="82" y="16"/>
                  </a:lnTo>
                  <a:lnTo>
                    <a:pt x="85" y="21"/>
                  </a:lnTo>
                  <a:lnTo>
                    <a:pt x="87" y="27"/>
                  </a:lnTo>
                  <a:lnTo>
                    <a:pt x="88" y="34"/>
                  </a:lnTo>
                  <a:lnTo>
                    <a:pt x="87" y="42"/>
                  </a:lnTo>
                  <a:lnTo>
                    <a:pt x="85" y="48"/>
                  </a:lnTo>
                  <a:lnTo>
                    <a:pt x="82" y="54"/>
                  </a:lnTo>
                  <a:lnTo>
                    <a:pt x="78" y="60"/>
                  </a:lnTo>
                  <a:lnTo>
                    <a:pt x="72" y="64"/>
                  </a:lnTo>
                  <a:lnTo>
                    <a:pt x="67" y="67"/>
                  </a:lnTo>
                  <a:lnTo>
                    <a:pt x="60" y="70"/>
                  </a:lnTo>
                  <a:lnTo>
                    <a:pt x="53" y="7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89" name="Freeform 279"/>
            <p:cNvSpPr>
              <a:spLocks noEditPoints="1"/>
            </p:cNvSpPr>
            <p:nvPr/>
          </p:nvSpPr>
          <p:spPr bwMode="auto">
            <a:xfrm>
              <a:off x="3405188" y="5559425"/>
              <a:ext cx="34925" cy="28575"/>
            </a:xfrm>
            <a:custGeom>
              <a:avLst/>
              <a:gdLst>
                <a:gd name="T0" fmla="*/ 34 w 88"/>
                <a:gd name="T1" fmla="*/ 24 h 70"/>
                <a:gd name="T2" fmla="*/ 29 w 88"/>
                <a:gd name="T3" fmla="*/ 26 h 70"/>
                <a:gd name="T4" fmla="*/ 27 w 88"/>
                <a:gd name="T5" fmla="*/ 28 h 70"/>
                <a:gd name="T6" fmla="*/ 24 w 88"/>
                <a:gd name="T7" fmla="*/ 31 h 70"/>
                <a:gd name="T8" fmla="*/ 23 w 88"/>
                <a:gd name="T9" fmla="*/ 34 h 70"/>
                <a:gd name="T10" fmla="*/ 24 w 88"/>
                <a:gd name="T11" fmla="*/ 39 h 70"/>
                <a:gd name="T12" fmla="*/ 27 w 88"/>
                <a:gd name="T13" fmla="*/ 42 h 70"/>
                <a:gd name="T14" fmla="*/ 29 w 88"/>
                <a:gd name="T15" fmla="*/ 44 h 70"/>
                <a:gd name="T16" fmla="*/ 34 w 88"/>
                <a:gd name="T17" fmla="*/ 45 h 70"/>
                <a:gd name="T18" fmla="*/ 54 w 88"/>
                <a:gd name="T19" fmla="*/ 45 h 70"/>
                <a:gd name="T20" fmla="*/ 57 w 88"/>
                <a:gd name="T21" fmla="*/ 44 h 70"/>
                <a:gd name="T22" fmla="*/ 61 w 88"/>
                <a:gd name="T23" fmla="*/ 42 h 70"/>
                <a:gd name="T24" fmla="*/ 63 w 88"/>
                <a:gd name="T25" fmla="*/ 39 h 70"/>
                <a:gd name="T26" fmla="*/ 63 w 88"/>
                <a:gd name="T27" fmla="*/ 34 h 70"/>
                <a:gd name="T28" fmla="*/ 63 w 88"/>
                <a:gd name="T29" fmla="*/ 31 h 70"/>
                <a:gd name="T30" fmla="*/ 61 w 88"/>
                <a:gd name="T31" fmla="*/ 28 h 70"/>
                <a:gd name="T32" fmla="*/ 57 w 88"/>
                <a:gd name="T33" fmla="*/ 26 h 70"/>
                <a:gd name="T34" fmla="*/ 54 w 88"/>
                <a:gd name="T35" fmla="*/ 24 h 70"/>
                <a:gd name="T36" fmla="*/ 34 w 88"/>
                <a:gd name="T37" fmla="*/ 24 h 70"/>
                <a:gd name="T38" fmla="*/ 54 w 88"/>
                <a:gd name="T39" fmla="*/ 70 h 70"/>
                <a:gd name="T40" fmla="*/ 34 w 88"/>
                <a:gd name="T41" fmla="*/ 70 h 70"/>
                <a:gd name="T42" fmla="*/ 27 w 88"/>
                <a:gd name="T43" fmla="*/ 70 h 70"/>
                <a:gd name="T44" fmla="*/ 21 w 88"/>
                <a:gd name="T45" fmla="*/ 67 h 70"/>
                <a:gd name="T46" fmla="*/ 14 w 88"/>
                <a:gd name="T47" fmla="*/ 64 h 70"/>
                <a:gd name="T48" fmla="*/ 10 w 88"/>
                <a:gd name="T49" fmla="*/ 60 h 70"/>
                <a:gd name="T50" fmla="*/ 5 w 88"/>
                <a:gd name="T51" fmla="*/ 54 h 70"/>
                <a:gd name="T52" fmla="*/ 2 w 88"/>
                <a:gd name="T53" fmla="*/ 48 h 70"/>
                <a:gd name="T54" fmla="*/ 0 w 88"/>
                <a:gd name="T55" fmla="*/ 42 h 70"/>
                <a:gd name="T56" fmla="*/ 0 w 88"/>
                <a:gd name="T57" fmla="*/ 34 h 70"/>
                <a:gd name="T58" fmla="*/ 0 w 88"/>
                <a:gd name="T59" fmla="*/ 27 h 70"/>
                <a:gd name="T60" fmla="*/ 2 w 88"/>
                <a:gd name="T61" fmla="*/ 21 h 70"/>
                <a:gd name="T62" fmla="*/ 5 w 88"/>
                <a:gd name="T63" fmla="*/ 16 h 70"/>
                <a:gd name="T64" fmla="*/ 10 w 88"/>
                <a:gd name="T65" fmla="*/ 10 h 70"/>
                <a:gd name="T66" fmla="*/ 14 w 88"/>
                <a:gd name="T67" fmla="*/ 6 h 70"/>
                <a:gd name="T68" fmla="*/ 21 w 88"/>
                <a:gd name="T69" fmla="*/ 2 h 70"/>
                <a:gd name="T70" fmla="*/ 27 w 88"/>
                <a:gd name="T71" fmla="*/ 1 h 70"/>
                <a:gd name="T72" fmla="*/ 34 w 88"/>
                <a:gd name="T73" fmla="*/ 0 h 70"/>
                <a:gd name="T74" fmla="*/ 54 w 88"/>
                <a:gd name="T75" fmla="*/ 0 h 70"/>
                <a:gd name="T76" fmla="*/ 60 w 88"/>
                <a:gd name="T77" fmla="*/ 1 h 70"/>
                <a:gd name="T78" fmla="*/ 67 w 88"/>
                <a:gd name="T79" fmla="*/ 2 h 70"/>
                <a:gd name="T80" fmla="*/ 72 w 88"/>
                <a:gd name="T81" fmla="*/ 6 h 70"/>
                <a:gd name="T82" fmla="*/ 78 w 88"/>
                <a:gd name="T83" fmla="*/ 10 h 70"/>
                <a:gd name="T84" fmla="*/ 82 w 88"/>
                <a:gd name="T85" fmla="*/ 16 h 70"/>
                <a:gd name="T86" fmla="*/ 86 w 88"/>
                <a:gd name="T87" fmla="*/ 21 h 70"/>
                <a:gd name="T88" fmla="*/ 87 w 88"/>
                <a:gd name="T89" fmla="*/ 27 h 70"/>
                <a:gd name="T90" fmla="*/ 88 w 88"/>
                <a:gd name="T91" fmla="*/ 34 h 70"/>
                <a:gd name="T92" fmla="*/ 87 w 88"/>
                <a:gd name="T93" fmla="*/ 42 h 70"/>
                <a:gd name="T94" fmla="*/ 86 w 88"/>
                <a:gd name="T95" fmla="*/ 48 h 70"/>
                <a:gd name="T96" fmla="*/ 82 w 88"/>
                <a:gd name="T97" fmla="*/ 54 h 70"/>
                <a:gd name="T98" fmla="*/ 78 w 88"/>
                <a:gd name="T99" fmla="*/ 60 h 70"/>
                <a:gd name="T100" fmla="*/ 72 w 88"/>
                <a:gd name="T101" fmla="*/ 64 h 70"/>
                <a:gd name="T102" fmla="*/ 67 w 88"/>
                <a:gd name="T103" fmla="*/ 67 h 70"/>
                <a:gd name="T104" fmla="*/ 60 w 88"/>
                <a:gd name="T105" fmla="*/ 70 h 70"/>
                <a:gd name="T106" fmla="*/ 54 w 88"/>
                <a:gd name="T10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70">
                  <a:moveTo>
                    <a:pt x="34" y="24"/>
                  </a:moveTo>
                  <a:lnTo>
                    <a:pt x="29" y="26"/>
                  </a:lnTo>
                  <a:lnTo>
                    <a:pt x="27" y="28"/>
                  </a:lnTo>
                  <a:lnTo>
                    <a:pt x="24" y="31"/>
                  </a:lnTo>
                  <a:lnTo>
                    <a:pt x="23" y="34"/>
                  </a:lnTo>
                  <a:lnTo>
                    <a:pt x="24" y="39"/>
                  </a:lnTo>
                  <a:lnTo>
                    <a:pt x="27" y="42"/>
                  </a:lnTo>
                  <a:lnTo>
                    <a:pt x="29" y="44"/>
                  </a:lnTo>
                  <a:lnTo>
                    <a:pt x="34" y="45"/>
                  </a:lnTo>
                  <a:lnTo>
                    <a:pt x="54" y="45"/>
                  </a:lnTo>
                  <a:lnTo>
                    <a:pt x="57" y="44"/>
                  </a:lnTo>
                  <a:lnTo>
                    <a:pt x="61" y="42"/>
                  </a:lnTo>
                  <a:lnTo>
                    <a:pt x="63" y="39"/>
                  </a:lnTo>
                  <a:lnTo>
                    <a:pt x="63" y="34"/>
                  </a:lnTo>
                  <a:lnTo>
                    <a:pt x="63" y="31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4" y="24"/>
                  </a:lnTo>
                  <a:lnTo>
                    <a:pt x="34" y="24"/>
                  </a:lnTo>
                  <a:close/>
                  <a:moveTo>
                    <a:pt x="54" y="70"/>
                  </a:moveTo>
                  <a:lnTo>
                    <a:pt x="34" y="70"/>
                  </a:lnTo>
                  <a:lnTo>
                    <a:pt x="27" y="70"/>
                  </a:lnTo>
                  <a:lnTo>
                    <a:pt x="21" y="67"/>
                  </a:lnTo>
                  <a:lnTo>
                    <a:pt x="14" y="64"/>
                  </a:lnTo>
                  <a:lnTo>
                    <a:pt x="10" y="60"/>
                  </a:lnTo>
                  <a:lnTo>
                    <a:pt x="5" y="54"/>
                  </a:lnTo>
                  <a:lnTo>
                    <a:pt x="2" y="48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1"/>
                  </a:lnTo>
                  <a:lnTo>
                    <a:pt x="5" y="16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54" y="0"/>
                  </a:lnTo>
                  <a:lnTo>
                    <a:pt x="60" y="1"/>
                  </a:lnTo>
                  <a:lnTo>
                    <a:pt x="67" y="2"/>
                  </a:lnTo>
                  <a:lnTo>
                    <a:pt x="72" y="6"/>
                  </a:lnTo>
                  <a:lnTo>
                    <a:pt x="78" y="10"/>
                  </a:lnTo>
                  <a:lnTo>
                    <a:pt x="82" y="16"/>
                  </a:lnTo>
                  <a:lnTo>
                    <a:pt x="86" y="21"/>
                  </a:lnTo>
                  <a:lnTo>
                    <a:pt x="87" y="27"/>
                  </a:lnTo>
                  <a:lnTo>
                    <a:pt x="88" y="34"/>
                  </a:lnTo>
                  <a:lnTo>
                    <a:pt x="87" y="42"/>
                  </a:lnTo>
                  <a:lnTo>
                    <a:pt x="86" y="48"/>
                  </a:lnTo>
                  <a:lnTo>
                    <a:pt x="82" y="54"/>
                  </a:lnTo>
                  <a:lnTo>
                    <a:pt x="78" y="60"/>
                  </a:lnTo>
                  <a:lnTo>
                    <a:pt x="72" y="64"/>
                  </a:lnTo>
                  <a:lnTo>
                    <a:pt x="67" y="67"/>
                  </a:lnTo>
                  <a:lnTo>
                    <a:pt x="60" y="70"/>
                  </a:lnTo>
                  <a:lnTo>
                    <a:pt x="54" y="7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0" name="Freeform 280"/>
            <p:cNvSpPr>
              <a:spLocks/>
            </p:cNvSpPr>
            <p:nvPr/>
          </p:nvSpPr>
          <p:spPr bwMode="auto">
            <a:xfrm>
              <a:off x="3390900" y="5568950"/>
              <a:ext cx="23813" cy="9525"/>
            </a:xfrm>
            <a:custGeom>
              <a:avLst/>
              <a:gdLst>
                <a:gd name="T0" fmla="*/ 47 w 59"/>
                <a:gd name="T1" fmla="*/ 25 h 25"/>
                <a:gd name="T2" fmla="*/ 13 w 59"/>
                <a:gd name="T3" fmla="*/ 25 h 25"/>
                <a:gd name="T4" fmla="*/ 8 w 59"/>
                <a:gd name="T5" fmla="*/ 23 h 25"/>
                <a:gd name="T6" fmla="*/ 4 w 59"/>
                <a:gd name="T7" fmla="*/ 20 h 25"/>
                <a:gd name="T8" fmla="*/ 1 w 59"/>
                <a:gd name="T9" fmla="*/ 16 h 25"/>
                <a:gd name="T10" fmla="*/ 0 w 59"/>
                <a:gd name="T11" fmla="*/ 11 h 25"/>
                <a:gd name="T12" fmla="*/ 1 w 59"/>
                <a:gd name="T13" fmla="*/ 6 h 25"/>
                <a:gd name="T14" fmla="*/ 4 w 59"/>
                <a:gd name="T15" fmla="*/ 3 h 25"/>
                <a:gd name="T16" fmla="*/ 8 w 59"/>
                <a:gd name="T17" fmla="*/ 0 h 25"/>
                <a:gd name="T18" fmla="*/ 13 w 59"/>
                <a:gd name="T19" fmla="*/ 0 h 25"/>
                <a:gd name="T20" fmla="*/ 47 w 59"/>
                <a:gd name="T21" fmla="*/ 0 h 25"/>
                <a:gd name="T22" fmla="*/ 52 w 59"/>
                <a:gd name="T23" fmla="*/ 0 h 25"/>
                <a:gd name="T24" fmla="*/ 55 w 59"/>
                <a:gd name="T25" fmla="*/ 3 h 25"/>
                <a:gd name="T26" fmla="*/ 58 w 59"/>
                <a:gd name="T27" fmla="*/ 6 h 25"/>
                <a:gd name="T28" fmla="*/ 59 w 59"/>
                <a:gd name="T29" fmla="*/ 11 h 25"/>
                <a:gd name="T30" fmla="*/ 58 w 59"/>
                <a:gd name="T31" fmla="*/ 16 h 25"/>
                <a:gd name="T32" fmla="*/ 55 w 59"/>
                <a:gd name="T33" fmla="*/ 20 h 25"/>
                <a:gd name="T34" fmla="*/ 52 w 59"/>
                <a:gd name="T35" fmla="*/ 23 h 25"/>
                <a:gd name="T36" fmla="*/ 47 w 59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" h="25">
                  <a:moveTo>
                    <a:pt x="47" y="25"/>
                  </a:moveTo>
                  <a:lnTo>
                    <a:pt x="13" y="25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1" y="6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47" y="0"/>
                  </a:lnTo>
                  <a:lnTo>
                    <a:pt x="52" y="0"/>
                  </a:lnTo>
                  <a:lnTo>
                    <a:pt x="55" y="3"/>
                  </a:lnTo>
                  <a:lnTo>
                    <a:pt x="58" y="6"/>
                  </a:lnTo>
                  <a:lnTo>
                    <a:pt x="59" y="11"/>
                  </a:lnTo>
                  <a:lnTo>
                    <a:pt x="58" y="16"/>
                  </a:lnTo>
                  <a:lnTo>
                    <a:pt x="55" y="20"/>
                  </a:lnTo>
                  <a:lnTo>
                    <a:pt x="52" y="23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1" name="Freeform 281"/>
            <p:cNvSpPr>
              <a:spLocks/>
            </p:cNvSpPr>
            <p:nvPr/>
          </p:nvSpPr>
          <p:spPr bwMode="auto">
            <a:xfrm>
              <a:off x="3332163" y="5822950"/>
              <a:ext cx="142875" cy="314325"/>
            </a:xfrm>
            <a:custGeom>
              <a:avLst/>
              <a:gdLst>
                <a:gd name="T0" fmla="*/ 0 w 359"/>
                <a:gd name="T1" fmla="*/ 0 h 795"/>
                <a:gd name="T2" fmla="*/ 5 w 359"/>
                <a:gd name="T3" fmla="*/ 795 h 795"/>
                <a:gd name="T4" fmla="*/ 154 w 359"/>
                <a:gd name="T5" fmla="*/ 795 h 795"/>
                <a:gd name="T6" fmla="*/ 149 w 359"/>
                <a:gd name="T7" fmla="*/ 203 h 795"/>
                <a:gd name="T8" fmla="*/ 212 w 359"/>
                <a:gd name="T9" fmla="*/ 203 h 795"/>
                <a:gd name="T10" fmla="*/ 206 w 359"/>
                <a:gd name="T11" fmla="*/ 795 h 795"/>
                <a:gd name="T12" fmla="*/ 355 w 359"/>
                <a:gd name="T13" fmla="*/ 795 h 795"/>
                <a:gd name="T14" fmla="*/ 359 w 359"/>
                <a:gd name="T15" fmla="*/ 3 h 795"/>
                <a:gd name="T16" fmla="*/ 0 w 359"/>
                <a:gd name="T17" fmla="*/ 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" h="795">
                  <a:moveTo>
                    <a:pt x="0" y="0"/>
                  </a:moveTo>
                  <a:lnTo>
                    <a:pt x="5" y="795"/>
                  </a:lnTo>
                  <a:lnTo>
                    <a:pt x="154" y="795"/>
                  </a:lnTo>
                  <a:lnTo>
                    <a:pt x="149" y="203"/>
                  </a:lnTo>
                  <a:lnTo>
                    <a:pt x="212" y="203"/>
                  </a:lnTo>
                  <a:lnTo>
                    <a:pt x="206" y="795"/>
                  </a:lnTo>
                  <a:lnTo>
                    <a:pt x="355" y="795"/>
                  </a:lnTo>
                  <a:lnTo>
                    <a:pt x="359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2" name="Freeform 282"/>
            <p:cNvSpPr>
              <a:spLocks noEditPoints="1"/>
            </p:cNvSpPr>
            <p:nvPr/>
          </p:nvSpPr>
          <p:spPr bwMode="auto">
            <a:xfrm>
              <a:off x="3327400" y="5818188"/>
              <a:ext cx="152400" cy="323850"/>
            </a:xfrm>
            <a:custGeom>
              <a:avLst/>
              <a:gdLst>
                <a:gd name="T0" fmla="*/ 231 w 384"/>
                <a:gd name="T1" fmla="*/ 795 h 817"/>
                <a:gd name="T2" fmla="*/ 355 w 384"/>
                <a:gd name="T3" fmla="*/ 795 h 817"/>
                <a:gd name="T4" fmla="*/ 360 w 384"/>
                <a:gd name="T5" fmla="*/ 25 h 817"/>
                <a:gd name="T6" fmla="*/ 25 w 384"/>
                <a:gd name="T7" fmla="*/ 23 h 817"/>
                <a:gd name="T8" fmla="*/ 30 w 384"/>
                <a:gd name="T9" fmla="*/ 795 h 817"/>
                <a:gd name="T10" fmla="*/ 153 w 384"/>
                <a:gd name="T11" fmla="*/ 795 h 817"/>
                <a:gd name="T12" fmla="*/ 148 w 384"/>
                <a:gd name="T13" fmla="*/ 214 h 817"/>
                <a:gd name="T14" fmla="*/ 150 w 384"/>
                <a:gd name="T15" fmla="*/ 211 h 817"/>
                <a:gd name="T16" fmla="*/ 152 w 384"/>
                <a:gd name="T17" fmla="*/ 207 h 817"/>
                <a:gd name="T18" fmla="*/ 156 w 384"/>
                <a:gd name="T19" fmla="*/ 205 h 817"/>
                <a:gd name="T20" fmla="*/ 161 w 384"/>
                <a:gd name="T21" fmla="*/ 203 h 817"/>
                <a:gd name="T22" fmla="*/ 161 w 384"/>
                <a:gd name="T23" fmla="*/ 203 h 817"/>
                <a:gd name="T24" fmla="*/ 224 w 384"/>
                <a:gd name="T25" fmla="*/ 203 h 817"/>
                <a:gd name="T26" fmla="*/ 229 w 384"/>
                <a:gd name="T27" fmla="*/ 205 h 817"/>
                <a:gd name="T28" fmla="*/ 233 w 384"/>
                <a:gd name="T29" fmla="*/ 207 h 817"/>
                <a:gd name="T30" fmla="*/ 234 w 384"/>
                <a:gd name="T31" fmla="*/ 209 h 817"/>
                <a:gd name="T32" fmla="*/ 235 w 384"/>
                <a:gd name="T33" fmla="*/ 211 h 817"/>
                <a:gd name="T34" fmla="*/ 235 w 384"/>
                <a:gd name="T35" fmla="*/ 213 h 817"/>
                <a:gd name="T36" fmla="*/ 235 w 384"/>
                <a:gd name="T37" fmla="*/ 217 h 817"/>
                <a:gd name="T38" fmla="*/ 231 w 384"/>
                <a:gd name="T39" fmla="*/ 795 h 817"/>
                <a:gd name="T40" fmla="*/ 367 w 384"/>
                <a:gd name="T41" fmla="*/ 817 h 817"/>
                <a:gd name="T42" fmla="*/ 218 w 384"/>
                <a:gd name="T43" fmla="*/ 817 h 817"/>
                <a:gd name="T44" fmla="*/ 213 w 384"/>
                <a:gd name="T45" fmla="*/ 817 h 817"/>
                <a:gd name="T46" fmla="*/ 210 w 384"/>
                <a:gd name="T47" fmla="*/ 814 h 817"/>
                <a:gd name="T48" fmla="*/ 207 w 384"/>
                <a:gd name="T49" fmla="*/ 811 h 817"/>
                <a:gd name="T50" fmla="*/ 206 w 384"/>
                <a:gd name="T51" fmla="*/ 806 h 817"/>
                <a:gd name="T52" fmla="*/ 212 w 384"/>
                <a:gd name="T53" fmla="*/ 228 h 817"/>
                <a:gd name="T54" fmla="*/ 173 w 384"/>
                <a:gd name="T55" fmla="*/ 228 h 817"/>
                <a:gd name="T56" fmla="*/ 178 w 384"/>
                <a:gd name="T57" fmla="*/ 806 h 817"/>
                <a:gd name="T58" fmla="*/ 177 w 384"/>
                <a:gd name="T59" fmla="*/ 811 h 817"/>
                <a:gd name="T60" fmla="*/ 174 w 384"/>
                <a:gd name="T61" fmla="*/ 814 h 817"/>
                <a:gd name="T62" fmla="*/ 171 w 384"/>
                <a:gd name="T63" fmla="*/ 817 h 817"/>
                <a:gd name="T64" fmla="*/ 166 w 384"/>
                <a:gd name="T65" fmla="*/ 817 h 817"/>
                <a:gd name="T66" fmla="*/ 17 w 384"/>
                <a:gd name="T67" fmla="*/ 817 h 817"/>
                <a:gd name="T68" fmla="*/ 12 w 384"/>
                <a:gd name="T69" fmla="*/ 817 h 817"/>
                <a:gd name="T70" fmla="*/ 9 w 384"/>
                <a:gd name="T71" fmla="*/ 814 h 817"/>
                <a:gd name="T72" fmla="*/ 6 w 384"/>
                <a:gd name="T73" fmla="*/ 811 h 817"/>
                <a:gd name="T74" fmla="*/ 5 w 384"/>
                <a:gd name="T75" fmla="*/ 806 h 817"/>
                <a:gd name="T76" fmla="*/ 0 w 384"/>
                <a:gd name="T77" fmla="*/ 11 h 817"/>
                <a:gd name="T78" fmla="*/ 1 w 384"/>
                <a:gd name="T79" fmla="*/ 7 h 817"/>
                <a:gd name="T80" fmla="*/ 4 w 384"/>
                <a:gd name="T81" fmla="*/ 3 h 817"/>
                <a:gd name="T82" fmla="*/ 8 w 384"/>
                <a:gd name="T83" fmla="*/ 0 h 817"/>
                <a:gd name="T84" fmla="*/ 12 w 384"/>
                <a:gd name="T85" fmla="*/ 0 h 817"/>
                <a:gd name="T86" fmla="*/ 12 w 384"/>
                <a:gd name="T87" fmla="*/ 0 h 817"/>
                <a:gd name="T88" fmla="*/ 373 w 384"/>
                <a:gd name="T89" fmla="*/ 0 h 817"/>
                <a:gd name="T90" fmla="*/ 376 w 384"/>
                <a:gd name="T91" fmla="*/ 1 h 817"/>
                <a:gd name="T92" fmla="*/ 380 w 384"/>
                <a:gd name="T93" fmla="*/ 5 h 817"/>
                <a:gd name="T94" fmla="*/ 384 w 384"/>
                <a:gd name="T95" fmla="*/ 9 h 817"/>
                <a:gd name="T96" fmla="*/ 384 w 384"/>
                <a:gd name="T97" fmla="*/ 14 h 817"/>
                <a:gd name="T98" fmla="*/ 379 w 384"/>
                <a:gd name="T99" fmla="*/ 806 h 817"/>
                <a:gd name="T100" fmla="*/ 378 w 384"/>
                <a:gd name="T101" fmla="*/ 811 h 817"/>
                <a:gd name="T102" fmla="*/ 375 w 384"/>
                <a:gd name="T103" fmla="*/ 814 h 817"/>
                <a:gd name="T104" fmla="*/ 371 w 384"/>
                <a:gd name="T105" fmla="*/ 817 h 817"/>
                <a:gd name="T106" fmla="*/ 367 w 384"/>
                <a:gd name="T107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817">
                  <a:moveTo>
                    <a:pt x="231" y="795"/>
                  </a:moveTo>
                  <a:lnTo>
                    <a:pt x="355" y="795"/>
                  </a:lnTo>
                  <a:lnTo>
                    <a:pt x="360" y="25"/>
                  </a:lnTo>
                  <a:lnTo>
                    <a:pt x="25" y="23"/>
                  </a:lnTo>
                  <a:lnTo>
                    <a:pt x="30" y="795"/>
                  </a:lnTo>
                  <a:lnTo>
                    <a:pt x="153" y="795"/>
                  </a:lnTo>
                  <a:lnTo>
                    <a:pt x="148" y="214"/>
                  </a:lnTo>
                  <a:lnTo>
                    <a:pt x="150" y="211"/>
                  </a:lnTo>
                  <a:lnTo>
                    <a:pt x="152" y="207"/>
                  </a:lnTo>
                  <a:lnTo>
                    <a:pt x="156" y="205"/>
                  </a:lnTo>
                  <a:lnTo>
                    <a:pt x="161" y="203"/>
                  </a:lnTo>
                  <a:lnTo>
                    <a:pt x="161" y="203"/>
                  </a:lnTo>
                  <a:lnTo>
                    <a:pt x="224" y="203"/>
                  </a:lnTo>
                  <a:lnTo>
                    <a:pt x="229" y="205"/>
                  </a:lnTo>
                  <a:lnTo>
                    <a:pt x="233" y="207"/>
                  </a:lnTo>
                  <a:lnTo>
                    <a:pt x="234" y="209"/>
                  </a:lnTo>
                  <a:lnTo>
                    <a:pt x="235" y="211"/>
                  </a:lnTo>
                  <a:lnTo>
                    <a:pt x="235" y="213"/>
                  </a:lnTo>
                  <a:lnTo>
                    <a:pt x="235" y="217"/>
                  </a:lnTo>
                  <a:lnTo>
                    <a:pt x="231" y="795"/>
                  </a:lnTo>
                  <a:close/>
                  <a:moveTo>
                    <a:pt x="367" y="817"/>
                  </a:moveTo>
                  <a:lnTo>
                    <a:pt x="218" y="817"/>
                  </a:lnTo>
                  <a:lnTo>
                    <a:pt x="213" y="817"/>
                  </a:lnTo>
                  <a:lnTo>
                    <a:pt x="210" y="814"/>
                  </a:lnTo>
                  <a:lnTo>
                    <a:pt x="207" y="811"/>
                  </a:lnTo>
                  <a:lnTo>
                    <a:pt x="206" y="806"/>
                  </a:lnTo>
                  <a:lnTo>
                    <a:pt x="212" y="228"/>
                  </a:lnTo>
                  <a:lnTo>
                    <a:pt x="173" y="228"/>
                  </a:lnTo>
                  <a:lnTo>
                    <a:pt x="178" y="806"/>
                  </a:lnTo>
                  <a:lnTo>
                    <a:pt x="177" y="811"/>
                  </a:lnTo>
                  <a:lnTo>
                    <a:pt x="174" y="814"/>
                  </a:lnTo>
                  <a:lnTo>
                    <a:pt x="171" y="817"/>
                  </a:lnTo>
                  <a:lnTo>
                    <a:pt x="166" y="817"/>
                  </a:lnTo>
                  <a:lnTo>
                    <a:pt x="17" y="817"/>
                  </a:lnTo>
                  <a:lnTo>
                    <a:pt x="12" y="817"/>
                  </a:lnTo>
                  <a:lnTo>
                    <a:pt x="9" y="814"/>
                  </a:lnTo>
                  <a:lnTo>
                    <a:pt x="6" y="811"/>
                  </a:lnTo>
                  <a:lnTo>
                    <a:pt x="5" y="806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373" y="0"/>
                  </a:lnTo>
                  <a:lnTo>
                    <a:pt x="376" y="1"/>
                  </a:lnTo>
                  <a:lnTo>
                    <a:pt x="380" y="5"/>
                  </a:lnTo>
                  <a:lnTo>
                    <a:pt x="384" y="9"/>
                  </a:lnTo>
                  <a:lnTo>
                    <a:pt x="384" y="14"/>
                  </a:lnTo>
                  <a:lnTo>
                    <a:pt x="379" y="806"/>
                  </a:lnTo>
                  <a:lnTo>
                    <a:pt x="378" y="811"/>
                  </a:lnTo>
                  <a:lnTo>
                    <a:pt x="375" y="814"/>
                  </a:lnTo>
                  <a:lnTo>
                    <a:pt x="371" y="817"/>
                  </a:lnTo>
                  <a:lnTo>
                    <a:pt x="367" y="81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3" name="Freeform 283"/>
            <p:cNvSpPr>
              <a:spLocks/>
            </p:cNvSpPr>
            <p:nvPr/>
          </p:nvSpPr>
          <p:spPr bwMode="auto">
            <a:xfrm>
              <a:off x="3363913" y="5756275"/>
              <a:ext cx="80963" cy="52388"/>
            </a:xfrm>
            <a:custGeom>
              <a:avLst/>
              <a:gdLst>
                <a:gd name="T0" fmla="*/ 190 w 202"/>
                <a:gd name="T1" fmla="*/ 133 h 133"/>
                <a:gd name="T2" fmla="*/ 12 w 202"/>
                <a:gd name="T3" fmla="*/ 133 h 133"/>
                <a:gd name="T4" fmla="*/ 7 w 202"/>
                <a:gd name="T5" fmla="*/ 131 h 133"/>
                <a:gd name="T6" fmla="*/ 4 w 202"/>
                <a:gd name="T7" fmla="*/ 129 h 133"/>
                <a:gd name="T8" fmla="*/ 1 w 202"/>
                <a:gd name="T9" fmla="*/ 126 h 133"/>
                <a:gd name="T10" fmla="*/ 0 w 202"/>
                <a:gd name="T11" fmla="*/ 122 h 133"/>
                <a:gd name="T12" fmla="*/ 0 w 202"/>
                <a:gd name="T13" fmla="*/ 14 h 133"/>
                <a:gd name="T14" fmla="*/ 1 w 202"/>
                <a:gd name="T15" fmla="*/ 10 h 133"/>
                <a:gd name="T16" fmla="*/ 4 w 202"/>
                <a:gd name="T17" fmla="*/ 6 h 133"/>
                <a:gd name="T18" fmla="*/ 7 w 202"/>
                <a:gd name="T19" fmla="*/ 3 h 133"/>
                <a:gd name="T20" fmla="*/ 12 w 202"/>
                <a:gd name="T21" fmla="*/ 2 h 133"/>
                <a:gd name="T22" fmla="*/ 17 w 202"/>
                <a:gd name="T23" fmla="*/ 3 h 133"/>
                <a:gd name="T24" fmla="*/ 21 w 202"/>
                <a:gd name="T25" fmla="*/ 6 h 133"/>
                <a:gd name="T26" fmla="*/ 23 w 202"/>
                <a:gd name="T27" fmla="*/ 10 h 133"/>
                <a:gd name="T28" fmla="*/ 24 w 202"/>
                <a:gd name="T29" fmla="*/ 14 h 133"/>
                <a:gd name="T30" fmla="*/ 24 w 202"/>
                <a:gd name="T31" fmla="*/ 111 h 133"/>
                <a:gd name="T32" fmla="*/ 179 w 202"/>
                <a:gd name="T33" fmla="*/ 111 h 133"/>
                <a:gd name="T34" fmla="*/ 179 w 202"/>
                <a:gd name="T35" fmla="*/ 14 h 133"/>
                <a:gd name="T36" fmla="*/ 179 w 202"/>
                <a:gd name="T37" fmla="*/ 9 h 133"/>
                <a:gd name="T38" fmla="*/ 181 w 202"/>
                <a:gd name="T39" fmla="*/ 4 h 133"/>
                <a:gd name="T40" fmla="*/ 186 w 202"/>
                <a:gd name="T41" fmla="*/ 2 h 133"/>
                <a:gd name="T42" fmla="*/ 190 w 202"/>
                <a:gd name="T43" fmla="*/ 0 h 133"/>
                <a:gd name="T44" fmla="*/ 195 w 202"/>
                <a:gd name="T45" fmla="*/ 2 h 133"/>
                <a:gd name="T46" fmla="*/ 198 w 202"/>
                <a:gd name="T47" fmla="*/ 4 h 133"/>
                <a:gd name="T48" fmla="*/ 201 w 202"/>
                <a:gd name="T49" fmla="*/ 9 h 133"/>
                <a:gd name="T50" fmla="*/ 202 w 202"/>
                <a:gd name="T51" fmla="*/ 14 h 133"/>
                <a:gd name="T52" fmla="*/ 202 w 202"/>
                <a:gd name="T53" fmla="*/ 122 h 133"/>
                <a:gd name="T54" fmla="*/ 201 w 202"/>
                <a:gd name="T55" fmla="*/ 126 h 133"/>
                <a:gd name="T56" fmla="*/ 198 w 202"/>
                <a:gd name="T57" fmla="*/ 129 h 133"/>
                <a:gd name="T58" fmla="*/ 195 w 202"/>
                <a:gd name="T59" fmla="*/ 131 h 133"/>
                <a:gd name="T60" fmla="*/ 190 w 202"/>
                <a:gd name="T6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2" h="133">
                  <a:moveTo>
                    <a:pt x="190" y="133"/>
                  </a:moveTo>
                  <a:lnTo>
                    <a:pt x="12" y="133"/>
                  </a:lnTo>
                  <a:lnTo>
                    <a:pt x="7" y="131"/>
                  </a:lnTo>
                  <a:lnTo>
                    <a:pt x="4" y="129"/>
                  </a:lnTo>
                  <a:lnTo>
                    <a:pt x="1" y="126"/>
                  </a:lnTo>
                  <a:lnTo>
                    <a:pt x="0" y="122"/>
                  </a:lnTo>
                  <a:lnTo>
                    <a:pt x="0" y="14"/>
                  </a:lnTo>
                  <a:lnTo>
                    <a:pt x="1" y="10"/>
                  </a:lnTo>
                  <a:lnTo>
                    <a:pt x="4" y="6"/>
                  </a:lnTo>
                  <a:lnTo>
                    <a:pt x="7" y="3"/>
                  </a:lnTo>
                  <a:lnTo>
                    <a:pt x="12" y="2"/>
                  </a:lnTo>
                  <a:lnTo>
                    <a:pt x="17" y="3"/>
                  </a:lnTo>
                  <a:lnTo>
                    <a:pt x="21" y="6"/>
                  </a:lnTo>
                  <a:lnTo>
                    <a:pt x="23" y="10"/>
                  </a:lnTo>
                  <a:lnTo>
                    <a:pt x="24" y="14"/>
                  </a:lnTo>
                  <a:lnTo>
                    <a:pt x="24" y="111"/>
                  </a:lnTo>
                  <a:lnTo>
                    <a:pt x="179" y="111"/>
                  </a:lnTo>
                  <a:lnTo>
                    <a:pt x="179" y="14"/>
                  </a:lnTo>
                  <a:lnTo>
                    <a:pt x="179" y="9"/>
                  </a:lnTo>
                  <a:lnTo>
                    <a:pt x="181" y="4"/>
                  </a:lnTo>
                  <a:lnTo>
                    <a:pt x="186" y="2"/>
                  </a:lnTo>
                  <a:lnTo>
                    <a:pt x="190" y="0"/>
                  </a:lnTo>
                  <a:lnTo>
                    <a:pt x="195" y="2"/>
                  </a:lnTo>
                  <a:lnTo>
                    <a:pt x="198" y="4"/>
                  </a:lnTo>
                  <a:lnTo>
                    <a:pt x="201" y="9"/>
                  </a:lnTo>
                  <a:lnTo>
                    <a:pt x="202" y="14"/>
                  </a:lnTo>
                  <a:lnTo>
                    <a:pt x="202" y="122"/>
                  </a:lnTo>
                  <a:lnTo>
                    <a:pt x="201" y="126"/>
                  </a:lnTo>
                  <a:lnTo>
                    <a:pt x="198" y="129"/>
                  </a:lnTo>
                  <a:lnTo>
                    <a:pt x="195" y="131"/>
                  </a:lnTo>
                  <a:lnTo>
                    <a:pt x="190" y="133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4" name="Freeform 284"/>
            <p:cNvSpPr>
              <a:spLocks/>
            </p:cNvSpPr>
            <p:nvPr/>
          </p:nvSpPr>
          <p:spPr bwMode="auto">
            <a:xfrm>
              <a:off x="3363913" y="5689600"/>
              <a:ext cx="80963" cy="46038"/>
            </a:xfrm>
            <a:custGeom>
              <a:avLst/>
              <a:gdLst>
                <a:gd name="T0" fmla="*/ 12 w 202"/>
                <a:gd name="T1" fmla="*/ 116 h 116"/>
                <a:gd name="T2" fmla="*/ 7 w 202"/>
                <a:gd name="T3" fmla="*/ 115 h 116"/>
                <a:gd name="T4" fmla="*/ 4 w 202"/>
                <a:gd name="T5" fmla="*/ 112 h 116"/>
                <a:gd name="T6" fmla="*/ 1 w 202"/>
                <a:gd name="T7" fmla="*/ 108 h 116"/>
                <a:gd name="T8" fmla="*/ 0 w 202"/>
                <a:gd name="T9" fmla="*/ 103 h 116"/>
                <a:gd name="T10" fmla="*/ 0 w 202"/>
                <a:gd name="T11" fmla="*/ 13 h 116"/>
                <a:gd name="T12" fmla="*/ 1 w 202"/>
                <a:gd name="T13" fmla="*/ 8 h 116"/>
                <a:gd name="T14" fmla="*/ 4 w 202"/>
                <a:gd name="T15" fmla="*/ 4 h 116"/>
                <a:gd name="T16" fmla="*/ 7 w 202"/>
                <a:gd name="T17" fmla="*/ 1 h 116"/>
                <a:gd name="T18" fmla="*/ 12 w 202"/>
                <a:gd name="T19" fmla="*/ 0 h 116"/>
                <a:gd name="T20" fmla="*/ 190 w 202"/>
                <a:gd name="T21" fmla="*/ 0 h 116"/>
                <a:gd name="T22" fmla="*/ 195 w 202"/>
                <a:gd name="T23" fmla="*/ 1 h 116"/>
                <a:gd name="T24" fmla="*/ 198 w 202"/>
                <a:gd name="T25" fmla="*/ 4 h 116"/>
                <a:gd name="T26" fmla="*/ 201 w 202"/>
                <a:gd name="T27" fmla="*/ 8 h 116"/>
                <a:gd name="T28" fmla="*/ 202 w 202"/>
                <a:gd name="T29" fmla="*/ 13 h 116"/>
                <a:gd name="T30" fmla="*/ 202 w 202"/>
                <a:gd name="T31" fmla="*/ 103 h 116"/>
                <a:gd name="T32" fmla="*/ 201 w 202"/>
                <a:gd name="T33" fmla="*/ 106 h 116"/>
                <a:gd name="T34" fmla="*/ 198 w 202"/>
                <a:gd name="T35" fmla="*/ 110 h 116"/>
                <a:gd name="T36" fmla="*/ 195 w 202"/>
                <a:gd name="T37" fmla="*/ 112 h 116"/>
                <a:gd name="T38" fmla="*/ 190 w 202"/>
                <a:gd name="T39" fmla="*/ 114 h 116"/>
                <a:gd name="T40" fmla="*/ 186 w 202"/>
                <a:gd name="T41" fmla="*/ 112 h 116"/>
                <a:gd name="T42" fmla="*/ 181 w 202"/>
                <a:gd name="T43" fmla="*/ 110 h 116"/>
                <a:gd name="T44" fmla="*/ 179 w 202"/>
                <a:gd name="T45" fmla="*/ 106 h 116"/>
                <a:gd name="T46" fmla="*/ 179 w 202"/>
                <a:gd name="T47" fmla="*/ 103 h 116"/>
                <a:gd name="T48" fmla="*/ 179 w 202"/>
                <a:gd name="T49" fmla="*/ 24 h 116"/>
                <a:gd name="T50" fmla="*/ 24 w 202"/>
                <a:gd name="T51" fmla="*/ 24 h 116"/>
                <a:gd name="T52" fmla="*/ 24 w 202"/>
                <a:gd name="T53" fmla="*/ 103 h 116"/>
                <a:gd name="T54" fmla="*/ 23 w 202"/>
                <a:gd name="T55" fmla="*/ 108 h 116"/>
                <a:gd name="T56" fmla="*/ 21 w 202"/>
                <a:gd name="T57" fmla="*/ 112 h 116"/>
                <a:gd name="T58" fmla="*/ 17 w 202"/>
                <a:gd name="T59" fmla="*/ 115 h 116"/>
                <a:gd name="T60" fmla="*/ 12 w 202"/>
                <a:gd name="T6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2" h="116">
                  <a:moveTo>
                    <a:pt x="12" y="116"/>
                  </a:moveTo>
                  <a:lnTo>
                    <a:pt x="7" y="115"/>
                  </a:lnTo>
                  <a:lnTo>
                    <a:pt x="4" y="112"/>
                  </a:lnTo>
                  <a:lnTo>
                    <a:pt x="1" y="108"/>
                  </a:lnTo>
                  <a:lnTo>
                    <a:pt x="0" y="10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90" y="0"/>
                  </a:lnTo>
                  <a:lnTo>
                    <a:pt x="195" y="1"/>
                  </a:lnTo>
                  <a:lnTo>
                    <a:pt x="198" y="4"/>
                  </a:lnTo>
                  <a:lnTo>
                    <a:pt x="201" y="8"/>
                  </a:lnTo>
                  <a:lnTo>
                    <a:pt x="202" y="13"/>
                  </a:lnTo>
                  <a:lnTo>
                    <a:pt x="202" y="103"/>
                  </a:lnTo>
                  <a:lnTo>
                    <a:pt x="201" y="106"/>
                  </a:lnTo>
                  <a:lnTo>
                    <a:pt x="198" y="110"/>
                  </a:lnTo>
                  <a:lnTo>
                    <a:pt x="195" y="112"/>
                  </a:lnTo>
                  <a:lnTo>
                    <a:pt x="190" y="114"/>
                  </a:lnTo>
                  <a:lnTo>
                    <a:pt x="186" y="112"/>
                  </a:lnTo>
                  <a:lnTo>
                    <a:pt x="181" y="110"/>
                  </a:lnTo>
                  <a:lnTo>
                    <a:pt x="179" y="106"/>
                  </a:lnTo>
                  <a:lnTo>
                    <a:pt x="179" y="103"/>
                  </a:lnTo>
                  <a:lnTo>
                    <a:pt x="179" y="24"/>
                  </a:lnTo>
                  <a:lnTo>
                    <a:pt x="24" y="24"/>
                  </a:lnTo>
                  <a:lnTo>
                    <a:pt x="24" y="103"/>
                  </a:lnTo>
                  <a:lnTo>
                    <a:pt x="23" y="108"/>
                  </a:lnTo>
                  <a:lnTo>
                    <a:pt x="21" y="112"/>
                  </a:lnTo>
                  <a:lnTo>
                    <a:pt x="17" y="115"/>
                  </a:lnTo>
                  <a:lnTo>
                    <a:pt x="12" y="116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5" name="Freeform 285"/>
            <p:cNvSpPr>
              <a:spLocks/>
            </p:cNvSpPr>
            <p:nvPr/>
          </p:nvSpPr>
          <p:spPr bwMode="auto">
            <a:xfrm>
              <a:off x="3354388" y="5729288"/>
              <a:ext cx="36513" cy="31750"/>
            </a:xfrm>
            <a:custGeom>
              <a:avLst/>
              <a:gdLst>
                <a:gd name="T0" fmla="*/ 22 w 95"/>
                <a:gd name="T1" fmla="*/ 82 h 82"/>
                <a:gd name="T2" fmla="*/ 31 w 95"/>
                <a:gd name="T3" fmla="*/ 81 h 82"/>
                <a:gd name="T4" fmla="*/ 52 w 95"/>
                <a:gd name="T5" fmla="*/ 79 h 82"/>
                <a:gd name="T6" fmla="*/ 64 w 95"/>
                <a:gd name="T7" fmla="*/ 77 h 82"/>
                <a:gd name="T8" fmla="*/ 75 w 95"/>
                <a:gd name="T9" fmla="*/ 73 h 82"/>
                <a:gd name="T10" fmla="*/ 81 w 95"/>
                <a:gd name="T11" fmla="*/ 72 h 82"/>
                <a:gd name="T12" fmla="*/ 85 w 95"/>
                <a:gd name="T13" fmla="*/ 70 h 82"/>
                <a:gd name="T14" fmla="*/ 89 w 95"/>
                <a:gd name="T15" fmla="*/ 67 h 82"/>
                <a:gd name="T16" fmla="*/ 91 w 95"/>
                <a:gd name="T17" fmla="*/ 63 h 82"/>
                <a:gd name="T18" fmla="*/ 93 w 95"/>
                <a:gd name="T19" fmla="*/ 59 h 82"/>
                <a:gd name="T20" fmla="*/ 95 w 95"/>
                <a:gd name="T21" fmla="*/ 54 h 82"/>
                <a:gd name="T22" fmla="*/ 95 w 95"/>
                <a:gd name="T23" fmla="*/ 49 h 82"/>
                <a:gd name="T24" fmla="*/ 95 w 95"/>
                <a:gd name="T25" fmla="*/ 43 h 82"/>
                <a:gd name="T26" fmla="*/ 90 w 95"/>
                <a:gd name="T27" fmla="*/ 33 h 82"/>
                <a:gd name="T28" fmla="*/ 84 w 95"/>
                <a:gd name="T29" fmla="*/ 23 h 82"/>
                <a:gd name="T30" fmla="*/ 76 w 95"/>
                <a:gd name="T31" fmla="*/ 13 h 82"/>
                <a:gd name="T32" fmla="*/ 68 w 95"/>
                <a:gd name="T33" fmla="*/ 7 h 82"/>
                <a:gd name="T34" fmla="*/ 64 w 95"/>
                <a:gd name="T35" fmla="*/ 3 h 82"/>
                <a:gd name="T36" fmla="*/ 59 w 95"/>
                <a:gd name="T37" fmla="*/ 2 h 82"/>
                <a:gd name="T38" fmla="*/ 56 w 95"/>
                <a:gd name="T39" fmla="*/ 1 h 82"/>
                <a:gd name="T40" fmla="*/ 52 w 95"/>
                <a:gd name="T41" fmla="*/ 0 h 82"/>
                <a:gd name="T42" fmla="*/ 44 w 95"/>
                <a:gd name="T43" fmla="*/ 2 h 82"/>
                <a:gd name="T44" fmla="*/ 36 w 95"/>
                <a:gd name="T45" fmla="*/ 6 h 82"/>
                <a:gd name="T46" fmla="*/ 27 w 95"/>
                <a:gd name="T47" fmla="*/ 12 h 82"/>
                <a:gd name="T48" fmla="*/ 19 w 95"/>
                <a:gd name="T49" fmla="*/ 18 h 82"/>
                <a:gd name="T50" fmla="*/ 5 w 95"/>
                <a:gd name="T51" fmla="*/ 30 h 82"/>
                <a:gd name="T52" fmla="*/ 0 w 95"/>
                <a:gd name="T53" fmla="*/ 37 h 82"/>
                <a:gd name="T54" fmla="*/ 22 w 95"/>
                <a:gd name="T5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5" h="82">
                  <a:moveTo>
                    <a:pt x="22" y="82"/>
                  </a:moveTo>
                  <a:lnTo>
                    <a:pt x="31" y="81"/>
                  </a:lnTo>
                  <a:lnTo>
                    <a:pt x="52" y="79"/>
                  </a:lnTo>
                  <a:lnTo>
                    <a:pt x="64" y="77"/>
                  </a:lnTo>
                  <a:lnTo>
                    <a:pt x="75" y="73"/>
                  </a:lnTo>
                  <a:lnTo>
                    <a:pt x="81" y="72"/>
                  </a:lnTo>
                  <a:lnTo>
                    <a:pt x="85" y="70"/>
                  </a:lnTo>
                  <a:lnTo>
                    <a:pt x="89" y="67"/>
                  </a:lnTo>
                  <a:lnTo>
                    <a:pt x="91" y="63"/>
                  </a:lnTo>
                  <a:lnTo>
                    <a:pt x="93" y="59"/>
                  </a:lnTo>
                  <a:lnTo>
                    <a:pt x="95" y="54"/>
                  </a:lnTo>
                  <a:lnTo>
                    <a:pt x="95" y="49"/>
                  </a:lnTo>
                  <a:lnTo>
                    <a:pt x="95" y="43"/>
                  </a:lnTo>
                  <a:lnTo>
                    <a:pt x="90" y="33"/>
                  </a:lnTo>
                  <a:lnTo>
                    <a:pt x="84" y="23"/>
                  </a:lnTo>
                  <a:lnTo>
                    <a:pt x="76" y="13"/>
                  </a:lnTo>
                  <a:lnTo>
                    <a:pt x="68" y="7"/>
                  </a:lnTo>
                  <a:lnTo>
                    <a:pt x="64" y="3"/>
                  </a:lnTo>
                  <a:lnTo>
                    <a:pt x="59" y="2"/>
                  </a:lnTo>
                  <a:lnTo>
                    <a:pt x="56" y="1"/>
                  </a:lnTo>
                  <a:lnTo>
                    <a:pt x="52" y="0"/>
                  </a:lnTo>
                  <a:lnTo>
                    <a:pt x="44" y="2"/>
                  </a:lnTo>
                  <a:lnTo>
                    <a:pt x="36" y="6"/>
                  </a:lnTo>
                  <a:lnTo>
                    <a:pt x="27" y="12"/>
                  </a:lnTo>
                  <a:lnTo>
                    <a:pt x="19" y="18"/>
                  </a:lnTo>
                  <a:lnTo>
                    <a:pt x="5" y="30"/>
                  </a:lnTo>
                  <a:lnTo>
                    <a:pt x="0" y="37"/>
                  </a:lnTo>
                  <a:lnTo>
                    <a:pt x="22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6" name="Freeform 286"/>
            <p:cNvSpPr>
              <a:spLocks/>
            </p:cNvSpPr>
            <p:nvPr/>
          </p:nvSpPr>
          <p:spPr bwMode="auto">
            <a:xfrm>
              <a:off x="3349625" y="5724525"/>
              <a:ext cx="46038" cy="41275"/>
            </a:xfrm>
            <a:custGeom>
              <a:avLst/>
              <a:gdLst>
                <a:gd name="T0" fmla="*/ 37 w 119"/>
                <a:gd name="T1" fmla="*/ 104 h 104"/>
                <a:gd name="T2" fmla="*/ 30 w 119"/>
                <a:gd name="T3" fmla="*/ 103 h 104"/>
                <a:gd name="T4" fmla="*/ 22 w 119"/>
                <a:gd name="T5" fmla="*/ 97 h 104"/>
                <a:gd name="T6" fmla="*/ 23 w 119"/>
                <a:gd name="T7" fmla="*/ 88 h 104"/>
                <a:gd name="T8" fmla="*/ 30 w 119"/>
                <a:gd name="T9" fmla="*/ 81 h 104"/>
                <a:gd name="T10" fmla="*/ 34 w 119"/>
                <a:gd name="T11" fmla="*/ 79 h 104"/>
                <a:gd name="T12" fmla="*/ 54 w 119"/>
                <a:gd name="T13" fmla="*/ 79 h 104"/>
                <a:gd name="T14" fmla="*/ 86 w 119"/>
                <a:gd name="T15" fmla="*/ 73 h 104"/>
                <a:gd name="T16" fmla="*/ 94 w 119"/>
                <a:gd name="T17" fmla="*/ 63 h 104"/>
                <a:gd name="T18" fmla="*/ 92 w 119"/>
                <a:gd name="T19" fmla="*/ 51 h 104"/>
                <a:gd name="T20" fmla="*/ 83 w 119"/>
                <a:gd name="T21" fmla="*/ 38 h 104"/>
                <a:gd name="T22" fmla="*/ 69 w 119"/>
                <a:gd name="T23" fmla="*/ 27 h 104"/>
                <a:gd name="T24" fmla="*/ 64 w 119"/>
                <a:gd name="T25" fmla="*/ 24 h 104"/>
                <a:gd name="T26" fmla="*/ 55 w 119"/>
                <a:gd name="T27" fmla="*/ 28 h 104"/>
                <a:gd name="T28" fmla="*/ 44 w 119"/>
                <a:gd name="T29" fmla="*/ 35 h 104"/>
                <a:gd name="T30" fmla="*/ 21 w 119"/>
                <a:gd name="T31" fmla="*/ 56 h 104"/>
                <a:gd name="T32" fmla="*/ 12 w 119"/>
                <a:gd name="T33" fmla="*/ 60 h 104"/>
                <a:gd name="T34" fmla="*/ 4 w 119"/>
                <a:gd name="T35" fmla="*/ 56 h 104"/>
                <a:gd name="T36" fmla="*/ 0 w 119"/>
                <a:gd name="T37" fmla="*/ 49 h 104"/>
                <a:gd name="T38" fmla="*/ 3 w 119"/>
                <a:gd name="T39" fmla="*/ 40 h 104"/>
                <a:gd name="T40" fmla="*/ 28 w 119"/>
                <a:gd name="T41" fmla="*/ 17 h 104"/>
                <a:gd name="T42" fmla="*/ 47 w 119"/>
                <a:gd name="T43" fmla="*/ 5 h 104"/>
                <a:gd name="T44" fmla="*/ 64 w 119"/>
                <a:gd name="T45" fmla="*/ 0 h 104"/>
                <a:gd name="T46" fmla="*/ 70 w 119"/>
                <a:gd name="T47" fmla="*/ 1 h 104"/>
                <a:gd name="T48" fmla="*/ 83 w 119"/>
                <a:gd name="T49" fmla="*/ 7 h 104"/>
                <a:gd name="T50" fmla="*/ 97 w 119"/>
                <a:gd name="T51" fmla="*/ 17 h 104"/>
                <a:gd name="T52" fmla="*/ 107 w 119"/>
                <a:gd name="T53" fmla="*/ 29 h 104"/>
                <a:gd name="T54" fmla="*/ 114 w 119"/>
                <a:gd name="T55" fmla="*/ 43 h 104"/>
                <a:gd name="T56" fmla="*/ 118 w 119"/>
                <a:gd name="T57" fmla="*/ 54 h 104"/>
                <a:gd name="T58" fmla="*/ 119 w 119"/>
                <a:gd name="T59" fmla="*/ 65 h 104"/>
                <a:gd name="T60" fmla="*/ 117 w 119"/>
                <a:gd name="T61" fmla="*/ 76 h 104"/>
                <a:gd name="T62" fmla="*/ 110 w 119"/>
                <a:gd name="T63" fmla="*/ 84 h 104"/>
                <a:gd name="T64" fmla="*/ 104 w 119"/>
                <a:gd name="T65" fmla="*/ 90 h 104"/>
                <a:gd name="T66" fmla="*/ 90 w 119"/>
                <a:gd name="T67" fmla="*/ 98 h 104"/>
                <a:gd name="T68" fmla="*/ 58 w 119"/>
                <a:gd name="T69" fmla="*/ 10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9" h="104">
                  <a:moveTo>
                    <a:pt x="39" y="104"/>
                  </a:moveTo>
                  <a:lnTo>
                    <a:pt x="37" y="104"/>
                  </a:lnTo>
                  <a:lnTo>
                    <a:pt x="33" y="104"/>
                  </a:lnTo>
                  <a:lnTo>
                    <a:pt x="30" y="103"/>
                  </a:lnTo>
                  <a:lnTo>
                    <a:pt x="26" y="100"/>
                  </a:lnTo>
                  <a:lnTo>
                    <a:pt x="22" y="97"/>
                  </a:lnTo>
                  <a:lnTo>
                    <a:pt x="22" y="93"/>
                  </a:lnTo>
                  <a:lnTo>
                    <a:pt x="23" y="88"/>
                  </a:lnTo>
                  <a:lnTo>
                    <a:pt x="26" y="83"/>
                  </a:lnTo>
                  <a:lnTo>
                    <a:pt x="30" y="81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54" y="79"/>
                  </a:lnTo>
                  <a:lnTo>
                    <a:pt x="72" y="77"/>
                  </a:lnTo>
                  <a:lnTo>
                    <a:pt x="86" y="73"/>
                  </a:lnTo>
                  <a:lnTo>
                    <a:pt x="93" y="70"/>
                  </a:lnTo>
                  <a:lnTo>
                    <a:pt x="94" y="63"/>
                  </a:lnTo>
                  <a:lnTo>
                    <a:pt x="94" y="57"/>
                  </a:lnTo>
                  <a:lnTo>
                    <a:pt x="92" y="51"/>
                  </a:lnTo>
                  <a:lnTo>
                    <a:pt x="90" y="48"/>
                  </a:lnTo>
                  <a:lnTo>
                    <a:pt x="83" y="38"/>
                  </a:lnTo>
                  <a:lnTo>
                    <a:pt x="76" y="32"/>
                  </a:lnTo>
                  <a:lnTo>
                    <a:pt x="69" y="27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5"/>
                  </a:lnTo>
                  <a:lnTo>
                    <a:pt x="55" y="28"/>
                  </a:lnTo>
                  <a:lnTo>
                    <a:pt x="50" y="30"/>
                  </a:lnTo>
                  <a:lnTo>
                    <a:pt x="44" y="35"/>
                  </a:lnTo>
                  <a:lnTo>
                    <a:pt x="32" y="45"/>
                  </a:lnTo>
                  <a:lnTo>
                    <a:pt x="21" y="56"/>
                  </a:lnTo>
                  <a:lnTo>
                    <a:pt x="17" y="59"/>
                  </a:lnTo>
                  <a:lnTo>
                    <a:pt x="12" y="60"/>
                  </a:lnTo>
                  <a:lnTo>
                    <a:pt x="7" y="59"/>
                  </a:lnTo>
                  <a:lnTo>
                    <a:pt x="4" y="56"/>
                  </a:lnTo>
                  <a:lnTo>
                    <a:pt x="1" y="52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3" y="40"/>
                  </a:lnTo>
                  <a:lnTo>
                    <a:pt x="14" y="30"/>
                  </a:lnTo>
                  <a:lnTo>
                    <a:pt x="28" y="17"/>
                  </a:lnTo>
                  <a:lnTo>
                    <a:pt x="37" y="11"/>
                  </a:lnTo>
                  <a:lnTo>
                    <a:pt x="47" y="5"/>
                  </a:lnTo>
                  <a:lnTo>
                    <a:pt x="55" y="1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0" y="1"/>
                  </a:lnTo>
                  <a:lnTo>
                    <a:pt x="77" y="3"/>
                  </a:lnTo>
                  <a:lnTo>
                    <a:pt x="83" y="7"/>
                  </a:lnTo>
                  <a:lnTo>
                    <a:pt x="91" y="11"/>
                  </a:lnTo>
                  <a:lnTo>
                    <a:pt x="97" y="17"/>
                  </a:lnTo>
                  <a:lnTo>
                    <a:pt x="102" y="23"/>
                  </a:lnTo>
                  <a:lnTo>
                    <a:pt x="107" y="29"/>
                  </a:lnTo>
                  <a:lnTo>
                    <a:pt x="110" y="37"/>
                  </a:lnTo>
                  <a:lnTo>
                    <a:pt x="114" y="43"/>
                  </a:lnTo>
                  <a:lnTo>
                    <a:pt x="117" y="48"/>
                  </a:lnTo>
                  <a:lnTo>
                    <a:pt x="118" y="54"/>
                  </a:lnTo>
                  <a:lnTo>
                    <a:pt x="119" y="60"/>
                  </a:lnTo>
                  <a:lnTo>
                    <a:pt x="119" y="65"/>
                  </a:lnTo>
                  <a:lnTo>
                    <a:pt x="118" y="71"/>
                  </a:lnTo>
                  <a:lnTo>
                    <a:pt x="117" y="76"/>
                  </a:lnTo>
                  <a:lnTo>
                    <a:pt x="114" y="81"/>
                  </a:lnTo>
                  <a:lnTo>
                    <a:pt x="110" y="84"/>
                  </a:lnTo>
                  <a:lnTo>
                    <a:pt x="108" y="88"/>
                  </a:lnTo>
                  <a:lnTo>
                    <a:pt x="104" y="90"/>
                  </a:lnTo>
                  <a:lnTo>
                    <a:pt x="99" y="93"/>
                  </a:lnTo>
                  <a:lnTo>
                    <a:pt x="90" y="98"/>
                  </a:lnTo>
                  <a:lnTo>
                    <a:pt x="80" y="100"/>
                  </a:lnTo>
                  <a:lnTo>
                    <a:pt x="58" y="103"/>
                  </a:lnTo>
                  <a:lnTo>
                    <a:pt x="39" y="10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7" name="Freeform 287"/>
            <p:cNvSpPr>
              <a:spLocks/>
            </p:cNvSpPr>
            <p:nvPr/>
          </p:nvSpPr>
          <p:spPr bwMode="auto">
            <a:xfrm>
              <a:off x="3257550" y="5740400"/>
              <a:ext cx="107950" cy="80963"/>
            </a:xfrm>
            <a:custGeom>
              <a:avLst/>
              <a:gdLst>
                <a:gd name="T0" fmla="*/ 239 w 274"/>
                <a:gd name="T1" fmla="*/ 0 h 206"/>
                <a:gd name="T2" fmla="*/ 116 w 274"/>
                <a:gd name="T3" fmla="*/ 60 h 206"/>
                <a:gd name="T4" fmla="*/ 24 w 274"/>
                <a:gd name="T5" fmla="*/ 103 h 206"/>
                <a:gd name="T6" fmla="*/ 15 w 274"/>
                <a:gd name="T7" fmla="*/ 109 h 206"/>
                <a:gd name="T8" fmla="*/ 9 w 274"/>
                <a:gd name="T9" fmla="*/ 116 h 206"/>
                <a:gd name="T10" fmla="*/ 4 w 274"/>
                <a:gd name="T11" fmla="*/ 126 h 206"/>
                <a:gd name="T12" fmla="*/ 2 w 274"/>
                <a:gd name="T13" fmla="*/ 136 h 206"/>
                <a:gd name="T14" fmla="*/ 0 w 274"/>
                <a:gd name="T15" fmla="*/ 147 h 206"/>
                <a:gd name="T16" fmla="*/ 0 w 274"/>
                <a:gd name="T17" fmla="*/ 157 h 206"/>
                <a:gd name="T18" fmla="*/ 3 w 274"/>
                <a:gd name="T19" fmla="*/ 168 h 206"/>
                <a:gd name="T20" fmla="*/ 7 w 274"/>
                <a:gd name="T21" fmla="*/ 178 h 206"/>
                <a:gd name="T22" fmla="*/ 9 w 274"/>
                <a:gd name="T23" fmla="*/ 182 h 206"/>
                <a:gd name="T24" fmla="*/ 13 w 274"/>
                <a:gd name="T25" fmla="*/ 187 h 206"/>
                <a:gd name="T26" fmla="*/ 15 w 274"/>
                <a:gd name="T27" fmla="*/ 192 h 206"/>
                <a:gd name="T28" fmla="*/ 19 w 274"/>
                <a:gd name="T29" fmla="*/ 196 h 206"/>
                <a:gd name="T30" fmla="*/ 27 w 274"/>
                <a:gd name="T31" fmla="*/ 201 h 206"/>
                <a:gd name="T32" fmla="*/ 36 w 274"/>
                <a:gd name="T33" fmla="*/ 204 h 206"/>
                <a:gd name="T34" fmla="*/ 46 w 274"/>
                <a:gd name="T35" fmla="*/ 206 h 206"/>
                <a:gd name="T36" fmla="*/ 56 w 274"/>
                <a:gd name="T37" fmla="*/ 206 h 206"/>
                <a:gd name="T38" fmla="*/ 64 w 274"/>
                <a:gd name="T39" fmla="*/ 203 h 206"/>
                <a:gd name="T40" fmla="*/ 74 w 274"/>
                <a:gd name="T41" fmla="*/ 200 h 206"/>
                <a:gd name="T42" fmla="*/ 274 w 274"/>
                <a:gd name="T43" fmla="*/ 67 h 206"/>
                <a:gd name="T44" fmla="*/ 239 w 274"/>
                <a:gd name="T4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4" h="206">
                  <a:moveTo>
                    <a:pt x="239" y="0"/>
                  </a:moveTo>
                  <a:lnTo>
                    <a:pt x="116" y="60"/>
                  </a:lnTo>
                  <a:lnTo>
                    <a:pt x="24" y="103"/>
                  </a:lnTo>
                  <a:lnTo>
                    <a:pt x="15" y="109"/>
                  </a:lnTo>
                  <a:lnTo>
                    <a:pt x="9" y="116"/>
                  </a:lnTo>
                  <a:lnTo>
                    <a:pt x="4" y="126"/>
                  </a:lnTo>
                  <a:lnTo>
                    <a:pt x="2" y="136"/>
                  </a:lnTo>
                  <a:lnTo>
                    <a:pt x="0" y="147"/>
                  </a:lnTo>
                  <a:lnTo>
                    <a:pt x="0" y="157"/>
                  </a:lnTo>
                  <a:lnTo>
                    <a:pt x="3" y="168"/>
                  </a:lnTo>
                  <a:lnTo>
                    <a:pt x="7" y="178"/>
                  </a:lnTo>
                  <a:lnTo>
                    <a:pt x="9" y="182"/>
                  </a:lnTo>
                  <a:lnTo>
                    <a:pt x="13" y="187"/>
                  </a:lnTo>
                  <a:lnTo>
                    <a:pt x="15" y="192"/>
                  </a:lnTo>
                  <a:lnTo>
                    <a:pt x="19" y="196"/>
                  </a:lnTo>
                  <a:lnTo>
                    <a:pt x="27" y="201"/>
                  </a:lnTo>
                  <a:lnTo>
                    <a:pt x="36" y="204"/>
                  </a:lnTo>
                  <a:lnTo>
                    <a:pt x="46" y="206"/>
                  </a:lnTo>
                  <a:lnTo>
                    <a:pt x="56" y="206"/>
                  </a:lnTo>
                  <a:lnTo>
                    <a:pt x="64" y="203"/>
                  </a:lnTo>
                  <a:lnTo>
                    <a:pt x="74" y="200"/>
                  </a:lnTo>
                  <a:lnTo>
                    <a:pt x="274" y="67"/>
                  </a:lnTo>
                  <a:lnTo>
                    <a:pt x="239" y="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8" name="Freeform 288"/>
            <p:cNvSpPr>
              <a:spLocks noEditPoints="1"/>
            </p:cNvSpPr>
            <p:nvPr/>
          </p:nvSpPr>
          <p:spPr bwMode="auto">
            <a:xfrm>
              <a:off x="3252788" y="5735638"/>
              <a:ext cx="117475" cy="90488"/>
            </a:xfrm>
            <a:custGeom>
              <a:avLst/>
              <a:gdLst>
                <a:gd name="T0" fmla="*/ 246 w 298"/>
                <a:gd name="T1" fmla="*/ 27 h 230"/>
                <a:gd name="T2" fmla="*/ 41 w 298"/>
                <a:gd name="T3" fmla="*/ 126 h 230"/>
                <a:gd name="T4" fmla="*/ 34 w 298"/>
                <a:gd name="T5" fmla="*/ 131 h 230"/>
                <a:gd name="T6" fmla="*/ 31 w 298"/>
                <a:gd name="T7" fmla="*/ 136 h 230"/>
                <a:gd name="T8" fmla="*/ 27 w 298"/>
                <a:gd name="T9" fmla="*/ 143 h 230"/>
                <a:gd name="T10" fmla="*/ 25 w 298"/>
                <a:gd name="T11" fmla="*/ 150 h 230"/>
                <a:gd name="T12" fmla="*/ 23 w 298"/>
                <a:gd name="T13" fmla="*/ 159 h 230"/>
                <a:gd name="T14" fmla="*/ 25 w 298"/>
                <a:gd name="T15" fmla="*/ 167 h 230"/>
                <a:gd name="T16" fmla="*/ 26 w 298"/>
                <a:gd name="T17" fmla="*/ 176 h 230"/>
                <a:gd name="T18" fmla="*/ 28 w 298"/>
                <a:gd name="T19" fmla="*/ 185 h 230"/>
                <a:gd name="T20" fmla="*/ 33 w 298"/>
                <a:gd name="T21" fmla="*/ 191 h 230"/>
                <a:gd name="T22" fmla="*/ 37 w 298"/>
                <a:gd name="T23" fmla="*/ 197 h 230"/>
                <a:gd name="T24" fmla="*/ 43 w 298"/>
                <a:gd name="T25" fmla="*/ 201 h 230"/>
                <a:gd name="T26" fmla="*/ 48 w 298"/>
                <a:gd name="T27" fmla="*/ 205 h 230"/>
                <a:gd name="T28" fmla="*/ 55 w 298"/>
                <a:gd name="T29" fmla="*/ 207 h 230"/>
                <a:gd name="T30" fmla="*/ 64 w 298"/>
                <a:gd name="T31" fmla="*/ 205 h 230"/>
                <a:gd name="T32" fmla="*/ 71 w 298"/>
                <a:gd name="T33" fmla="*/ 204 h 230"/>
                <a:gd name="T34" fmla="*/ 80 w 298"/>
                <a:gd name="T35" fmla="*/ 201 h 230"/>
                <a:gd name="T36" fmla="*/ 271 w 298"/>
                <a:gd name="T37" fmla="*/ 74 h 230"/>
                <a:gd name="T38" fmla="*/ 246 w 298"/>
                <a:gd name="T39" fmla="*/ 27 h 230"/>
                <a:gd name="T40" fmla="*/ 59 w 298"/>
                <a:gd name="T41" fmla="*/ 230 h 230"/>
                <a:gd name="T42" fmla="*/ 49 w 298"/>
                <a:gd name="T43" fmla="*/ 230 h 230"/>
                <a:gd name="T44" fmla="*/ 41 w 298"/>
                <a:gd name="T45" fmla="*/ 227 h 230"/>
                <a:gd name="T46" fmla="*/ 36 w 298"/>
                <a:gd name="T47" fmla="*/ 225 h 230"/>
                <a:gd name="T48" fmla="*/ 31 w 298"/>
                <a:gd name="T49" fmla="*/ 223 h 230"/>
                <a:gd name="T50" fmla="*/ 26 w 298"/>
                <a:gd name="T51" fmla="*/ 219 h 230"/>
                <a:gd name="T52" fmla="*/ 21 w 298"/>
                <a:gd name="T53" fmla="*/ 215 h 230"/>
                <a:gd name="T54" fmla="*/ 14 w 298"/>
                <a:gd name="T55" fmla="*/ 205 h 230"/>
                <a:gd name="T56" fmla="*/ 7 w 298"/>
                <a:gd name="T57" fmla="*/ 193 h 230"/>
                <a:gd name="T58" fmla="*/ 3 w 298"/>
                <a:gd name="T59" fmla="*/ 182 h 230"/>
                <a:gd name="T60" fmla="*/ 0 w 298"/>
                <a:gd name="T61" fmla="*/ 171 h 230"/>
                <a:gd name="T62" fmla="*/ 0 w 298"/>
                <a:gd name="T63" fmla="*/ 158 h 230"/>
                <a:gd name="T64" fmla="*/ 1 w 298"/>
                <a:gd name="T65" fmla="*/ 145 h 230"/>
                <a:gd name="T66" fmla="*/ 5 w 298"/>
                <a:gd name="T67" fmla="*/ 133 h 230"/>
                <a:gd name="T68" fmla="*/ 11 w 298"/>
                <a:gd name="T69" fmla="*/ 121 h 230"/>
                <a:gd name="T70" fmla="*/ 15 w 298"/>
                <a:gd name="T71" fmla="*/ 116 h 230"/>
                <a:gd name="T72" fmla="*/ 20 w 298"/>
                <a:gd name="T73" fmla="*/ 111 h 230"/>
                <a:gd name="T74" fmla="*/ 23 w 298"/>
                <a:gd name="T75" fmla="*/ 107 h 230"/>
                <a:gd name="T76" fmla="*/ 30 w 298"/>
                <a:gd name="T77" fmla="*/ 104 h 230"/>
                <a:gd name="T78" fmla="*/ 246 w 298"/>
                <a:gd name="T79" fmla="*/ 0 h 230"/>
                <a:gd name="T80" fmla="*/ 251 w 298"/>
                <a:gd name="T81" fmla="*/ 0 h 230"/>
                <a:gd name="T82" fmla="*/ 256 w 298"/>
                <a:gd name="T83" fmla="*/ 0 h 230"/>
                <a:gd name="T84" fmla="*/ 260 w 298"/>
                <a:gd name="T85" fmla="*/ 2 h 230"/>
                <a:gd name="T86" fmla="*/ 262 w 298"/>
                <a:gd name="T87" fmla="*/ 7 h 230"/>
                <a:gd name="T88" fmla="*/ 297 w 298"/>
                <a:gd name="T89" fmla="*/ 74 h 230"/>
                <a:gd name="T90" fmla="*/ 298 w 298"/>
                <a:gd name="T91" fmla="*/ 78 h 230"/>
                <a:gd name="T92" fmla="*/ 298 w 298"/>
                <a:gd name="T93" fmla="*/ 82 h 230"/>
                <a:gd name="T94" fmla="*/ 295 w 298"/>
                <a:gd name="T95" fmla="*/ 85 h 230"/>
                <a:gd name="T96" fmla="*/ 293 w 298"/>
                <a:gd name="T97" fmla="*/ 88 h 230"/>
                <a:gd name="T98" fmla="*/ 92 w 298"/>
                <a:gd name="T99" fmla="*/ 220 h 230"/>
                <a:gd name="T100" fmla="*/ 83 w 298"/>
                <a:gd name="T101" fmla="*/ 225 h 230"/>
                <a:gd name="T102" fmla="*/ 75 w 298"/>
                <a:gd name="T103" fmla="*/ 227 h 230"/>
                <a:gd name="T104" fmla="*/ 66 w 298"/>
                <a:gd name="T105" fmla="*/ 229 h 230"/>
                <a:gd name="T106" fmla="*/ 59 w 298"/>
                <a:gd name="T10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230">
                  <a:moveTo>
                    <a:pt x="246" y="27"/>
                  </a:moveTo>
                  <a:lnTo>
                    <a:pt x="41" y="126"/>
                  </a:lnTo>
                  <a:lnTo>
                    <a:pt x="34" y="131"/>
                  </a:lnTo>
                  <a:lnTo>
                    <a:pt x="31" y="136"/>
                  </a:lnTo>
                  <a:lnTo>
                    <a:pt x="27" y="143"/>
                  </a:lnTo>
                  <a:lnTo>
                    <a:pt x="25" y="150"/>
                  </a:lnTo>
                  <a:lnTo>
                    <a:pt x="23" y="159"/>
                  </a:lnTo>
                  <a:lnTo>
                    <a:pt x="25" y="167"/>
                  </a:lnTo>
                  <a:lnTo>
                    <a:pt x="26" y="176"/>
                  </a:lnTo>
                  <a:lnTo>
                    <a:pt x="28" y="185"/>
                  </a:lnTo>
                  <a:lnTo>
                    <a:pt x="33" y="191"/>
                  </a:lnTo>
                  <a:lnTo>
                    <a:pt x="37" y="197"/>
                  </a:lnTo>
                  <a:lnTo>
                    <a:pt x="43" y="201"/>
                  </a:lnTo>
                  <a:lnTo>
                    <a:pt x="48" y="205"/>
                  </a:lnTo>
                  <a:lnTo>
                    <a:pt x="55" y="207"/>
                  </a:lnTo>
                  <a:lnTo>
                    <a:pt x="64" y="205"/>
                  </a:lnTo>
                  <a:lnTo>
                    <a:pt x="71" y="204"/>
                  </a:lnTo>
                  <a:lnTo>
                    <a:pt x="80" y="201"/>
                  </a:lnTo>
                  <a:lnTo>
                    <a:pt x="271" y="74"/>
                  </a:lnTo>
                  <a:lnTo>
                    <a:pt x="246" y="27"/>
                  </a:lnTo>
                  <a:close/>
                  <a:moveTo>
                    <a:pt x="59" y="230"/>
                  </a:moveTo>
                  <a:lnTo>
                    <a:pt x="49" y="230"/>
                  </a:lnTo>
                  <a:lnTo>
                    <a:pt x="41" y="227"/>
                  </a:lnTo>
                  <a:lnTo>
                    <a:pt x="36" y="225"/>
                  </a:lnTo>
                  <a:lnTo>
                    <a:pt x="31" y="223"/>
                  </a:lnTo>
                  <a:lnTo>
                    <a:pt x="26" y="219"/>
                  </a:lnTo>
                  <a:lnTo>
                    <a:pt x="21" y="215"/>
                  </a:lnTo>
                  <a:lnTo>
                    <a:pt x="14" y="205"/>
                  </a:lnTo>
                  <a:lnTo>
                    <a:pt x="7" y="193"/>
                  </a:lnTo>
                  <a:lnTo>
                    <a:pt x="3" y="182"/>
                  </a:lnTo>
                  <a:lnTo>
                    <a:pt x="0" y="171"/>
                  </a:lnTo>
                  <a:lnTo>
                    <a:pt x="0" y="158"/>
                  </a:lnTo>
                  <a:lnTo>
                    <a:pt x="1" y="145"/>
                  </a:lnTo>
                  <a:lnTo>
                    <a:pt x="5" y="133"/>
                  </a:lnTo>
                  <a:lnTo>
                    <a:pt x="11" y="121"/>
                  </a:lnTo>
                  <a:lnTo>
                    <a:pt x="15" y="116"/>
                  </a:lnTo>
                  <a:lnTo>
                    <a:pt x="20" y="111"/>
                  </a:lnTo>
                  <a:lnTo>
                    <a:pt x="23" y="107"/>
                  </a:lnTo>
                  <a:lnTo>
                    <a:pt x="30" y="104"/>
                  </a:lnTo>
                  <a:lnTo>
                    <a:pt x="246" y="0"/>
                  </a:lnTo>
                  <a:lnTo>
                    <a:pt x="251" y="0"/>
                  </a:lnTo>
                  <a:lnTo>
                    <a:pt x="256" y="0"/>
                  </a:lnTo>
                  <a:lnTo>
                    <a:pt x="260" y="2"/>
                  </a:lnTo>
                  <a:lnTo>
                    <a:pt x="262" y="7"/>
                  </a:lnTo>
                  <a:lnTo>
                    <a:pt x="297" y="74"/>
                  </a:lnTo>
                  <a:lnTo>
                    <a:pt x="298" y="78"/>
                  </a:lnTo>
                  <a:lnTo>
                    <a:pt x="298" y="82"/>
                  </a:lnTo>
                  <a:lnTo>
                    <a:pt x="295" y="85"/>
                  </a:lnTo>
                  <a:lnTo>
                    <a:pt x="293" y="88"/>
                  </a:lnTo>
                  <a:lnTo>
                    <a:pt x="92" y="220"/>
                  </a:lnTo>
                  <a:lnTo>
                    <a:pt x="83" y="225"/>
                  </a:lnTo>
                  <a:lnTo>
                    <a:pt x="75" y="227"/>
                  </a:lnTo>
                  <a:lnTo>
                    <a:pt x="66" y="229"/>
                  </a:lnTo>
                  <a:lnTo>
                    <a:pt x="59" y="23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99" name="Freeform 289"/>
            <p:cNvSpPr>
              <a:spLocks/>
            </p:cNvSpPr>
            <p:nvPr/>
          </p:nvSpPr>
          <p:spPr bwMode="auto">
            <a:xfrm>
              <a:off x="3252788" y="5627688"/>
              <a:ext cx="303213" cy="169863"/>
            </a:xfrm>
            <a:custGeom>
              <a:avLst/>
              <a:gdLst>
                <a:gd name="T0" fmla="*/ 750 w 766"/>
                <a:gd name="T1" fmla="*/ 426 h 427"/>
                <a:gd name="T2" fmla="*/ 743 w 766"/>
                <a:gd name="T3" fmla="*/ 421 h 427"/>
                <a:gd name="T4" fmla="*/ 735 w 766"/>
                <a:gd name="T5" fmla="*/ 383 h 427"/>
                <a:gd name="T6" fmla="*/ 721 w 766"/>
                <a:gd name="T7" fmla="*/ 319 h 427"/>
                <a:gd name="T8" fmla="*/ 704 w 766"/>
                <a:gd name="T9" fmla="*/ 262 h 427"/>
                <a:gd name="T10" fmla="*/ 685 w 766"/>
                <a:gd name="T11" fmla="*/ 212 h 427"/>
                <a:gd name="T12" fmla="*/ 659 w 766"/>
                <a:gd name="T13" fmla="*/ 150 h 427"/>
                <a:gd name="T14" fmla="*/ 634 w 766"/>
                <a:gd name="T15" fmla="*/ 99 h 427"/>
                <a:gd name="T16" fmla="*/ 619 w 766"/>
                <a:gd name="T17" fmla="*/ 82 h 427"/>
                <a:gd name="T18" fmla="*/ 598 w 766"/>
                <a:gd name="T19" fmla="*/ 67 h 427"/>
                <a:gd name="T20" fmla="*/ 563 w 766"/>
                <a:gd name="T21" fmla="*/ 50 h 427"/>
                <a:gd name="T22" fmla="*/ 495 w 766"/>
                <a:gd name="T23" fmla="*/ 30 h 427"/>
                <a:gd name="T24" fmla="*/ 392 w 766"/>
                <a:gd name="T25" fmla="*/ 115 h 427"/>
                <a:gd name="T26" fmla="*/ 389 w 766"/>
                <a:gd name="T27" fmla="*/ 119 h 427"/>
                <a:gd name="T28" fmla="*/ 384 w 766"/>
                <a:gd name="T29" fmla="*/ 119 h 427"/>
                <a:gd name="T30" fmla="*/ 379 w 766"/>
                <a:gd name="T31" fmla="*/ 119 h 427"/>
                <a:gd name="T32" fmla="*/ 374 w 766"/>
                <a:gd name="T33" fmla="*/ 115 h 427"/>
                <a:gd name="T34" fmla="*/ 283 w 766"/>
                <a:gd name="T35" fmla="*/ 27 h 427"/>
                <a:gd name="T36" fmla="*/ 244 w 766"/>
                <a:gd name="T37" fmla="*/ 37 h 427"/>
                <a:gd name="T38" fmla="*/ 198 w 766"/>
                <a:gd name="T39" fmla="*/ 53 h 427"/>
                <a:gd name="T40" fmla="*/ 165 w 766"/>
                <a:gd name="T41" fmla="*/ 70 h 427"/>
                <a:gd name="T42" fmla="*/ 146 w 766"/>
                <a:gd name="T43" fmla="*/ 83 h 427"/>
                <a:gd name="T44" fmla="*/ 138 w 766"/>
                <a:gd name="T45" fmla="*/ 90 h 427"/>
                <a:gd name="T46" fmla="*/ 124 w 766"/>
                <a:gd name="T47" fmla="*/ 114 h 427"/>
                <a:gd name="T48" fmla="*/ 92 w 766"/>
                <a:gd name="T49" fmla="*/ 181 h 427"/>
                <a:gd name="T50" fmla="*/ 74 w 766"/>
                <a:gd name="T51" fmla="*/ 229 h 427"/>
                <a:gd name="T52" fmla="*/ 55 w 766"/>
                <a:gd name="T53" fmla="*/ 284 h 427"/>
                <a:gd name="T54" fmla="*/ 38 w 766"/>
                <a:gd name="T55" fmla="*/ 348 h 427"/>
                <a:gd name="T56" fmla="*/ 25 w 766"/>
                <a:gd name="T57" fmla="*/ 416 h 427"/>
                <a:gd name="T58" fmla="*/ 20 w 766"/>
                <a:gd name="T59" fmla="*/ 425 h 427"/>
                <a:gd name="T60" fmla="*/ 11 w 766"/>
                <a:gd name="T61" fmla="*/ 427 h 427"/>
                <a:gd name="T62" fmla="*/ 3 w 766"/>
                <a:gd name="T63" fmla="*/ 421 h 427"/>
                <a:gd name="T64" fmla="*/ 0 w 766"/>
                <a:gd name="T65" fmla="*/ 411 h 427"/>
                <a:gd name="T66" fmla="*/ 15 w 766"/>
                <a:gd name="T67" fmla="*/ 342 h 427"/>
                <a:gd name="T68" fmla="*/ 32 w 766"/>
                <a:gd name="T69" fmla="*/ 278 h 427"/>
                <a:gd name="T70" fmla="*/ 51 w 766"/>
                <a:gd name="T71" fmla="*/ 220 h 427"/>
                <a:gd name="T72" fmla="*/ 70 w 766"/>
                <a:gd name="T73" fmla="*/ 173 h 427"/>
                <a:gd name="T74" fmla="*/ 103 w 766"/>
                <a:gd name="T75" fmla="*/ 103 h 427"/>
                <a:gd name="T76" fmla="*/ 119 w 766"/>
                <a:gd name="T77" fmla="*/ 76 h 427"/>
                <a:gd name="T78" fmla="*/ 141 w 766"/>
                <a:gd name="T79" fmla="*/ 57 h 427"/>
                <a:gd name="T80" fmla="*/ 168 w 766"/>
                <a:gd name="T81" fmla="*/ 42 h 427"/>
                <a:gd name="T82" fmla="*/ 196 w 766"/>
                <a:gd name="T83" fmla="*/ 28 h 427"/>
                <a:gd name="T84" fmla="*/ 226 w 766"/>
                <a:gd name="T85" fmla="*/ 18 h 427"/>
                <a:gd name="T86" fmla="*/ 298 w 766"/>
                <a:gd name="T87" fmla="*/ 0 h 427"/>
                <a:gd name="T88" fmla="*/ 309 w 766"/>
                <a:gd name="T89" fmla="*/ 5 h 427"/>
                <a:gd name="T90" fmla="*/ 450 w 766"/>
                <a:gd name="T91" fmla="*/ 5 h 427"/>
                <a:gd name="T92" fmla="*/ 461 w 766"/>
                <a:gd name="T93" fmla="*/ 0 h 427"/>
                <a:gd name="T94" fmla="*/ 484 w 766"/>
                <a:gd name="T95" fmla="*/ 5 h 427"/>
                <a:gd name="T96" fmla="*/ 534 w 766"/>
                <a:gd name="T97" fmla="*/ 16 h 427"/>
                <a:gd name="T98" fmla="*/ 564 w 766"/>
                <a:gd name="T99" fmla="*/ 26 h 427"/>
                <a:gd name="T100" fmla="*/ 593 w 766"/>
                <a:gd name="T101" fmla="*/ 38 h 427"/>
                <a:gd name="T102" fmla="*/ 621 w 766"/>
                <a:gd name="T103" fmla="*/ 54 h 427"/>
                <a:gd name="T104" fmla="*/ 646 w 766"/>
                <a:gd name="T105" fmla="*/ 75 h 427"/>
                <a:gd name="T106" fmla="*/ 648 w 766"/>
                <a:gd name="T107" fmla="*/ 76 h 427"/>
                <a:gd name="T108" fmla="*/ 667 w 766"/>
                <a:gd name="T109" fmla="*/ 110 h 427"/>
                <a:gd name="T110" fmla="*/ 700 w 766"/>
                <a:gd name="T111" fmla="*/ 181 h 427"/>
                <a:gd name="T112" fmla="*/ 718 w 766"/>
                <a:gd name="T113" fmla="*/ 228 h 427"/>
                <a:gd name="T114" fmla="*/ 737 w 766"/>
                <a:gd name="T115" fmla="*/ 283 h 427"/>
                <a:gd name="T116" fmla="*/ 753 w 766"/>
                <a:gd name="T117" fmla="*/ 344 h 427"/>
                <a:gd name="T118" fmla="*/ 766 w 766"/>
                <a:gd name="T119" fmla="*/ 411 h 427"/>
                <a:gd name="T120" fmla="*/ 764 w 766"/>
                <a:gd name="T121" fmla="*/ 421 h 427"/>
                <a:gd name="T122" fmla="*/ 756 w 766"/>
                <a:gd name="T123" fmla="*/ 427 h 427"/>
                <a:gd name="T124" fmla="*/ 754 w 766"/>
                <a:gd name="T125" fmla="*/ 42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6" h="427">
                  <a:moveTo>
                    <a:pt x="754" y="427"/>
                  </a:moveTo>
                  <a:lnTo>
                    <a:pt x="750" y="426"/>
                  </a:lnTo>
                  <a:lnTo>
                    <a:pt x="746" y="425"/>
                  </a:lnTo>
                  <a:lnTo>
                    <a:pt x="743" y="421"/>
                  </a:lnTo>
                  <a:lnTo>
                    <a:pt x="741" y="416"/>
                  </a:lnTo>
                  <a:lnTo>
                    <a:pt x="735" y="383"/>
                  </a:lnTo>
                  <a:lnTo>
                    <a:pt x="729" y="350"/>
                  </a:lnTo>
                  <a:lnTo>
                    <a:pt x="721" y="319"/>
                  </a:lnTo>
                  <a:lnTo>
                    <a:pt x="713" y="290"/>
                  </a:lnTo>
                  <a:lnTo>
                    <a:pt x="704" y="262"/>
                  </a:lnTo>
                  <a:lnTo>
                    <a:pt x="695" y="236"/>
                  </a:lnTo>
                  <a:lnTo>
                    <a:pt x="685" y="212"/>
                  </a:lnTo>
                  <a:lnTo>
                    <a:pt x="677" y="188"/>
                  </a:lnTo>
                  <a:lnTo>
                    <a:pt x="659" y="150"/>
                  </a:lnTo>
                  <a:lnTo>
                    <a:pt x="645" y="120"/>
                  </a:lnTo>
                  <a:lnTo>
                    <a:pt x="634" y="99"/>
                  </a:lnTo>
                  <a:lnTo>
                    <a:pt x="628" y="90"/>
                  </a:lnTo>
                  <a:lnTo>
                    <a:pt x="619" y="82"/>
                  </a:lnTo>
                  <a:lnTo>
                    <a:pt x="609" y="75"/>
                  </a:lnTo>
                  <a:lnTo>
                    <a:pt x="598" y="67"/>
                  </a:lnTo>
                  <a:lnTo>
                    <a:pt x="587" y="61"/>
                  </a:lnTo>
                  <a:lnTo>
                    <a:pt x="563" y="50"/>
                  </a:lnTo>
                  <a:lnTo>
                    <a:pt x="539" y="42"/>
                  </a:lnTo>
                  <a:lnTo>
                    <a:pt x="495" y="30"/>
                  </a:lnTo>
                  <a:lnTo>
                    <a:pt x="465" y="24"/>
                  </a:lnTo>
                  <a:lnTo>
                    <a:pt x="392" y="115"/>
                  </a:lnTo>
                  <a:lnTo>
                    <a:pt x="390" y="117"/>
                  </a:lnTo>
                  <a:lnTo>
                    <a:pt x="389" y="119"/>
                  </a:lnTo>
                  <a:lnTo>
                    <a:pt x="386" y="119"/>
                  </a:lnTo>
                  <a:lnTo>
                    <a:pt x="384" y="119"/>
                  </a:lnTo>
                  <a:lnTo>
                    <a:pt x="381" y="119"/>
                  </a:lnTo>
                  <a:lnTo>
                    <a:pt x="379" y="119"/>
                  </a:lnTo>
                  <a:lnTo>
                    <a:pt x="376" y="117"/>
                  </a:lnTo>
                  <a:lnTo>
                    <a:pt x="374" y="115"/>
                  </a:lnTo>
                  <a:lnTo>
                    <a:pt x="296" y="24"/>
                  </a:lnTo>
                  <a:lnTo>
                    <a:pt x="283" y="27"/>
                  </a:lnTo>
                  <a:lnTo>
                    <a:pt x="265" y="30"/>
                  </a:lnTo>
                  <a:lnTo>
                    <a:pt x="244" y="37"/>
                  </a:lnTo>
                  <a:lnTo>
                    <a:pt x="221" y="44"/>
                  </a:lnTo>
                  <a:lnTo>
                    <a:pt x="198" y="53"/>
                  </a:lnTo>
                  <a:lnTo>
                    <a:pt x="176" y="64"/>
                  </a:lnTo>
                  <a:lnTo>
                    <a:pt x="165" y="70"/>
                  </a:lnTo>
                  <a:lnTo>
                    <a:pt x="155" y="76"/>
                  </a:lnTo>
                  <a:lnTo>
                    <a:pt x="146" y="83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4" y="97"/>
                  </a:lnTo>
                  <a:lnTo>
                    <a:pt x="124" y="114"/>
                  </a:lnTo>
                  <a:lnTo>
                    <a:pt x="111" y="143"/>
                  </a:lnTo>
                  <a:lnTo>
                    <a:pt x="92" y="181"/>
                  </a:lnTo>
                  <a:lnTo>
                    <a:pt x="84" y="204"/>
                  </a:lnTo>
                  <a:lnTo>
                    <a:pt x="74" y="229"/>
                  </a:lnTo>
                  <a:lnTo>
                    <a:pt x="64" y="256"/>
                  </a:lnTo>
                  <a:lnTo>
                    <a:pt x="55" y="284"/>
                  </a:lnTo>
                  <a:lnTo>
                    <a:pt x="47" y="315"/>
                  </a:lnTo>
                  <a:lnTo>
                    <a:pt x="38" y="348"/>
                  </a:lnTo>
                  <a:lnTo>
                    <a:pt x="31" y="381"/>
                  </a:lnTo>
                  <a:lnTo>
                    <a:pt x="25" y="416"/>
                  </a:lnTo>
                  <a:lnTo>
                    <a:pt x="22" y="421"/>
                  </a:lnTo>
                  <a:lnTo>
                    <a:pt x="20" y="425"/>
                  </a:lnTo>
                  <a:lnTo>
                    <a:pt x="15" y="426"/>
                  </a:lnTo>
                  <a:lnTo>
                    <a:pt x="11" y="427"/>
                  </a:lnTo>
                  <a:lnTo>
                    <a:pt x="6" y="425"/>
                  </a:lnTo>
                  <a:lnTo>
                    <a:pt x="3" y="421"/>
                  </a:lnTo>
                  <a:lnTo>
                    <a:pt x="2" y="416"/>
                  </a:lnTo>
                  <a:lnTo>
                    <a:pt x="0" y="411"/>
                  </a:lnTo>
                  <a:lnTo>
                    <a:pt x="8" y="376"/>
                  </a:lnTo>
                  <a:lnTo>
                    <a:pt x="15" y="342"/>
                  </a:lnTo>
                  <a:lnTo>
                    <a:pt x="24" y="308"/>
                  </a:lnTo>
                  <a:lnTo>
                    <a:pt x="32" y="278"/>
                  </a:lnTo>
                  <a:lnTo>
                    <a:pt x="41" y="248"/>
                  </a:lnTo>
                  <a:lnTo>
                    <a:pt x="51" y="220"/>
                  </a:lnTo>
                  <a:lnTo>
                    <a:pt x="60" y="196"/>
                  </a:lnTo>
                  <a:lnTo>
                    <a:pt x="70" y="173"/>
                  </a:lnTo>
                  <a:lnTo>
                    <a:pt x="89" y="133"/>
                  </a:lnTo>
                  <a:lnTo>
                    <a:pt x="103" y="103"/>
                  </a:lnTo>
                  <a:lnTo>
                    <a:pt x="114" y="84"/>
                  </a:lnTo>
                  <a:lnTo>
                    <a:pt x="119" y="76"/>
                  </a:lnTo>
                  <a:lnTo>
                    <a:pt x="129" y="66"/>
                  </a:lnTo>
                  <a:lnTo>
                    <a:pt x="141" y="57"/>
                  </a:lnTo>
                  <a:lnTo>
                    <a:pt x="153" y="49"/>
                  </a:lnTo>
                  <a:lnTo>
                    <a:pt x="168" y="42"/>
                  </a:lnTo>
                  <a:lnTo>
                    <a:pt x="182" y="34"/>
                  </a:lnTo>
                  <a:lnTo>
                    <a:pt x="196" y="28"/>
                  </a:lnTo>
                  <a:lnTo>
                    <a:pt x="211" y="23"/>
                  </a:lnTo>
                  <a:lnTo>
                    <a:pt x="226" y="18"/>
                  </a:lnTo>
                  <a:lnTo>
                    <a:pt x="275" y="5"/>
                  </a:lnTo>
                  <a:lnTo>
                    <a:pt x="298" y="0"/>
                  </a:lnTo>
                  <a:lnTo>
                    <a:pt x="304" y="1"/>
                  </a:lnTo>
                  <a:lnTo>
                    <a:pt x="309" y="5"/>
                  </a:lnTo>
                  <a:lnTo>
                    <a:pt x="383" y="90"/>
                  </a:lnTo>
                  <a:lnTo>
                    <a:pt x="450" y="5"/>
                  </a:lnTo>
                  <a:lnTo>
                    <a:pt x="456" y="1"/>
                  </a:lnTo>
                  <a:lnTo>
                    <a:pt x="461" y="0"/>
                  </a:lnTo>
                  <a:lnTo>
                    <a:pt x="468" y="1"/>
                  </a:lnTo>
                  <a:lnTo>
                    <a:pt x="484" y="5"/>
                  </a:lnTo>
                  <a:lnTo>
                    <a:pt x="506" y="8"/>
                  </a:lnTo>
                  <a:lnTo>
                    <a:pt x="534" y="16"/>
                  </a:lnTo>
                  <a:lnTo>
                    <a:pt x="549" y="21"/>
                  </a:lnTo>
                  <a:lnTo>
                    <a:pt x="564" y="26"/>
                  </a:lnTo>
                  <a:lnTo>
                    <a:pt x="579" y="32"/>
                  </a:lnTo>
                  <a:lnTo>
                    <a:pt x="593" y="38"/>
                  </a:lnTo>
                  <a:lnTo>
                    <a:pt x="608" y="45"/>
                  </a:lnTo>
                  <a:lnTo>
                    <a:pt x="621" y="54"/>
                  </a:lnTo>
                  <a:lnTo>
                    <a:pt x="635" y="64"/>
                  </a:lnTo>
                  <a:lnTo>
                    <a:pt x="646" y="75"/>
                  </a:lnTo>
                  <a:lnTo>
                    <a:pt x="647" y="76"/>
                  </a:lnTo>
                  <a:lnTo>
                    <a:pt x="648" y="76"/>
                  </a:lnTo>
                  <a:lnTo>
                    <a:pt x="655" y="88"/>
                  </a:lnTo>
                  <a:lnTo>
                    <a:pt x="667" y="110"/>
                  </a:lnTo>
                  <a:lnTo>
                    <a:pt x="681" y="141"/>
                  </a:lnTo>
                  <a:lnTo>
                    <a:pt x="700" y="181"/>
                  </a:lnTo>
                  <a:lnTo>
                    <a:pt x="708" y="203"/>
                  </a:lnTo>
                  <a:lnTo>
                    <a:pt x="718" y="228"/>
                  </a:lnTo>
                  <a:lnTo>
                    <a:pt x="727" y="255"/>
                  </a:lnTo>
                  <a:lnTo>
                    <a:pt x="737" y="283"/>
                  </a:lnTo>
                  <a:lnTo>
                    <a:pt x="744" y="313"/>
                  </a:lnTo>
                  <a:lnTo>
                    <a:pt x="753" y="344"/>
                  </a:lnTo>
                  <a:lnTo>
                    <a:pt x="760" y="377"/>
                  </a:lnTo>
                  <a:lnTo>
                    <a:pt x="766" y="411"/>
                  </a:lnTo>
                  <a:lnTo>
                    <a:pt x="766" y="416"/>
                  </a:lnTo>
                  <a:lnTo>
                    <a:pt x="764" y="421"/>
                  </a:lnTo>
                  <a:lnTo>
                    <a:pt x="760" y="425"/>
                  </a:lnTo>
                  <a:lnTo>
                    <a:pt x="756" y="427"/>
                  </a:lnTo>
                  <a:lnTo>
                    <a:pt x="755" y="427"/>
                  </a:lnTo>
                  <a:lnTo>
                    <a:pt x="754" y="427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00" name="Freeform 290"/>
            <p:cNvSpPr>
              <a:spLocks/>
            </p:cNvSpPr>
            <p:nvPr/>
          </p:nvSpPr>
          <p:spPr bwMode="auto">
            <a:xfrm>
              <a:off x="3471863" y="5707063"/>
              <a:ext cx="34925" cy="57150"/>
            </a:xfrm>
            <a:custGeom>
              <a:avLst/>
              <a:gdLst>
                <a:gd name="T0" fmla="*/ 76 w 87"/>
                <a:gd name="T1" fmla="*/ 144 h 144"/>
                <a:gd name="T2" fmla="*/ 72 w 87"/>
                <a:gd name="T3" fmla="*/ 144 h 144"/>
                <a:gd name="T4" fmla="*/ 70 w 87"/>
                <a:gd name="T5" fmla="*/ 143 h 144"/>
                <a:gd name="T6" fmla="*/ 67 w 87"/>
                <a:gd name="T7" fmla="*/ 141 h 144"/>
                <a:gd name="T8" fmla="*/ 65 w 87"/>
                <a:gd name="T9" fmla="*/ 137 h 144"/>
                <a:gd name="T10" fmla="*/ 23 w 87"/>
                <a:gd name="T11" fmla="*/ 59 h 144"/>
                <a:gd name="T12" fmla="*/ 23 w 87"/>
                <a:gd name="T13" fmla="*/ 104 h 144"/>
                <a:gd name="T14" fmla="*/ 22 w 87"/>
                <a:gd name="T15" fmla="*/ 108 h 144"/>
                <a:gd name="T16" fmla="*/ 19 w 87"/>
                <a:gd name="T17" fmla="*/ 111 h 144"/>
                <a:gd name="T18" fmla="*/ 16 w 87"/>
                <a:gd name="T19" fmla="*/ 114 h 144"/>
                <a:gd name="T20" fmla="*/ 11 w 87"/>
                <a:gd name="T21" fmla="*/ 115 h 144"/>
                <a:gd name="T22" fmla="*/ 6 w 87"/>
                <a:gd name="T23" fmla="*/ 114 h 144"/>
                <a:gd name="T24" fmla="*/ 2 w 87"/>
                <a:gd name="T25" fmla="*/ 111 h 144"/>
                <a:gd name="T26" fmla="*/ 0 w 87"/>
                <a:gd name="T27" fmla="*/ 108 h 144"/>
                <a:gd name="T28" fmla="*/ 0 w 87"/>
                <a:gd name="T29" fmla="*/ 104 h 144"/>
                <a:gd name="T30" fmla="*/ 0 w 87"/>
                <a:gd name="T31" fmla="*/ 12 h 144"/>
                <a:gd name="T32" fmla="*/ 0 w 87"/>
                <a:gd name="T33" fmla="*/ 8 h 144"/>
                <a:gd name="T34" fmla="*/ 2 w 87"/>
                <a:gd name="T35" fmla="*/ 5 h 144"/>
                <a:gd name="T36" fmla="*/ 5 w 87"/>
                <a:gd name="T37" fmla="*/ 2 h 144"/>
                <a:gd name="T38" fmla="*/ 8 w 87"/>
                <a:gd name="T39" fmla="*/ 0 h 144"/>
                <a:gd name="T40" fmla="*/ 12 w 87"/>
                <a:gd name="T41" fmla="*/ 0 h 144"/>
                <a:gd name="T42" fmla="*/ 16 w 87"/>
                <a:gd name="T43" fmla="*/ 0 h 144"/>
                <a:gd name="T44" fmla="*/ 19 w 87"/>
                <a:gd name="T45" fmla="*/ 2 h 144"/>
                <a:gd name="T46" fmla="*/ 22 w 87"/>
                <a:gd name="T47" fmla="*/ 7 h 144"/>
                <a:gd name="T48" fmla="*/ 86 w 87"/>
                <a:gd name="T49" fmla="*/ 126 h 144"/>
                <a:gd name="T50" fmla="*/ 87 w 87"/>
                <a:gd name="T51" fmla="*/ 131 h 144"/>
                <a:gd name="T52" fmla="*/ 87 w 87"/>
                <a:gd name="T53" fmla="*/ 136 h 144"/>
                <a:gd name="T54" fmla="*/ 84 w 87"/>
                <a:gd name="T55" fmla="*/ 140 h 144"/>
                <a:gd name="T56" fmla="*/ 81 w 87"/>
                <a:gd name="T57" fmla="*/ 142 h 144"/>
                <a:gd name="T58" fmla="*/ 78 w 87"/>
                <a:gd name="T59" fmla="*/ 144 h 144"/>
                <a:gd name="T60" fmla="*/ 76 w 87"/>
                <a:gd name="T6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7" h="144">
                  <a:moveTo>
                    <a:pt x="76" y="144"/>
                  </a:moveTo>
                  <a:lnTo>
                    <a:pt x="72" y="144"/>
                  </a:lnTo>
                  <a:lnTo>
                    <a:pt x="70" y="143"/>
                  </a:lnTo>
                  <a:lnTo>
                    <a:pt x="67" y="141"/>
                  </a:lnTo>
                  <a:lnTo>
                    <a:pt x="65" y="137"/>
                  </a:lnTo>
                  <a:lnTo>
                    <a:pt x="23" y="59"/>
                  </a:lnTo>
                  <a:lnTo>
                    <a:pt x="23" y="104"/>
                  </a:lnTo>
                  <a:lnTo>
                    <a:pt x="22" y="108"/>
                  </a:lnTo>
                  <a:lnTo>
                    <a:pt x="19" y="111"/>
                  </a:lnTo>
                  <a:lnTo>
                    <a:pt x="16" y="114"/>
                  </a:lnTo>
                  <a:lnTo>
                    <a:pt x="11" y="115"/>
                  </a:lnTo>
                  <a:lnTo>
                    <a:pt x="6" y="114"/>
                  </a:lnTo>
                  <a:lnTo>
                    <a:pt x="2" y="111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5"/>
                  </a:lnTo>
                  <a:lnTo>
                    <a:pt x="5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22" y="7"/>
                  </a:lnTo>
                  <a:lnTo>
                    <a:pt x="86" y="126"/>
                  </a:lnTo>
                  <a:lnTo>
                    <a:pt x="87" y="131"/>
                  </a:lnTo>
                  <a:lnTo>
                    <a:pt x="87" y="136"/>
                  </a:lnTo>
                  <a:lnTo>
                    <a:pt x="84" y="140"/>
                  </a:lnTo>
                  <a:lnTo>
                    <a:pt x="81" y="142"/>
                  </a:lnTo>
                  <a:lnTo>
                    <a:pt x="78" y="144"/>
                  </a:lnTo>
                  <a:lnTo>
                    <a:pt x="76" y="14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01" name="Freeform 291"/>
            <p:cNvSpPr>
              <a:spLocks/>
            </p:cNvSpPr>
            <p:nvPr/>
          </p:nvSpPr>
          <p:spPr bwMode="auto">
            <a:xfrm>
              <a:off x="3417888" y="5729288"/>
              <a:ext cx="36513" cy="31750"/>
            </a:xfrm>
            <a:custGeom>
              <a:avLst/>
              <a:gdLst>
                <a:gd name="T0" fmla="*/ 73 w 94"/>
                <a:gd name="T1" fmla="*/ 82 h 82"/>
                <a:gd name="T2" fmla="*/ 63 w 94"/>
                <a:gd name="T3" fmla="*/ 81 h 82"/>
                <a:gd name="T4" fmla="*/ 43 w 94"/>
                <a:gd name="T5" fmla="*/ 79 h 82"/>
                <a:gd name="T6" fmla="*/ 30 w 94"/>
                <a:gd name="T7" fmla="*/ 77 h 82"/>
                <a:gd name="T8" fmla="*/ 19 w 94"/>
                <a:gd name="T9" fmla="*/ 73 h 82"/>
                <a:gd name="T10" fmla="*/ 14 w 94"/>
                <a:gd name="T11" fmla="*/ 72 h 82"/>
                <a:gd name="T12" fmla="*/ 9 w 94"/>
                <a:gd name="T13" fmla="*/ 70 h 82"/>
                <a:gd name="T14" fmla="*/ 6 w 94"/>
                <a:gd name="T15" fmla="*/ 67 h 82"/>
                <a:gd name="T16" fmla="*/ 3 w 94"/>
                <a:gd name="T17" fmla="*/ 63 h 82"/>
                <a:gd name="T18" fmla="*/ 1 w 94"/>
                <a:gd name="T19" fmla="*/ 59 h 82"/>
                <a:gd name="T20" fmla="*/ 0 w 94"/>
                <a:gd name="T21" fmla="*/ 54 h 82"/>
                <a:gd name="T22" fmla="*/ 0 w 94"/>
                <a:gd name="T23" fmla="*/ 49 h 82"/>
                <a:gd name="T24" fmla="*/ 1 w 94"/>
                <a:gd name="T25" fmla="*/ 43 h 82"/>
                <a:gd name="T26" fmla="*/ 5 w 94"/>
                <a:gd name="T27" fmla="*/ 33 h 82"/>
                <a:gd name="T28" fmla="*/ 11 w 94"/>
                <a:gd name="T29" fmla="*/ 23 h 82"/>
                <a:gd name="T30" fmla="*/ 18 w 94"/>
                <a:gd name="T31" fmla="*/ 13 h 82"/>
                <a:gd name="T32" fmla="*/ 27 w 94"/>
                <a:gd name="T33" fmla="*/ 7 h 82"/>
                <a:gd name="T34" fmla="*/ 30 w 94"/>
                <a:gd name="T35" fmla="*/ 3 h 82"/>
                <a:gd name="T36" fmla="*/ 35 w 94"/>
                <a:gd name="T37" fmla="*/ 2 h 82"/>
                <a:gd name="T38" fmla="*/ 39 w 94"/>
                <a:gd name="T39" fmla="*/ 1 h 82"/>
                <a:gd name="T40" fmla="*/ 43 w 94"/>
                <a:gd name="T41" fmla="*/ 0 h 82"/>
                <a:gd name="T42" fmla="*/ 50 w 94"/>
                <a:gd name="T43" fmla="*/ 2 h 82"/>
                <a:gd name="T44" fmla="*/ 58 w 94"/>
                <a:gd name="T45" fmla="*/ 6 h 82"/>
                <a:gd name="T46" fmla="*/ 67 w 94"/>
                <a:gd name="T47" fmla="*/ 12 h 82"/>
                <a:gd name="T48" fmla="*/ 76 w 94"/>
                <a:gd name="T49" fmla="*/ 18 h 82"/>
                <a:gd name="T50" fmla="*/ 89 w 94"/>
                <a:gd name="T51" fmla="*/ 30 h 82"/>
                <a:gd name="T52" fmla="*/ 94 w 94"/>
                <a:gd name="T53" fmla="*/ 37 h 82"/>
                <a:gd name="T54" fmla="*/ 73 w 94"/>
                <a:gd name="T5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" h="82">
                  <a:moveTo>
                    <a:pt x="73" y="82"/>
                  </a:moveTo>
                  <a:lnTo>
                    <a:pt x="63" y="81"/>
                  </a:lnTo>
                  <a:lnTo>
                    <a:pt x="43" y="79"/>
                  </a:lnTo>
                  <a:lnTo>
                    <a:pt x="30" y="77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9" y="70"/>
                  </a:lnTo>
                  <a:lnTo>
                    <a:pt x="6" y="67"/>
                  </a:lnTo>
                  <a:lnTo>
                    <a:pt x="3" y="63"/>
                  </a:lnTo>
                  <a:lnTo>
                    <a:pt x="1" y="59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1" y="43"/>
                  </a:lnTo>
                  <a:lnTo>
                    <a:pt x="5" y="33"/>
                  </a:lnTo>
                  <a:lnTo>
                    <a:pt x="11" y="23"/>
                  </a:lnTo>
                  <a:lnTo>
                    <a:pt x="18" y="13"/>
                  </a:lnTo>
                  <a:lnTo>
                    <a:pt x="27" y="7"/>
                  </a:lnTo>
                  <a:lnTo>
                    <a:pt x="30" y="3"/>
                  </a:lnTo>
                  <a:lnTo>
                    <a:pt x="35" y="2"/>
                  </a:lnTo>
                  <a:lnTo>
                    <a:pt x="39" y="1"/>
                  </a:lnTo>
                  <a:lnTo>
                    <a:pt x="43" y="0"/>
                  </a:lnTo>
                  <a:lnTo>
                    <a:pt x="50" y="2"/>
                  </a:lnTo>
                  <a:lnTo>
                    <a:pt x="58" y="6"/>
                  </a:lnTo>
                  <a:lnTo>
                    <a:pt x="67" y="12"/>
                  </a:lnTo>
                  <a:lnTo>
                    <a:pt x="76" y="18"/>
                  </a:lnTo>
                  <a:lnTo>
                    <a:pt x="89" y="30"/>
                  </a:lnTo>
                  <a:lnTo>
                    <a:pt x="94" y="37"/>
                  </a:lnTo>
                  <a:lnTo>
                    <a:pt x="73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02" name="Freeform 292"/>
            <p:cNvSpPr>
              <a:spLocks/>
            </p:cNvSpPr>
            <p:nvPr/>
          </p:nvSpPr>
          <p:spPr bwMode="auto">
            <a:xfrm>
              <a:off x="3413125" y="5724525"/>
              <a:ext cx="46038" cy="41275"/>
            </a:xfrm>
            <a:custGeom>
              <a:avLst/>
              <a:gdLst>
                <a:gd name="T0" fmla="*/ 62 w 119"/>
                <a:gd name="T1" fmla="*/ 103 h 104"/>
                <a:gd name="T2" fmla="*/ 30 w 119"/>
                <a:gd name="T3" fmla="*/ 98 h 104"/>
                <a:gd name="T4" fmla="*/ 16 w 119"/>
                <a:gd name="T5" fmla="*/ 90 h 104"/>
                <a:gd name="T6" fmla="*/ 9 w 119"/>
                <a:gd name="T7" fmla="*/ 84 h 104"/>
                <a:gd name="T8" fmla="*/ 3 w 119"/>
                <a:gd name="T9" fmla="*/ 76 h 104"/>
                <a:gd name="T10" fmla="*/ 0 w 119"/>
                <a:gd name="T11" fmla="*/ 65 h 104"/>
                <a:gd name="T12" fmla="*/ 2 w 119"/>
                <a:gd name="T13" fmla="*/ 54 h 104"/>
                <a:gd name="T14" fmla="*/ 5 w 119"/>
                <a:gd name="T15" fmla="*/ 43 h 104"/>
                <a:gd name="T16" fmla="*/ 13 w 119"/>
                <a:gd name="T17" fmla="*/ 29 h 104"/>
                <a:gd name="T18" fmla="*/ 22 w 119"/>
                <a:gd name="T19" fmla="*/ 17 h 104"/>
                <a:gd name="T20" fmla="*/ 36 w 119"/>
                <a:gd name="T21" fmla="*/ 7 h 104"/>
                <a:gd name="T22" fmla="*/ 49 w 119"/>
                <a:gd name="T23" fmla="*/ 1 h 104"/>
                <a:gd name="T24" fmla="*/ 56 w 119"/>
                <a:gd name="T25" fmla="*/ 0 h 104"/>
                <a:gd name="T26" fmla="*/ 74 w 119"/>
                <a:gd name="T27" fmla="*/ 5 h 104"/>
                <a:gd name="T28" fmla="*/ 91 w 119"/>
                <a:gd name="T29" fmla="*/ 17 h 104"/>
                <a:gd name="T30" fmla="*/ 117 w 119"/>
                <a:gd name="T31" fmla="*/ 40 h 104"/>
                <a:gd name="T32" fmla="*/ 119 w 119"/>
                <a:gd name="T33" fmla="*/ 49 h 104"/>
                <a:gd name="T34" fmla="*/ 116 w 119"/>
                <a:gd name="T35" fmla="*/ 56 h 104"/>
                <a:gd name="T36" fmla="*/ 107 w 119"/>
                <a:gd name="T37" fmla="*/ 60 h 104"/>
                <a:gd name="T38" fmla="*/ 98 w 119"/>
                <a:gd name="T39" fmla="*/ 56 h 104"/>
                <a:gd name="T40" fmla="*/ 75 w 119"/>
                <a:gd name="T41" fmla="*/ 35 h 104"/>
                <a:gd name="T42" fmla="*/ 64 w 119"/>
                <a:gd name="T43" fmla="*/ 28 h 104"/>
                <a:gd name="T44" fmla="*/ 56 w 119"/>
                <a:gd name="T45" fmla="*/ 24 h 104"/>
                <a:gd name="T46" fmla="*/ 56 w 119"/>
                <a:gd name="T47" fmla="*/ 24 h 104"/>
                <a:gd name="T48" fmla="*/ 43 w 119"/>
                <a:gd name="T49" fmla="*/ 32 h 104"/>
                <a:gd name="T50" fmla="*/ 30 w 119"/>
                <a:gd name="T51" fmla="*/ 48 h 104"/>
                <a:gd name="T52" fmla="*/ 25 w 119"/>
                <a:gd name="T53" fmla="*/ 57 h 104"/>
                <a:gd name="T54" fmla="*/ 26 w 119"/>
                <a:gd name="T55" fmla="*/ 70 h 104"/>
                <a:gd name="T56" fmla="*/ 47 w 119"/>
                <a:gd name="T57" fmla="*/ 77 h 104"/>
                <a:gd name="T58" fmla="*/ 85 w 119"/>
                <a:gd name="T59" fmla="*/ 79 h 104"/>
                <a:gd name="T60" fmla="*/ 86 w 119"/>
                <a:gd name="T61" fmla="*/ 79 h 104"/>
                <a:gd name="T62" fmla="*/ 93 w 119"/>
                <a:gd name="T63" fmla="*/ 83 h 104"/>
                <a:gd name="T64" fmla="*/ 97 w 119"/>
                <a:gd name="T65" fmla="*/ 93 h 104"/>
                <a:gd name="T66" fmla="*/ 95 w 119"/>
                <a:gd name="T67" fmla="*/ 100 h 104"/>
                <a:gd name="T68" fmla="*/ 86 w 119"/>
                <a:gd name="T69" fmla="*/ 104 h 104"/>
                <a:gd name="T70" fmla="*/ 80 w 119"/>
                <a:gd name="T7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9" h="104">
                  <a:moveTo>
                    <a:pt x="80" y="104"/>
                  </a:moveTo>
                  <a:lnTo>
                    <a:pt x="62" y="103"/>
                  </a:lnTo>
                  <a:lnTo>
                    <a:pt x="41" y="100"/>
                  </a:lnTo>
                  <a:lnTo>
                    <a:pt x="30" y="98"/>
                  </a:lnTo>
                  <a:lnTo>
                    <a:pt x="20" y="93"/>
                  </a:lnTo>
                  <a:lnTo>
                    <a:pt x="16" y="90"/>
                  </a:lnTo>
                  <a:lnTo>
                    <a:pt x="11" y="88"/>
                  </a:lnTo>
                  <a:lnTo>
                    <a:pt x="9" y="84"/>
                  </a:lnTo>
                  <a:lnTo>
                    <a:pt x="7" y="81"/>
                  </a:lnTo>
                  <a:lnTo>
                    <a:pt x="3" y="76"/>
                  </a:lnTo>
                  <a:lnTo>
                    <a:pt x="2" y="71"/>
                  </a:lnTo>
                  <a:lnTo>
                    <a:pt x="0" y="65"/>
                  </a:lnTo>
                  <a:lnTo>
                    <a:pt x="0" y="60"/>
                  </a:lnTo>
                  <a:lnTo>
                    <a:pt x="2" y="54"/>
                  </a:lnTo>
                  <a:lnTo>
                    <a:pt x="3" y="48"/>
                  </a:lnTo>
                  <a:lnTo>
                    <a:pt x="5" y="43"/>
                  </a:lnTo>
                  <a:lnTo>
                    <a:pt x="9" y="37"/>
                  </a:lnTo>
                  <a:lnTo>
                    <a:pt x="13" y="29"/>
                  </a:lnTo>
                  <a:lnTo>
                    <a:pt x="18" y="23"/>
                  </a:lnTo>
                  <a:lnTo>
                    <a:pt x="22" y="17"/>
                  </a:lnTo>
                  <a:lnTo>
                    <a:pt x="29" y="11"/>
                  </a:lnTo>
                  <a:lnTo>
                    <a:pt x="36" y="7"/>
                  </a:lnTo>
                  <a:lnTo>
                    <a:pt x="42" y="3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4" y="1"/>
                  </a:lnTo>
                  <a:lnTo>
                    <a:pt x="74" y="5"/>
                  </a:lnTo>
                  <a:lnTo>
                    <a:pt x="82" y="11"/>
                  </a:lnTo>
                  <a:lnTo>
                    <a:pt x="91" y="17"/>
                  </a:lnTo>
                  <a:lnTo>
                    <a:pt x="106" y="30"/>
                  </a:lnTo>
                  <a:lnTo>
                    <a:pt x="117" y="40"/>
                  </a:lnTo>
                  <a:lnTo>
                    <a:pt x="119" y="44"/>
                  </a:lnTo>
                  <a:lnTo>
                    <a:pt x="119" y="49"/>
                  </a:lnTo>
                  <a:lnTo>
                    <a:pt x="118" y="52"/>
                  </a:lnTo>
                  <a:lnTo>
                    <a:pt x="116" y="56"/>
                  </a:lnTo>
                  <a:lnTo>
                    <a:pt x="112" y="59"/>
                  </a:lnTo>
                  <a:lnTo>
                    <a:pt x="107" y="60"/>
                  </a:lnTo>
                  <a:lnTo>
                    <a:pt x="102" y="59"/>
                  </a:lnTo>
                  <a:lnTo>
                    <a:pt x="98" y="56"/>
                  </a:lnTo>
                  <a:lnTo>
                    <a:pt x="87" y="45"/>
                  </a:lnTo>
                  <a:lnTo>
                    <a:pt x="75" y="35"/>
                  </a:lnTo>
                  <a:lnTo>
                    <a:pt x="69" y="30"/>
                  </a:lnTo>
                  <a:lnTo>
                    <a:pt x="64" y="28"/>
                  </a:lnTo>
                  <a:lnTo>
                    <a:pt x="59" y="25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1" y="27"/>
                  </a:lnTo>
                  <a:lnTo>
                    <a:pt x="43" y="32"/>
                  </a:lnTo>
                  <a:lnTo>
                    <a:pt x="36" y="38"/>
                  </a:lnTo>
                  <a:lnTo>
                    <a:pt x="30" y="48"/>
                  </a:lnTo>
                  <a:lnTo>
                    <a:pt x="27" y="51"/>
                  </a:lnTo>
                  <a:lnTo>
                    <a:pt x="25" y="57"/>
                  </a:lnTo>
                  <a:lnTo>
                    <a:pt x="25" y="63"/>
                  </a:lnTo>
                  <a:lnTo>
                    <a:pt x="26" y="70"/>
                  </a:lnTo>
                  <a:lnTo>
                    <a:pt x="33" y="73"/>
                  </a:lnTo>
                  <a:lnTo>
                    <a:pt x="47" y="77"/>
                  </a:lnTo>
                  <a:lnTo>
                    <a:pt x="6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6" y="79"/>
                  </a:lnTo>
                  <a:lnTo>
                    <a:pt x="90" y="81"/>
                  </a:lnTo>
                  <a:lnTo>
                    <a:pt x="93" y="83"/>
                  </a:lnTo>
                  <a:lnTo>
                    <a:pt x="96" y="88"/>
                  </a:lnTo>
                  <a:lnTo>
                    <a:pt x="97" y="93"/>
                  </a:lnTo>
                  <a:lnTo>
                    <a:pt x="97" y="97"/>
                  </a:lnTo>
                  <a:lnTo>
                    <a:pt x="95" y="100"/>
                  </a:lnTo>
                  <a:lnTo>
                    <a:pt x="91" y="103"/>
                  </a:lnTo>
                  <a:lnTo>
                    <a:pt x="86" y="104"/>
                  </a:lnTo>
                  <a:lnTo>
                    <a:pt x="82" y="104"/>
                  </a:lnTo>
                  <a:lnTo>
                    <a:pt x="80" y="10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03" name="Freeform 293"/>
            <p:cNvSpPr>
              <a:spLocks/>
            </p:cNvSpPr>
            <p:nvPr/>
          </p:nvSpPr>
          <p:spPr bwMode="auto">
            <a:xfrm>
              <a:off x="3443288" y="5740400"/>
              <a:ext cx="107950" cy="80963"/>
            </a:xfrm>
            <a:custGeom>
              <a:avLst/>
              <a:gdLst>
                <a:gd name="T0" fmla="*/ 33 w 273"/>
                <a:gd name="T1" fmla="*/ 0 h 206"/>
                <a:gd name="T2" fmla="*/ 159 w 273"/>
                <a:gd name="T3" fmla="*/ 60 h 206"/>
                <a:gd name="T4" fmla="*/ 251 w 273"/>
                <a:gd name="T5" fmla="*/ 103 h 206"/>
                <a:gd name="T6" fmla="*/ 258 w 273"/>
                <a:gd name="T7" fmla="*/ 109 h 206"/>
                <a:gd name="T8" fmla="*/ 264 w 273"/>
                <a:gd name="T9" fmla="*/ 116 h 206"/>
                <a:gd name="T10" fmla="*/ 269 w 273"/>
                <a:gd name="T11" fmla="*/ 126 h 206"/>
                <a:gd name="T12" fmla="*/ 272 w 273"/>
                <a:gd name="T13" fmla="*/ 136 h 206"/>
                <a:gd name="T14" fmla="*/ 273 w 273"/>
                <a:gd name="T15" fmla="*/ 147 h 206"/>
                <a:gd name="T16" fmla="*/ 273 w 273"/>
                <a:gd name="T17" fmla="*/ 157 h 206"/>
                <a:gd name="T18" fmla="*/ 271 w 273"/>
                <a:gd name="T19" fmla="*/ 168 h 206"/>
                <a:gd name="T20" fmla="*/ 267 w 273"/>
                <a:gd name="T21" fmla="*/ 178 h 206"/>
                <a:gd name="T22" fmla="*/ 264 w 273"/>
                <a:gd name="T23" fmla="*/ 182 h 206"/>
                <a:gd name="T24" fmla="*/ 262 w 273"/>
                <a:gd name="T25" fmla="*/ 187 h 206"/>
                <a:gd name="T26" fmla="*/ 258 w 273"/>
                <a:gd name="T27" fmla="*/ 192 h 206"/>
                <a:gd name="T28" fmla="*/ 255 w 273"/>
                <a:gd name="T29" fmla="*/ 196 h 206"/>
                <a:gd name="T30" fmla="*/ 246 w 273"/>
                <a:gd name="T31" fmla="*/ 201 h 206"/>
                <a:gd name="T32" fmla="*/ 237 w 273"/>
                <a:gd name="T33" fmla="*/ 204 h 206"/>
                <a:gd name="T34" fmla="*/ 228 w 273"/>
                <a:gd name="T35" fmla="*/ 206 h 206"/>
                <a:gd name="T36" fmla="*/ 219 w 273"/>
                <a:gd name="T37" fmla="*/ 206 h 206"/>
                <a:gd name="T38" fmla="*/ 209 w 273"/>
                <a:gd name="T39" fmla="*/ 203 h 206"/>
                <a:gd name="T40" fmla="*/ 201 w 273"/>
                <a:gd name="T41" fmla="*/ 200 h 206"/>
                <a:gd name="T42" fmla="*/ 0 w 273"/>
                <a:gd name="T43" fmla="*/ 67 h 206"/>
                <a:gd name="T44" fmla="*/ 33 w 273"/>
                <a:gd name="T4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3" h="206">
                  <a:moveTo>
                    <a:pt x="33" y="0"/>
                  </a:moveTo>
                  <a:lnTo>
                    <a:pt x="159" y="60"/>
                  </a:lnTo>
                  <a:lnTo>
                    <a:pt x="251" y="103"/>
                  </a:lnTo>
                  <a:lnTo>
                    <a:pt x="258" y="109"/>
                  </a:lnTo>
                  <a:lnTo>
                    <a:pt x="264" y="116"/>
                  </a:lnTo>
                  <a:lnTo>
                    <a:pt x="269" y="126"/>
                  </a:lnTo>
                  <a:lnTo>
                    <a:pt x="272" y="136"/>
                  </a:lnTo>
                  <a:lnTo>
                    <a:pt x="273" y="147"/>
                  </a:lnTo>
                  <a:lnTo>
                    <a:pt x="273" y="157"/>
                  </a:lnTo>
                  <a:lnTo>
                    <a:pt x="271" y="168"/>
                  </a:lnTo>
                  <a:lnTo>
                    <a:pt x="267" y="178"/>
                  </a:lnTo>
                  <a:lnTo>
                    <a:pt x="264" y="182"/>
                  </a:lnTo>
                  <a:lnTo>
                    <a:pt x="262" y="187"/>
                  </a:lnTo>
                  <a:lnTo>
                    <a:pt x="258" y="192"/>
                  </a:lnTo>
                  <a:lnTo>
                    <a:pt x="255" y="196"/>
                  </a:lnTo>
                  <a:lnTo>
                    <a:pt x="246" y="201"/>
                  </a:lnTo>
                  <a:lnTo>
                    <a:pt x="237" y="204"/>
                  </a:lnTo>
                  <a:lnTo>
                    <a:pt x="228" y="206"/>
                  </a:lnTo>
                  <a:lnTo>
                    <a:pt x="219" y="206"/>
                  </a:lnTo>
                  <a:lnTo>
                    <a:pt x="209" y="203"/>
                  </a:lnTo>
                  <a:lnTo>
                    <a:pt x="201" y="200"/>
                  </a:lnTo>
                  <a:lnTo>
                    <a:pt x="0" y="67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04" name="Freeform 294"/>
            <p:cNvSpPr>
              <a:spLocks noEditPoints="1"/>
            </p:cNvSpPr>
            <p:nvPr/>
          </p:nvSpPr>
          <p:spPr bwMode="auto">
            <a:xfrm>
              <a:off x="3438525" y="5735638"/>
              <a:ext cx="119063" cy="90488"/>
            </a:xfrm>
            <a:custGeom>
              <a:avLst/>
              <a:gdLst>
                <a:gd name="T0" fmla="*/ 26 w 297"/>
                <a:gd name="T1" fmla="*/ 74 h 230"/>
                <a:gd name="T2" fmla="*/ 219 w 297"/>
                <a:gd name="T3" fmla="*/ 201 h 230"/>
                <a:gd name="T4" fmla="*/ 226 w 297"/>
                <a:gd name="T5" fmla="*/ 204 h 230"/>
                <a:gd name="T6" fmla="*/ 234 w 297"/>
                <a:gd name="T7" fmla="*/ 205 h 230"/>
                <a:gd name="T8" fmla="*/ 241 w 297"/>
                <a:gd name="T9" fmla="*/ 207 h 230"/>
                <a:gd name="T10" fmla="*/ 248 w 297"/>
                <a:gd name="T11" fmla="*/ 205 h 230"/>
                <a:gd name="T12" fmla="*/ 254 w 297"/>
                <a:gd name="T13" fmla="*/ 201 h 230"/>
                <a:gd name="T14" fmla="*/ 259 w 297"/>
                <a:gd name="T15" fmla="*/ 197 h 230"/>
                <a:gd name="T16" fmla="*/ 264 w 297"/>
                <a:gd name="T17" fmla="*/ 191 h 230"/>
                <a:gd name="T18" fmla="*/ 268 w 297"/>
                <a:gd name="T19" fmla="*/ 185 h 230"/>
                <a:gd name="T20" fmla="*/ 271 w 297"/>
                <a:gd name="T21" fmla="*/ 176 h 230"/>
                <a:gd name="T22" fmla="*/ 273 w 297"/>
                <a:gd name="T23" fmla="*/ 167 h 230"/>
                <a:gd name="T24" fmla="*/ 273 w 297"/>
                <a:gd name="T25" fmla="*/ 159 h 230"/>
                <a:gd name="T26" fmla="*/ 273 w 297"/>
                <a:gd name="T27" fmla="*/ 150 h 230"/>
                <a:gd name="T28" fmla="*/ 270 w 297"/>
                <a:gd name="T29" fmla="*/ 143 h 230"/>
                <a:gd name="T30" fmla="*/ 267 w 297"/>
                <a:gd name="T31" fmla="*/ 136 h 230"/>
                <a:gd name="T32" fmla="*/ 262 w 297"/>
                <a:gd name="T33" fmla="*/ 131 h 230"/>
                <a:gd name="T34" fmla="*/ 257 w 297"/>
                <a:gd name="T35" fmla="*/ 126 h 230"/>
                <a:gd name="T36" fmla="*/ 51 w 297"/>
                <a:gd name="T37" fmla="*/ 27 h 230"/>
                <a:gd name="T38" fmla="*/ 26 w 297"/>
                <a:gd name="T39" fmla="*/ 74 h 230"/>
                <a:gd name="T40" fmla="*/ 238 w 297"/>
                <a:gd name="T41" fmla="*/ 230 h 230"/>
                <a:gd name="T42" fmla="*/ 231 w 297"/>
                <a:gd name="T43" fmla="*/ 229 h 230"/>
                <a:gd name="T44" fmla="*/ 222 w 297"/>
                <a:gd name="T45" fmla="*/ 227 h 230"/>
                <a:gd name="T46" fmla="*/ 214 w 297"/>
                <a:gd name="T47" fmla="*/ 225 h 230"/>
                <a:gd name="T48" fmla="*/ 207 w 297"/>
                <a:gd name="T49" fmla="*/ 220 h 230"/>
                <a:gd name="T50" fmla="*/ 4 w 297"/>
                <a:gd name="T51" fmla="*/ 88 h 230"/>
                <a:gd name="T52" fmla="*/ 2 w 297"/>
                <a:gd name="T53" fmla="*/ 85 h 230"/>
                <a:gd name="T54" fmla="*/ 0 w 297"/>
                <a:gd name="T55" fmla="*/ 82 h 230"/>
                <a:gd name="T56" fmla="*/ 0 w 297"/>
                <a:gd name="T57" fmla="*/ 78 h 230"/>
                <a:gd name="T58" fmla="*/ 1 w 297"/>
                <a:gd name="T59" fmla="*/ 74 h 230"/>
                <a:gd name="T60" fmla="*/ 35 w 297"/>
                <a:gd name="T61" fmla="*/ 7 h 230"/>
                <a:gd name="T62" fmla="*/ 38 w 297"/>
                <a:gd name="T63" fmla="*/ 2 h 230"/>
                <a:gd name="T64" fmla="*/ 41 w 297"/>
                <a:gd name="T65" fmla="*/ 0 h 230"/>
                <a:gd name="T66" fmla="*/ 46 w 297"/>
                <a:gd name="T67" fmla="*/ 0 h 230"/>
                <a:gd name="T68" fmla="*/ 51 w 297"/>
                <a:gd name="T69" fmla="*/ 0 h 230"/>
                <a:gd name="T70" fmla="*/ 268 w 297"/>
                <a:gd name="T71" fmla="*/ 104 h 230"/>
                <a:gd name="T72" fmla="*/ 273 w 297"/>
                <a:gd name="T73" fmla="*/ 107 h 230"/>
                <a:gd name="T74" fmla="*/ 278 w 297"/>
                <a:gd name="T75" fmla="*/ 111 h 230"/>
                <a:gd name="T76" fmla="*/ 283 w 297"/>
                <a:gd name="T77" fmla="*/ 116 h 230"/>
                <a:gd name="T78" fmla="*/ 286 w 297"/>
                <a:gd name="T79" fmla="*/ 121 h 230"/>
                <a:gd name="T80" fmla="*/ 292 w 297"/>
                <a:gd name="T81" fmla="*/ 133 h 230"/>
                <a:gd name="T82" fmla="*/ 296 w 297"/>
                <a:gd name="T83" fmla="*/ 145 h 230"/>
                <a:gd name="T84" fmla="*/ 297 w 297"/>
                <a:gd name="T85" fmla="*/ 158 h 230"/>
                <a:gd name="T86" fmla="*/ 297 w 297"/>
                <a:gd name="T87" fmla="*/ 171 h 230"/>
                <a:gd name="T88" fmla="*/ 295 w 297"/>
                <a:gd name="T89" fmla="*/ 182 h 230"/>
                <a:gd name="T90" fmla="*/ 290 w 297"/>
                <a:gd name="T91" fmla="*/ 193 h 230"/>
                <a:gd name="T92" fmla="*/ 284 w 297"/>
                <a:gd name="T93" fmla="*/ 205 h 230"/>
                <a:gd name="T94" fmla="*/ 276 w 297"/>
                <a:gd name="T95" fmla="*/ 215 h 230"/>
                <a:gd name="T96" fmla="*/ 271 w 297"/>
                <a:gd name="T97" fmla="*/ 219 h 230"/>
                <a:gd name="T98" fmla="*/ 267 w 297"/>
                <a:gd name="T99" fmla="*/ 223 h 230"/>
                <a:gd name="T100" fmla="*/ 262 w 297"/>
                <a:gd name="T101" fmla="*/ 225 h 230"/>
                <a:gd name="T102" fmla="*/ 257 w 297"/>
                <a:gd name="T103" fmla="*/ 227 h 230"/>
                <a:gd name="T104" fmla="*/ 248 w 297"/>
                <a:gd name="T105" fmla="*/ 230 h 230"/>
                <a:gd name="T106" fmla="*/ 238 w 297"/>
                <a:gd name="T10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7" h="230">
                  <a:moveTo>
                    <a:pt x="26" y="74"/>
                  </a:moveTo>
                  <a:lnTo>
                    <a:pt x="219" y="201"/>
                  </a:lnTo>
                  <a:lnTo>
                    <a:pt x="226" y="204"/>
                  </a:lnTo>
                  <a:lnTo>
                    <a:pt x="234" y="205"/>
                  </a:lnTo>
                  <a:lnTo>
                    <a:pt x="241" y="207"/>
                  </a:lnTo>
                  <a:lnTo>
                    <a:pt x="248" y="205"/>
                  </a:lnTo>
                  <a:lnTo>
                    <a:pt x="254" y="201"/>
                  </a:lnTo>
                  <a:lnTo>
                    <a:pt x="259" y="197"/>
                  </a:lnTo>
                  <a:lnTo>
                    <a:pt x="264" y="191"/>
                  </a:lnTo>
                  <a:lnTo>
                    <a:pt x="268" y="185"/>
                  </a:lnTo>
                  <a:lnTo>
                    <a:pt x="271" y="176"/>
                  </a:lnTo>
                  <a:lnTo>
                    <a:pt x="273" y="167"/>
                  </a:lnTo>
                  <a:lnTo>
                    <a:pt x="273" y="159"/>
                  </a:lnTo>
                  <a:lnTo>
                    <a:pt x="273" y="150"/>
                  </a:lnTo>
                  <a:lnTo>
                    <a:pt x="270" y="143"/>
                  </a:lnTo>
                  <a:lnTo>
                    <a:pt x="267" y="136"/>
                  </a:lnTo>
                  <a:lnTo>
                    <a:pt x="262" y="131"/>
                  </a:lnTo>
                  <a:lnTo>
                    <a:pt x="257" y="126"/>
                  </a:lnTo>
                  <a:lnTo>
                    <a:pt x="51" y="27"/>
                  </a:lnTo>
                  <a:lnTo>
                    <a:pt x="26" y="74"/>
                  </a:lnTo>
                  <a:close/>
                  <a:moveTo>
                    <a:pt x="238" y="230"/>
                  </a:moveTo>
                  <a:lnTo>
                    <a:pt x="231" y="229"/>
                  </a:lnTo>
                  <a:lnTo>
                    <a:pt x="222" y="227"/>
                  </a:lnTo>
                  <a:lnTo>
                    <a:pt x="214" y="225"/>
                  </a:lnTo>
                  <a:lnTo>
                    <a:pt x="207" y="220"/>
                  </a:lnTo>
                  <a:lnTo>
                    <a:pt x="4" y="88"/>
                  </a:lnTo>
                  <a:lnTo>
                    <a:pt x="2" y="85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1" y="74"/>
                  </a:lnTo>
                  <a:lnTo>
                    <a:pt x="35" y="7"/>
                  </a:lnTo>
                  <a:lnTo>
                    <a:pt x="38" y="2"/>
                  </a:lnTo>
                  <a:lnTo>
                    <a:pt x="41" y="0"/>
                  </a:lnTo>
                  <a:lnTo>
                    <a:pt x="46" y="0"/>
                  </a:lnTo>
                  <a:lnTo>
                    <a:pt x="51" y="0"/>
                  </a:lnTo>
                  <a:lnTo>
                    <a:pt x="268" y="104"/>
                  </a:lnTo>
                  <a:lnTo>
                    <a:pt x="273" y="107"/>
                  </a:lnTo>
                  <a:lnTo>
                    <a:pt x="278" y="111"/>
                  </a:lnTo>
                  <a:lnTo>
                    <a:pt x="283" y="116"/>
                  </a:lnTo>
                  <a:lnTo>
                    <a:pt x="286" y="121"/>
                  </a:lnTo>
                  <a:lnTo>
                    <a:pt x="292" y="133"/>
                  </a:lnTo>
                  <a:lnTo>
                    <a:pt x="296" y="145"/>
                  </a:lnTo>
                  <a:lnTo>
                    <a:pt x="297" y="158"/>
                  </a:lnTo>
                  <a:lnTo>
                    <a:pt x="297" y="171"/>
                  </a:lnTo>
                  <a:lnTo>
                    <a:pt x="295" y="182"/>
                  </a:lnTo>
                  <a:lnTo>
                    <a:pt x="290" y="193"/>
                  </a:lnTo>
                  <a:lnTo>
                    <a:pt x="284" y="205"/>
                  </a:lnTo>
                  <a:lnTo>
                    <a:pt x="276" y="215"/>
                  </a:lnTo>
                  <a:lnTo>
                    <a:pt x="271" y="219"/>
                  </a:lnTo>
                  <a:lnTo>
                    <a:pt x="267" y="223"/>
                  </a:lnTo>
                  <a:lnTo>
                    <a:pt x="262" y="225"/>
                  </a:lnTo>
                  <a:lnTo>
                    <a:pt x="257" y="227"/>
                  </a:lnTo>
                  <a:lnTo>
                    <a:pt x="248" y="230"/>
                  </a:lnTo>
                  <a:lnTo>
                    <a:pt x="238" y="23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317" name="ZUA_z"/>
          <p:cNvGrpSpPr>
            <a:grpSpLocks noChangeAspect="1"/>
          </p:cNvGrpSpPr>
          <p:nvPr/>
        </p:nvGrpSpPr>
        <p:grpSpPr>
          <a:xfrm>
            <a:off x="7596336" y="1208002"/>
            <a:ext cx="367591" cy="255095"/>
            <a:chOff x="4265613" y="5299075"/>
            <a:chExt cx="736600" cy="511175"/>
          </a:xfrm>
        </p:grpSpPr>
        <p:sp>
          <p:nvSpPr>
            <p:cNvPr id="318" name="Freeform 67"/>
            <p:cNvSpPr>
              <a:spLocks/>
            </p:cNvSpPr>
            <p:nvPr/>
          </p:nvSpPr>
          <p:spPr bwMode="auto">
            <a:xfrm>
              <a:off x="4270375" y="5754688"/>
              <a:ext cx="727075" cy="50800"/>
            </a:xfrm>
            <a:custGeom>
              <a:avLst/>
              <a:gdLst>
                <a:gd name="T0" fmla="*/ 890 w 1375"/>
                <a:gd name="T1" fmla="*/ 0 h 96"/>
                <a:gd name="T2" fmla="*/ 888 w 1375"/>
                <a:gd name="T3" fmla="*/ 8 h 96"/>
                <a:gd name="T4" fmla="*/ 886 w 1375"/>
                <a:gd name="T5" fmla="*/ 16 h 96"/>
                <a:gd name="T6" fmla="*/ 883 w 1375"/>
                <a:gd name="T7" fmla="*/ 22 h 96"/>
                <a:gd name="T8" fmla="*/ 878 w 1375"/>
                <a:gd name="T9" fmla="*/ 29 h 96"/>
                <a:gd name="T10" fmla="*/ 873 w 1375"/>
                <a:gd name="T11" fmla="*/ 33 h 96"/>
                <a:gd name="T12" fmla="*/ 868 w 1375"/>
                <a:gd name="T13" fmla="*/ 37 h 96"/>
                <a:gd name="T14" fmla="*/ 861 w 1375"/>
                <a:gd name="T15" fmla="*/ 39 h 96"/>
                <a:gd name="T16" fmla="*/ 855 w 1375"/>
                <a:gd name="T17" fmla="*/ 40 h 96"/>
                <a:gd name="T18" fmla="*/ 521 w 1375"/>
                <a:gd name="T19" fmla="*/ 40 h 96"/>
                <a:gd name="T20" fmla="*/ 513 w 1375"/>
                <a:gd name="T21" fmla="*/ 39 h 96"/>
                <a:gd name="T22" fmla="*/ 508 w 1375"/>
                <a:gd name="T23" fmla="*/ 37 h 96"/>
                <a:gd name="T24" fmla="*/ 501 w 1375"/>
                <a:gd name="T25" fmla="*/ 33 h 96"/>
                <a:gd name="T26" fmla="*/ 496 w 1375"/>
                <a:gd name="T27" fmla="*/ 29 h 96"/>
                <a:gd name="T28" fmla="*/ 492 w 1375"/>
                <a:gd name="T29" fmla="*/ 22 h 96"/>
                <a:gd name="T30" fmla="*/ 488 w 1375"/>
                <a:gd name="T31" fmla="*/ 16 h 96"/>
                <a:gd name="T32" fmla="*/ 486 w 1375"/>
                <a:gd name="T33" fmla="*/ 8 h 96"/>
                <a:gd name="T34" fmla="*/ 485 w 1375"/>
                <a:gd name="T35" fmla="*/ 0 h 96"/>
                <a:gd name="T36" fmla="*/ 0 w 1375"/>
                <a:gd name="T37" fmla="*/ 0 h 96"/>
                <a:gd name="T38" fmla="*/ 1 w 1375"/>
                <a:gd name="T39" fmla="*/ 9 h 96"/>
                <a:gd name="T40" fmla="*/ 4 w 1375"/>
                <a:gd name="T41" fmla="*/ 19 h 96"/>
                <a:gd name="T42" fmla="*/ 7 w 1375"/>
                <a:gd name="T43" fmla="*/ 29 h 96"/>
                <a:gd name="T44" fmla="*/ 11 w 1375"/>
                <a:gd name="T45" fmla="*/ 37 h 96"/>
                <a:gd name="T46" fmla="*/ 17 w 1375"/>
                <a:gd name="T47" fmla="*/ 46 h 96"/>
                <a:gd name="T48" fmla="*/ 23 w 1375"/>
                <a:gd name="T49" fmla="*/ 54 h 96"/>
                <a:gd name="T50" fmla="*/ 29 w 1375"/>
                <a:gd name="T51" fmla="*/ 62 h 96"/>
                <a:gd name="T52" fmla="*/ 36 w 1375"/>
                <a:gd name="T53" fmla="*/ 68 h 96"/>
                <a:gd name="T54" fmla="*/ 43 w 1375"/>
                <a:gd name="T55" fmla="*/ 75 h 96"/>
                <a:gd name="T56" fmla="*/ 52 w 1375"/>
                <a:gd name="T57" fmla="*/ 80 h 96"/>
                <a:gd name="T58" fmla="*/ 59 w 1375"/>
                <a:gd name="T59" fmla="*/ 86 h 96"/>
                <a:gd name="T60" fmla="*/ 68 w 1375"/>
                <a:gd name="T61" fmla="*/ 89 h 96"/>
                <a:gd name="T62" fmla="*/ 77 w 1375"/>
                <a:gd name="T63" fmla="*/ 92 h 96"/>
                <a:gd name="T64" fmla="*/ 84 w 1375"/>
                <a:gd name="T65" fmla="*/ 95 h 96"/>
                <a:gd name="T66" fmla="*/ 93 w 1375"/>
                <a:gd name="T67" fmla="*/ 96 h 96"/>
                <a:gd name="T68" fmla="*/ 100 w 1375"/>
                <a:gd name="T69" fmla="*/ 96 h 96"/>
                <a:gd name="T70" fmla="*/ 1274 w 1375"/>
                <a:gd name="T71" fmla="*/ 96 h 96"/>
                <a:gd name="T72" fmla="*/ 1281 w 1375"/>
                <a:gd name="T73" fmla="*/ 96 h 96"/>
                <a:gd name="T74" fmla="*/ 1290 w 1375"/>
                <a:gd name="T75" fmla="*/ 95 h 96"/>
                <a:gd name="T76" fmla="*/ 1298 w 1375"/>
                <a:gd name="T77" fmla="*/ 92 h 96"/>
                <a:gd name="T78" fmla="*/ 1306 w 1375"/>
                <a:gd name="T79" fmla="*/ 89 h 96"/>
                <a:gd name="T80" fmla="*/ 1315 w 1375"/>
                <a:gd name="T81" fmla="*/ 86 h 96"/>
                <a:gd name="T82" fmla="*/ 1323 w 1375"/>
                <a:gd name="T83" fmla="*/ 80 h 96"/>
                <a:gd name="T84" fmla="*/ 1331 w 1375"/>
                <a:gd name="T85" fmla="*/ 75 h 96"/>
                <a:gd name="T86" fmla="*/ 1338 w 1375"/>
                <a:gd name="T87" fmla="*/ 68 h 96"/>
                <a:gd name="T88" fmla="*/ 1346 w 1375"/>
                <a:gd name="T89" fmla="*/ 62 h 96"/>
                <a:gd name="T90" fmla="*/ 1352 w 1375"/>
                <a:gd name="T91" fmla="*/ 54 h 96"/>
                <a:gd name="T92" fmla="*/ 1358 w 1375"/>
                <a:gd name="T93" fmla="*/ 46 h 96"/>
                <a:gd name="T94" fmla="*/ 1363 w 1375"/>
                <a:gd name="T95" fmla="*/ 37 h 96"/>
                <a:gd name="T96" fmla="*/ 1367 w 1375"/>
                <a:gd name="T97" fmla="*/ 29 h 96"/>
                <a:gd name="T98" fmla="*/ 1371 w 1375"/>
                <a:gd name="T99" fmla="*/ 19 h 96"/>
                <a:gd name="T100" fmla="*/ 1373 w 1375"/>
                <a:gd name="T101" fmla="*/ 9 h 96"/>
                <a:gd name="T102" fmla="*/ 1375 w 1375"/>
                <a:gd name="T103" fmla="*/ 0 h 96"/>
                <a:gd name="T104" fmla="*/ 890 w 1375"/>
                <a:gd name="T105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75" h="96">
                  <a:moveTo>
                    <a:pt x="890" y="0"/>
                  </a:moveTo>
                  <a:lnTo>
                    <a:pt x="888" y="8"/>
                  </a:lnTo>
                  <a:lnTo>
                    <a:pt x="886" y="16"/>
                  </a:lnTo>
                  <a:lnTo>
                    <a:pt x="883" y="22"/>
                  </a:lnTo>
                  <a:lnTo>
                    <a:pt x="878" y="29"/>
                  </a:lnTo>
                  <a:lnTo>
                    <a:pt x="873" y="33"/>
                  </a:lnTo>
                  <a:lnTo>
                    <a:pt x="868" y="37"/>
                  </a:lnTo>
                  <a:lnTo>
                    <a:pt x="861" y="39"/>
                  </a:lnTo>
                  <a:lnTo>
                    <a:pt x="855" y="40"/>
                  </a:lnTo>
                  <a:lnTo>
                    <a:pt x="521" y="40"/>
                  </a:lnTo>
                  <a:lnTo>
                    <a:pt x="513" y="39"/>
                  </a:lnTo>
                  <a:lnTo>
                    <a:pt x="508" y="37"/>
                  </a:lnTo>
                  <a:lnTo>
                    <a:pt x="501" y="33"/>
                  </a:lnTo>
                  <a:lnTo>
                    <a:pt x="496" y="29"/>
                  </a:lnTo>
                  <a:lnTo>
                    <a:pt x="492" y="22"/>
                  </a:lnTo>
                  <a:lnTo>
                    <a:pt x="488" y="16"/>
                  </a:lnTo>
                  <a:lnTo>
                    <a:pt x="486" y="8"/>
                  </a:lnTo>
                  <a:lnTo>
                    <a:pt x="485" y="0"/>
                  </a:lnTo>
                  <a:lnTo>
                    <a:pt x="0" y="0"/>
                  </a:lnTo>
                  <a:lnTo>
                    <a:pt x="1" y="9"/>
                  </a:lnTo>
                  <a:lnTo>
                    <a:pt x="4" y="19"/>
                  </a:lnTo>
                  <a:lnTo>
                    <a:pt x="7" y="29"/>
                  </a:lnTo>
                  <a:lnTo>
                    <a:pt x="11" y="37"/>
                  </a:lnTo>
                  <a:lnTo>
                    <a:pt x="17" y="46"/>
                  </a:lnTo>
                  <a:lnTo>
                    <a:pt x="23" y="54"/>
                  </a:lnTo>
                  <a:lnTo>
                    <a:pt x="29" y="62"/>
                  </a:lnTo>
                  <a:lnTo>
                    <a:pt x="36" y="68"/>
                  </a:lnTo>
                  <a:lnTo>
                    <a:pt x="43" y="75"/>
                  </a:lnTo>
                  <a:lnTo>
                    <a:pt x="52" y="80"/>
                  </a:lnTo>
                  <a:lnTo>
                    <a:pt x="59" y="86"/>
                  </a:lnTo>
                  <a:lnTo>
                    <a:pt x="68" y="89"/>
                  </a:lnTo>
                  <a:lnTo>
                    <a:pt x="77" y="92"/>
                  </a:lnTo>
                  <a:lnTo>
                    <a:pt x="84" y="95"/>
                  </a:lnTo>
                  <a:lnTo>
                    <a:pt x="93" y="96"/>
                  </a:lnTo>
                  <a:lnTo>
                    <a:pt x="100" y="96"/>
                  </a:lnTo>
                  <a:lnTo>
                    <a:pt x="1274" y="96"/>
                  </a:lnTo>
                  <a:lnTo>
                    <a:pt x="1281" y="96"/>
                  </a:lnTo>
                  <a:lnTo>
                    <a:pt x="1290" y="95"/>
                  </a:lnTo>
                  <a:lnTo>
                    <a:pt x="1298" y="92"/>
                  </a:lnTo>
                  <a:lnTo>
                    <a:pt x="1306" y="89"/>
                  </a:lnTo>
                  <a:lnTo>
                    <a:pt x="1315" y="86"/>
                  </a:lnTo>
                  <a:lnTo>
                    <a:pt x="1323" y="80"/>
                  </a:lnTo>
                  <a:lnTo>
                    <a:pt x="1331" y="75"/>
                  </a:lnTo>
                  <a:lnTo>
                    <a:pt x="1338" y="68"/>
                  </a:lnTo>
                  <a:lnTo>
                    <a:pt x="1346" y="62"/>
                  </a:lnTo>
                  <a:lnTo>
                    <a:pt x="1352" y="54"/>
                  </a:lnTo>
                  <a:lnTo>
                    <a:pt x="1358" y="46"/>
                  </a:lnTo>
                  <a:lnTo>
                    <a:pt x="1363" y="37"/>
                  </a:lnTo>
                  <a:lnTo>
                    <a:pt x="1367" y="29"/>
                  </a:lnTo>
                  <a:lnTo>
                    <a:pt x="1371" y="19"/>
                  </a:lnTo>
                  <a:lnTo>
                    <a:pt x="1373" y="9"/>
                  </a:lnTo>
                  <a:lnTo>
                    <a:pt x="1375" y="0"/>
                  </a:lnTo>
                  <a:lnTo>
                    <a:pt x="890" y="0"/>
                  </a:lnTo>
                  <a:close/>
                </a:path>
              </a:pathLst>
            </a:custGeom>
            <a:solidFill>
              <a:srgbClr val="206E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19" name="Rectangle 68"/>
            <p:cNvSpPr>
              <a:spLocks noChangeArrowheads="1"/>
            </p:cNvSpPr>
            <p:nvPr/>
          </p:nvSpPr>
          <p:spPr bwMode="auto">
            <a:xfrm>
              <a:off x="4368800" y="5343525"/>
              <a:ext cx="530225" cy="369888"/>
            </a:xfrm>
            <a:prstGeom prst="rect">
              <a:avLst/>
            </a:prstGeom>
            <a:solidFill>
              <a:srgbClr val="46B3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20" name="Freeform 69"/>
            <p:cNvSpPr>
              <a:spLocks/>
            </p:cNvSpPr>
            <p:nvPr/>
          </p:nvSpPr>
          <p:spPr bwMode="auto">
            <a:xfrm>
              <a:off x="4527550" y="5754688"/>
              <a:ext cx="214313" cy="20638"/>
            </a:xfrm>
            <a:custGeom>
              <a:avLst/>
              <a:gdLst>
                <a:gd name="T0" fmla="*/ 370 w 405"/>
                <a:gd name="T1" fmla="*/ 40 h 40"/>
                <a:gd name="T2" fmla="*/ 41 w 405"/>
                <a:gd name="T3" fmla="*/ 40 h 40"/>
                <a:gd name="T4" fmla="*/ 32 w 405"/>
                <a:gd name="T5" fmla="*/ 39 h 40"/>
                <a:gd name="T6" fmla="*/ 25 w 405"/>
                <a:gd name="T7" fmla="*/ 37 h 40"/>
                <a:gd name="T8" fmla="*/ 17 w 405"/>
                <a:gd name="T9" fmla="*/ 34 h 40"/>
                <a:gd name="T10" fmla="*/ 12 w 405"/>
                <a:gd name="T11" fmla="*/ 29 h 40"/>
                <a:gd name="T12" fmla="*/ 8 w 405"/>
                <a:gd name="T13" fmla="*/ 22 h 40"/>
                <a:gd name="T14" fmla="*/ 3 w 405"/>
                <a:gd name="T15" fmla="*/ 16 h 40"/>
                <a:gd name="T16" fmla="*/ 1 w 405"/>
                <a:gd name="T17" fmla="*/ 8 h 40"/>
                <a:gd name="T18" fmla="*/ 0 w 405"/>
                <a:gd name="T19" fmla="*/ 0 h 40"/>
                <a:gd name="T20" fmla="*/ 405 w 405"/>
                <a:gd name="T21" fmla="*/ 0 h 40"/>
                <a:gd name="T22" fmla="*/ 403 w 405"/>
                <a:gd name="T23" fmla="*/ 7 h 40"/>
                <a:gd name="T24" fmla="*/ 401 w 405"/>
                <a:gd name="T25" fmla="*/ 15 h 40"/>
                <a:gd name="T26" fmla="*/ 399 w 405"/>
                <a:gd name="T27" fmla="*/ 22 h 40"/>
                <a:gd name="T28" fmla="*/ 395 w 405"/>
                <a:gd name="T29" fmla="*/ 28 h 40"/>
                <a:gd name="T30" fmla="*/ 390 w 405"/>
                <a:gd name="T31" fmla="*/ 33 h 40"/>
                <a:gd name="T32" fmla="*/ 384 w 405"/>
                <a:gd name="T33" fmla="*/ 36 h 40"/>
                <a:gd name="T34" fmla="*/ 377 w 405"/>
                <a:gd name="T35" fmla="*/ 39 h 40"/>
                <a:gd name="T36" fmla="*/ 370 w 405"/>
                <a:gd name="T3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5" h="40">
                  <a:moveTo>
                    <a:pt x="370" y="40"/>
                  </a:moveTo>
                  <a:lnTo>
                    <a:pt x="41" y="40"/>
                  </a:lnTo>
                  <a:lnTo>
                    <a:pt x="32" y="39"/>
                  </a:lnTo>
                  <a:lnTo>
                    <a:pt x="25" y="37"/>
                  </a:lnTo>
                  <a:lnTo>
                    <a:pt x="17" y="34"/>
                  </a:lnTo>
                  <a:lnTo>
                    <a:pt x="12" y="29"/>
                  </a:lnTo>
                  <a:lnTo>
                    <a:pt x="8" y="22"/>
                  </a:lnTo>
                  <a:lnTo>
                    <a:pt x="3" y="16"/>
                  </a:lnTo>
                  <a:lnTo>
                    <a:pt x="1" y="8"/>
                  </a:lnTo>
                  <a:lnTo>
                    <a:pt x="0" y="0"/>
                  </a:lnTo>
                  <a:lnTo>
                    <a:pt x="405" y="0"/>
                  </a:lnTo>
                  <a:lnTo>
                    <a:pt x="403" y="7"/>
                  </a:lnTo>
                  <a:lnTo>
                    <a:pt x="401" y="15"/>
                  </a:lnTo>
                  <a:lnTo>
                    <a:pt x="399" y="22"/>
                  </a:lnTo>
                  <a:lnTo>
                    <a:pt x="395" y="28"/>
                  </a:lnTo>
                  <a:lnTo>
                    <a:pt x="390" y="33"/>
                  </a:lnTo>
                  <a:lnTo>
                    <a:pt x="384" y="36"/>
                  </a:lnTo>
                  <a:lnTo>
                    <a:pt x="377" y="39"/>
                  </a:lnTo>
                  <a:lnTo>
                    <a:pt x="370" y="40"/>
                  </a:lnTo>
                  <a:close/>
                </a:path>
              </a:pathLst>
            </a:custGeom>
            <a:solidFill>
              <a:srgbClr val="46B3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21" name="Freeform 70"/>
            <p:cNvSpPr>
              <a:spLocks noEditPoints="1"/>
            </p:cNvSpPr>
            <p:nvPr/>
          </p:nvSpPr>
          <p:spPr bwMode="auto">
            <a:xfrm>
              <a:off x="4329113" y="5303838"/>
              <a:ext cx="609600" cy="450850"/>
            </a:xfrm>
            <a:custGeom>
              <a:avLst/>
              <a:gdLst>
                <a:gd name="T0" fmla="*/ 76 w 1153"/>
                <a:gd name="T1" fmla="*/ 774 h 851"/>
                <a:gd name="T2" fmla="*/ 1077 w 1153"/>
                <a:gd name="T3" fmla="*/ 76 h 851"/>
                <a:gd name="T4" fmla="*/ 1087 w 1153"/>
                <a:gd name="T5" fmla="*/ 0 h 851"/>
                <a:gd name="T6" fmla="*/ 59 w 1153"/>
                <a:gd name="T7" fmla="*/ 1 h 851"/>
                <a:gd name="T8" fmla="*/ 46 w 1153"/>
                <a:gd name="T9" fmla="*/ 3 h 851"/>
                <a:gd name="T10" fmla="*/ 34 w 1153"/>
                <a:gd name="T11" fmla="*/ 8 h 851"/>
                <a:gd name="T12" fmla="*/ 24 w 1153"/>
                <a:gd name="T13" fmla="*/ 16 h 851"/>
                <a:gd name="T14" fmla="*/ 15 w 1153"/>
                <a:gd name="T15" fmla="*/ 24 h 851"/>
                <a:gd name="T16" fmla="*/ 8 w 1153"/>
                <a:gd name="T17" fmla="*/ 35 h 851"/>
                <a:gd name="T18" fmla="*/ 2 w 1153"/>
                <a:gd name="T19" fmla="*/ 47 h 851"/>
                <a:gd name="T20" fmla="*/ 0 w 1153"/>
                <a:gd name="T21" fmla="*/ 60 h 851"/>
                <a:gd name="T22" fmla="*/ 0 w 1153"/>
                <a:gd name="T23" fmla="*/ 784 h 851"/>
                <a:gd name="T24" fmla="*/ 1 w 1153"/>
                <a:gd name="T25" fmla="*/ 797 h 851"/>
                <a:gd name="T26" fmla="*/ 4 w 1153"/>
                <a:gd name="T27" fmla="*/ 810 h 851"/>
                <a:gd name="T28" fmla="*/ 11 w 1153"/>
                <a:gd name="T29" fmla="*/ 821 h 851"/>
                <a:gd name="T30" fmla="*/ 19 w 1153"/>
                <a:gd name="T31" fmla="*/ 831 h 851"/>
                <a:gd name="T32" fmla="*/ 29 w 1153"/>
                <a:gd name="T33" fmla="*/ 839 h 851"/>
                <a:gd name="T34" fmla="*/ 40 w 1153"/>
                <a:gd name="T35" fmla="*/ 845 h 851"/>
                <a:gd name="T36" fmla="*/ 53 w 1153"/>
                <a:gd name="T37" fmla="*/ 850 h 851"/>
                <a:gd name="T38" fmla="*/ 66 w 1153"/>
                <a:gd name="T39" fmla="*/ 851 h 851"/>
                <a:gd name="T40" fmla="*/ 1093 w 1153"/>
                <a:gd name="T41" fmla="*/ 851 h 851"/>
                <a:gd name="T42" fmla="*/ 1106 w 1153"/>
                <a:gd name="T43" fmla="*/ 847 h 851"/>
                <a:gd name="T44" fmla="*/ 1119 w 1153"/>
                <a:gd name="T45" fmla="*/ 842 h 851"/>
                <a:gd name="T46" fmla="*/ 1129 w 1153"/>
                <a:gd name="T47" fmla="*/ 836 h 851"/>
                <a:gd name="T48" fmla="*/ 1138 w 1153"/>
                <a:gd name="T49" fmla="*/ 826 h 851"/>
                <a:gd name="T50" fmla="*/ 1146 w 1153"/>
                <a:gd name="T51" fmla="*/ 815 h 851"/>
                <a:gd name="T52" fmla="*/ 1150 w 1153"/>
                <a:gd name="T53" fmla="*/ 803 h 851"/>
                <a:gd name="T54" fmla="*/ 1153 w 1153"/>
                <a:gd name="T55" fmla="*/ 790 h 851"/>
                <a:gd name="T56" fmla="*/ 1153 w 1153"/>
                <a:gd name="T57" fmla="*/ 66 h 851"/>
                <a:gd name="T58" fmla="*/ 1152 w 1153"/>
                <a:gd name="T59" fmla="*/ 53 h 851"/>
                <a:gd name="T60" fmla="*/ 1148 w 1153"/>
                <a:gd name="T61" fmla="*/ 41 h 851"/>
                <a:gd name="T62" fmla="*/ 1141 w 1153"/>
                <a:gd name="T63" fmla="*/ 30 h 851"/>
                <a:gd name="T64" fmla="*/ 1134 w 1153"/>
                <a:gd name="T65" fmla="*/ 20 h 851"/>
                <a:gd name="T66" fmla="*/ 1124 w 1153"/>
                <a:gd name="T67" fmla="*/ 12 h 851"/>
                <a:gd name="T68" fmla="*/ 1112 w 1153"/>
                <a:gd name="T69" fmla="*/ 5 h 851"/>
                <a:gd name="T70" fmla="*/ 1100 w 1153"/>
                <a:gd name="T71" fmla="*/ 2 h 851"/>
                <a:gd name="T72" fmla="*/ 1087 w 1153"/>
                <a:gd name="T73" fmla="*/ 0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53" h="851">
                  <a:moveTo>
                    <a:pt x="1077" y="774"/>
                  </a:moveTo>
                  <a:lnTo>
                    <a:pt x="76" y="774"/>
                  </a:lnTo>
                  <a:lnTo>
                    <a:pt x="76" y="76"/>
                  </a:lnTo>
                  <a:lnTo>
                    <a:pt x="1077" y="76"/>
                  </a:lnTo>
                  <a:lnTo>
                    <a:pt x="1077" y="774"/>
                  </a:lnTo>
                  <a:close/>
                  <a:moveTo>
                    <a:pt x="1087" y="0"/>
                  </a:moveTo>
                  <a:lnTo>
                    <a:pt x="66" y="0"/>
                  </a:lnTo>
                  <a:lnTo>
                    <a:pt x="59" y="1"/>
                  </a:lnTo>
                  <a:lnTo>
                    <a:pt x="53" y="2"/>
                  </a:lnTo>
                  <a:lnTo>
                    <a:pt x="46" y="3"/>
                  </a:lnTo>
                  <a:lnTo>
                    <a:pt x="40" y="5"/>
                  </a:lnTo>
                  <a:lnTo>
                    <a:pt x="34" y="8"/>
                  </a:lnTo>
                  <a:lnTo>
                    <a:pt x="29" y="12"/>
                  </a:lnTo>
                  <a:lnTo>
                    <a:pt x="24" y="16"/>
                  </a:lnTo>
                  <a:lnTo>
                    <a:pt x="19" y="20"/>
                  </a:lnTo>
                  <a:lnTo>
                    <a:pt x="15" y="24"/>
                  </a:lnTo>
                  <a:lnTo>
                    <a:pt x="11" y="30"/>
                  </a:lnTo>
                  <a:lnTo>
                    <a:pt x="8" y="35"/>
                  </a:lnTo>
                  <a:lnTo>
                    <a:pt x="4" y="41"/>
                  </a:lnTo>
                  <a:lnTo>
                    <a:pt x="2" y="47"/>
                  </a:lnTo>
                  <a:lnTo>
                    <a:pt x="1" y="53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84"/>
                  </a:lnTo>
                  <a:lnTo>
                    <a:pt x="0" y="790"/>
                  </a:lnTo>
                  <a:lnTo>
                    <a:pt x="1" y="797"/>
                  </a:lnTo>
                  <a:lnTo>
                    <a:pt x="2" y="803"/>
                  </a:lnTo>
                  <a:lnTo>
                    <a:pt x="4" y="810"/>
                  </a:lnTo>
                  <a:lnTo>
                    <a:pt x="8" y="815"/>
                  </a:lnTo>
                  <a:lnTo>
                    <a:pt x="11" y="821"/>
                  </a:lnTo>
                  <a:lnTo>
                    <a:pt x="15" y="826"/>
                  </a:lnTo>
                  <a:lnTo>
                    <a:pt x="19" y="831"/>
                  </a:lnTo>
                  <a:lnTo>
                    <a:pt x="24" y="836"/>
                  </a:lnTo>
                  <a:lnTo>
                    <a:pt x="29" y="839"/>
                  </a:lnTo>
                  <a:lnTo>
                    <a:pt x="34" y="842"/>
                  </a:lnTo>
                  <a:lnTo>
                    <a:pt x="40" y="845"/>
                  </a:lnTo>
                  <a:lnTo>
                    <a:pt x="46" y="847"/>
                  </a:lnTo>
                  <a:lnTo>
                    <a:pt x="53" y="850"/>
                  </a:lnTo>
                  <a:lnTo>
                    <a:pt x="59" y="851"/>
                  </a:lnTo>
                  <a:lnTo>
                    <a:pt x="66" y="851"/>
                  </a:lnTo>
                  <a:lnTo>
                    <a:pt x="1087" y="851"/>
                  </a:lnTo>
                  <a:lnTo>
                    <a:pt x="1093" y="851"/>
                  </a:lnTo>
                  <a:lnTo>
                    <a:pt x="1100" y="850"/>
                  </a:lnTo>
                  <a:lnTo>
                    <a:pt x="1106" y="847"/>
                  </a:lnTo>
                  <a:lnTo>
                    <a:pt x="1112" y="845"/>
                  </a:lnTo>
                  <a:lnTo>
                    <a:pt x="1119" y="842"/>
                  </a:lnTo>
                  <a:lnTo>
                    <a:pt x="1124" y="839"/>
                  </a:lnTo>
                  <a:lnTo>
                    <a:pt x="1129" y="836"/>
                  </a:lnTo>
                  <a:lnTo>
                    <a:pt x="1134" y="831"/>
                  </a:lnTo>
                  <a:lnTo>
                    <a:pt x="1138" y="826"/>
                  </a:lnTo>
                  <a:lnTo>
                    <a:pt x="1141" y="821"/>
                  </a:lnTo>
                  <a:lnTo>
                    <a:pt x="1146" y="815"/>
                  </a:lnTo>
                  <a:lnTo>
                    <a:pt x="1148" y="810"/>
                  </a:lnTo>
                  <a:lnTo>
                    <a:pt x="1150" y="803"/>
                  </a:lnTo>
                  <a:lnTo>
                    <a:pt x="1152" y="797"/>
                  </a:lnTo>
                  <a:lnTo>
                    <a:pt x="1153" y="790"/>
                  </a:lnTo>
                  <a:lnTo>
                    <a:pt x="1153" y="784"/>
                  </a:lnTo>
                  <a:lnTo>
                    <a:pt x="1153" y="66"/>
                  </a:lnTo>
                  <a:lnTo>
                    <a:pt x="1153" y="60"/>
                  </a:lnTo>
                  <a:lnTo>
                    <a:pt x="1152" y="53"/>
                  </a:lnTo>
                  <a:lnTo>
                    <a:pt x="1150" y="47"/>
                  </a:lnTo>
                  <a:lnTo>
                    <a:pt x="1148" y="41"/>
                  </a:lnTo>
                  <a:lnTo>
                    <a:pt x="1146" y="35"/>
                  </a:lnTo>
                  <a:lnTo>
                    <a:pt x="1141" y="30"/>
                  </a:lnTo>
                  <a:lnTo>
                    <a:pt x="1138" y="24"/>
                  </a:lnTo>
                  <a:lnTo>
                    <a:pt x="1134" y="20"/>
                  </a:lnTo>
                  <a:lnTo>
                    <a:pt x="1129" y="16"/>
                  </a:lnTo>
                  <a:lnTo>
                    <a:pt x="1124" y="12"/>
                  </a:lnTo>
                  <a:lnTo>
                    <a:pt x="1119" y="8"/>
                  </a:lnTo>
                  <a:lnTo>
                    <a:pt x="1112" y="5"/>
                  </a:lnTo>
                  <a:lnTo>
                    <a:pt x="1106" y="3"/>
                  </a:lnTo>
                  <a:lnTo>
                    <a:pt x="1100" y="2"/>
                  </a:lnTo>
                  <a:lnTo>
                    <a:pt x="1093" y="1"/>
                  </a:lnTo>
                  <a:lnTo>
                    <a:pt x="1087" y="0"/>
                  </a:lnTo>
                  <a:close/>
                </a:path>
              </a:pathLst>
            </a:custGeom>
            <a:solidFill>
              <a:srgbClr val="206E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22" name="Freeform 71"/>
            <p:cNvSpPr>
              <a:spLocks noEditPoints="1"/>
            </p:cNvSpPr>
            <p:nvPr/>
          </p:nvSpPr>
          <p:spPr bwMode="auto">
            <a:xfrm>
              <a:off x="4265613" y="5299075"/>
              <a:ext cx="736600" cy="511175"/>
            </a:xfrm>
            <a:custGeom>
              <a:avLst/>
              <a:gdLst>
                <a:gd name="T0" fmla="*/ 96 w 1393"/>
                <a:gd name="T1" fmla="*/ 947 h 966"/>
                <a:gd name="T2" fmla="*/ 67 w 1393"/>
                <a:gd name="T3" fmla="*/ 934 h 966"/>
                <a:gd name="T4" fmla="*/ 42 w 1393"/>
                <a:gd name="T5" fmla="*/ 912 h 966"/>
                <a:gd name="T6" fmla="*/ 24 w 1393"/>
                <a:gd name="T7" fmla="*/ 884 h 966"/>
                <a:gd name="T8" fmla="*/ 489 w 1393"/>
                <a:gd name="T9" fmla="*/ 877 h 966"/>
                <a:gd name="T10" fmla="*/ 508 w 1393"/>
                <a:gd name="T11" fmla="*/ 903 h 966"/>
                <a:gd name="T12" fmla="*/ 864 w 1393"/>
                <a:gd name="T13" fmla="*/ 909 h 966"/>
                <a:gd name="T14" fmla="*/ 891 w 1393"/>
                <a:gd name="T15" fmla="*/ 897 h 966"/>
                <a:gd name="T16" fmla="*/ 907 w 1393"/>
                <a:gd name="T17" fmla="*/ 868 h 966"/>
                <a:gd name="T18" fmla="*/ 1365 w 1393"/>
                <a:gd name="T19" fmla="*/ 892 h 966"/>
                <a:gd name="T20" fmla="*/ 1345 w 1393"/>
                <a:gd name="T21" fmla="*/ 919 h 966"/>
                <a:gd name="T22" fmla="*/ 1318 w 1393"/>
                <a:gd name="T23" fmla="*/ 938 h 966"/>
                <a:gd name="T24" fmla="*/ 1289 w 1393"/>
                <a:gd name="T25" fmla="*/ 948 h 966"/>
                <a:gd name="T26" fmla="*/ 884 w 1393"/>
                <a:gd name="T27" fmla="*/ 878 h 966"/>
                <a:gd name="T28" fmla="*/ 871 w 1393"/>
                <a:gd name="T29" fmla="*/ 890 h 966"/>
                <a:gd name="T30" fmla="*/ 525 w 1393"/>
                <a:gd name="T31" fmla="*/ 891 h 966"/>
                <a:gd name="T32" fmla="*/ 511 w 1393"/>
                <a:gd name="T33" fmla="*/ 881 h 966"/>
                <a:gd name="T34" fmla="*/ 887 w 1393"/>
                <a:gd name="T35" fmla="*/ 868 h 966"/>
                <a:gd name="T36" fmla="*/ 130 w 1393"/>
                <a:gd name="T37" fmla="*/ 64 h 966"/>
                <a:gd name="T38" fmla="*/ 146 w 1393"/>
                <a:gd name="T39" fmla="*/ 35 h 966"/>
                <a:gd name="T40" fmla="*/ 175 w 1393"/>
                <a:gd name="T41" fmla="*/ 19 h 966"/>
                <a:gd name="T42" fmla="*/ 1212 w 1393"/>
                <a:gd name="T43" fmla="*/ 18 h 966"/>
                <a:gd name="T44" fmla="*/ 1239 w 1393"/>
                <a:gd name="T45" fmla="*/ 28 h 966"/>
                <a:gd name="T46" fmla="*/ 1261 w 1393"/>
                <a:gd name="T47" fmla="*/ 58 h 966"/>
                <a:gd name="T48" fmla="*/ 1265 w 1393"/>
                <a:gd name="T49" fmla="*/ 793 h 966"/>
                <a:gd name="T50" fmla="*/ 1259 w 1393"/>
                <a:gd name="T51" fmla="*/ 816 h 966"/>
                <a:gd name="T52" fmla="*/ 1229 w 1393"/>
                <a:gd name="T53" fmla="*/ 846 h 966"/>
                <a:gd name="T54" fmla="*/ 1207 w 1393"/>
                <a:gd name="T55" fmla="*/ 850 h 966"/>
                <a:gd name="T56" fmla="*/ 170 w 1393"/>
                <a:gd name="T57" fmla="*/ 848 h 966"/>
                <a:gd name="T58" fmla="*/ 138 w 1393"/>
                <a:gd name="T59" fmla="*/ 825 h 966"/>
                <a:gd name="T60" fmla="*/ 129 w 1393"/>
                <a:gd name="T61" fmla="*/ 798 h 966"/>
                <a:gd name="T62" fmla="*/ 1384 w 1393"/>
                <a:gd name="T63" fmla="*/ 850 h 966"/>
                <a:gd name="T64" fmla="*/ 1271 w 1393"/>
                <a:gd name="T65" fmla="*/ 832 h 966"/>
                <a:gd name="T66" fmla="*/ 1282 w 1393"/>
                <a:gd name="T67" fmla="*/ 802 h 966"/>
                <a:gd name="T68" fmla="*/ 1281 w 1393"/>
                <a:gd name="T69" fmla="*/ 60 h 966"/>
                <a:gd name="T70" fmla="*/ 1269 w 1393"/>
                <a:gd name="T71" fmla="*/ 33 h 966"/>
                <a:gd name="T72" fmla="*/ 1249 w 1393"/>
                <a:gd name="T73" fmla="*/ 13 h 966"/>
                <a:gd name="T74" fmla="*/ 1222 w 1393"/>
                <a:gd name="T75" fmla="*/ 1 h 966"/>
                <a:gd name="T76" fmla="*/ 178 w 1393"/>
                <a:gd name="T77" fmla="*/ 0 h 966"/>
                <a:gd name="T78" fmla="*/ 150 w 1393"/>
                <a:gd name="T79" fmla="*/ 10 h 966"/>
                <a:gd name="T80" fmla="*/ 128 w 1393"/>
                <a:gd name="T81" fmla="*/ 28 h 966"/>
                <a:gd name="T82" fmla="*/ 114 w 1393"/>
                <a:gd name="T83" fmla="*/ 53 h 966"/>
                <a:gd name="T84" fmla="*/ 110 w 1393"/>
                <a:gd name="T85" fmla="*/ 793 h 966"/>
                <a:gd name="T86" fmla="*/ 118 w 1393"/>
                <a:gd name="T87" fmla="*/ 825 h 966"/>
                <a:gd name="T88" fmla="*/ 138 w 1393"/>
                <a:gd name="T89" fmla="*/ 850 h 966"/>
                <a:gd name="T90" fmla="*/ 1 w 1393"/>
                <a:gd name="T91" fmla="*/ 856 h 966"/>
                <a:gd name="T92" fmla="*/ 7 w 1393"/>
                <a:gd name="T93" fmla="*/ 892 h 966"/>
                <a:gd name="T94" fmla="*/ 31 w 1393"/>
                <a:gd name="T95" fmla="*/ 927 h 966"/>
                <a:gd name="T96" fmla="*/ 64 w 1393"/>
                <a:gd name="T97" fmla="*/ 953 h 966"/>
                <a:gd name="T98" fmla="*/ 101 w 1393"/>
                <a:gd name="T99" fmla="*/ 965 h 966"/>
                <a:gd name="T100" fmla="*/ 1301 w 1393"/>
                <a:gd name="T101" fmla="*/ 964 h 966"/>
                <a:gd name="T102" fmla="*/ 1337 w 1393"/>
                <a:gd name="T103" fmla="*/ 948 h 966"/>
                <a:gd name="T104" fmla="*/ 1369 w 1393"/>
                <a:gd name="T105" fmla="*/ 920 h 966"/>
                <a:gd name="T106" fmla="*/ 1388 w 1393"/>
                <a:gd name="T107" fmla="*/ 881 h 966"/>
                <a:gd name="T108" fmla="*/ 1390 w 1393"/>
                <a:gd name="T109" fmla="*/ 853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93" h="966">
                  <a:moveTo>
                    <a:pt x="1283" y="948"/>
                  </a:moveTo>
                  <a:lnTo>
                    <a:pt x="110" y="948"/>
                  </a:lnTo>
                  <a:lnTo>
                    <a:pt x="103" y="948"/>
                  </a:lnTo>
                  <a:lnTo>
                    <a:pt x="96" y="947"/>
                  </a:lnTo>
                  <a:lnTo>
                    <a:pt x="89" y="945"/>
                  </a:lnTo>
                  <a:lnTo>
                    <a:pt x="81" y="941"/>
                  </a:lnTo>
                  <a:lnTo>
                    <a:pt x="75" y="938"/>
                  </a:lnTo>
                  <a:lnTo>
                    <a:pt x="67" y="934"/>
                  </a:lnTo>
                  <a:lnTo>
                    <a:pt x="61" y="929"/>
                  </a:lnTo>
                  <a:lnTo>
                    <a:pt x="55" y="924"/>
                  </a:lnTo>
                  <a:lnTo>
                    <a:pt x="48" y="919"/>
                  </a:lnTo>
                  <a:lnTo>
                    <a:pt x="42" y="912"/>
                  </a:lnTo>
                  <a:lnTo>
                    <a:pt x="36" y="906"/>
                  </a:lnTo>
                  <a:lnTo>
                    <a:pt x="32" y="899"/>
                  </a:lnTo>
                  <a:lnTo>
                    <a:pt x="28" y="892"/>
                  </a:lnTo>
                  <a:lnTo>
                    <a:pt x="24" y="884"/>
                  </a:lnTo>
                  <a:lnTo>
                    <a:pt x="21" y="877"/>
                  </a:lnTo>
                  <a:lnTo>
                    <a:pt x="19" y="868"/>
                  </a:lnTo>
                  <a:lnTo>
                    <a:pt x="485" y="868"/>
                  </a:lnTo>
                  <a:lnTo>
                    <a:pt x="489" y="877"/>
                  </a:lnTo>
                  <a:lnTo>
                    <a:pt x="492" y="884"/>
                  </a:lnTo>
                  <a:lnTo>
                    <a:pt x="496" y="892"/>
                  </a:lnTo>
                  <a:lnTo>
                    <a:pt x="502" y="897"/>
                  </a:lnTo>
                  <a:lnTo>
                    <a:pt x="508" y="903"/>
                  </a:lnTo>
                  <a:lnTo>
                    <a:pt x="515" y="906"/>
                  </a:lnTo>
                  <a:lnTo>
                    <a:pt x="521" y="909"/>
                  </a:lnTo>
                  <a:lnTo>
                    <a:pt x="530" y="909"/>
                  </a:lnTo>
                  <a:lnTo>
                    <a:pt x="864" y="909"/>
                  </a:lnTo>
                  <a:lnTo>
                    <a:pt x="871" y="909"/>
                  </a:lnTo>
                  <a:lnTo>
                    <a:pt x="878" y="906"/>
                  </a:lnTo>
                  <a:lnTo>
                    <a:pt x="885" y="903"/>
                  </a:lnTo>
                  <a:lnTo>
                    <a:pt x="891" y="897"/>
                  </a:lnTo>
                  <a:lnTo>
                    <a:pt x="896" y="892"/>
                  </a:lnTo>
                  <a:lnTo>
                    <a:pt x="900" y="884"/>
                  </a:lnTo>
                  <a:lnTo>
                    <a:pt x="905" y="877"/>
                  </a:lnTo>
                  <a:lnTo>
                    <a:pt x="907" y="868"/>
                  </a:lnTo>
                  <a:lnTo>
                    <a:pt x="1373" y="868"/>
                  </a:lnTo>
                  <a:lnTo>
                    <a:pt x="1371" y="877"/>
                  </a:lnTo>
                  <a:lnTo>
                    <a:pt x="1369" y="884"/>
                  </a:lnTo>
                  <a:lnTo>
                    <a:pt x="1365" y="892"/>
                  </a:lnTo>
                  <a:lnTo>
                    <a:pt x="1360" y="899"/>
                  </a:lnTo>
                  <a:lnTo>
                    <a:pt x="1356" y="906"/>
                  </a:lnTo>
                  <a:lnTo>
                    <a:pt x="1351" y="912"/>
                  </a:lnTo>
                  <a:lnTo>
                    <a:pt x="1345" y="919"/>
                  </a:lnTo>
                  <a:lnTo>
                    <a:pt x="1339" y="924"/>
                  </a:lnTo>
                  <a:lnTo>
                    <a:pt x="1332" y="929"/>
                  </a:lnTo>
                  <a:lnTo>
                    <a:pt x="1325" y="934"/>
                  </a:lnTo>
                  <a:lnTo>
                    <a:pt x="1318" y="938"/>
                  </a:lnTo>
                  <a:lnTo>
                    <a:pt x="1311" y="941"/>
                  </a:lnTo>
                  <a:lnTo>
                    <a:pt x="1303" y="945"/>
                  </a:lnTo>
                  <a:lnTo>
                    <a:pt x="1297" y="947"/>
                  </a:lnTo>
                  <a:lnTo>
                    <a:pt x="1289" y="948"/>
                  </a:lnTo>
                  <a:lnTo>
                    <a:pt x="1283" y="948"/>
                  </a:lnTo>
                  <a:close/>
                  <a:moveTo>
                    <a:pt x="887" y="868"/>
                  </a:moveTo>
                  <a:lnTo>
                    <a:pt x="886" y="874"/>
                  </a:lnTo>
                  <a:lnTo>
                    <a:pt x="884" y="878"/>
                  </a:lnTo>
                  <a:lnTo>
                    <a:pt x="881" y="881"/>
                  </a:lnTo>
                  <a:lnTo>
                    <a:pt x="878" y="885"/>
                  </a:lnTo>
                  <a:lnTo>
                    <a:pt x="875" y="888"/>
                  </a:lnTo>
                  <a:lnTo>
                    <a:pt x="871" y="890"/>
                  </a:lnTo>
                  <a:lnTo>
                    <a:pt x="867" y="891"/>
                  </a:lnTo>
                  <a:lnTo>
                    <a:pt x="864" y="892"/>
                  </a:lnTo>
                  <a:lnTo>
                    <a:pt x="530" y="892"/>
                  </a:lnTo>
                  <a:lnTo>
                    <a:pt x="525" y="891"/>
                  </a:lnTo>
                  <a:lnTo>
                    <a:pt x="521" y="890"/>
                  </a:lnTo>
                  <a:lnTo>
                    <a:pt x="518" y="888"/>
                  </a:lnTo>
                  <a:lnTo>
                    <a:pt x="515" y="885"/>
                  </a:lnTo>
                  <a:lnTo>
                    <a:pt x="511" y="881"/>
                  </a:lnTo>
                  <a:lnTo>
                    <a:pt x="509" y="878"/>
                  </a:lnTo>
                  <a:lnTo>
                    <a:pt x="507" y="874"/>
                  </a:lnTo>
                  <a:lnTo>
                    <a:pt x="505" y="868"/>
                  </a:lnTo>
                  <a:lnTo>
                    <a:pt x="887" y="868"/>
                  </a:lnTo>
                  <a:close/>
                  <a:moveTo>
                    <a:pt x="129" y="793"/>
                  </a:moveTo>
                  <a:lnTo>
                    <a:pt x="129" y="75"/>
                  </a:lnTo>
                  <a:lnTo>
                    <a:pt x="129" y="70"/>
                  </a:lnTo>
                  <a:lnTo>
                    <a:pt x="130" y="64"/>
                  </a:lnTo>
                  <a:lnTo>
                    <a:pt x="131" y="58"/>
                  </a:lnTo>
                  <a:lnTo>
                    <a:pt x="133" y="53"/>
                  </a:lnTo>
                  <a:lnTo>
                    <a:pt x="138" y="43"/>
                  </a:lnTo>
                  <a:lnTo>
                    <a:pt x="146" y="35"/>
                  </a:lnTo>
                  <a:lnTo>
                    <a:pt x="154" y="28"/>
                  </a:lnTo>
                  <a:lnTo>
                    <a:pt x="164" y="23"/>
                  </a:lnTo>
                  <a:lnTo>
                    <a:pt x="170" y="21"/>
                  </a:lnTo>
                  <a:lnTo>
                    <a:pt x="175" y="19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207" y="18"/>
                  </a:lnTo>
                  <a:lnTo>
                    <a:pt x="1212" y="18"/>
                  </a:lnTo>
                  <a:lnTo>
                    <a:pt x="1218" y="19"/>
                  </a:lnTo>
                  <a:lnTo>
                    <a:pt x="1224" y="21"/>
                  </a:lnTo>
                  <a:lnTo>
                    <a:pt x="1229" y="23"/>
                  </a:lnTo>
                  <a:lnTo>
                    <a:pt x="1239" y="28"/>
                  </a:lnTo>
                  <a:lnTo>
                    <a:pt x="1247" y="35"/>
                  </a:lnTo>
                  <a:lnTo>
                    <a:pt x="1254" y="43"/>
                  </a:lnTo>
                  <a:lnTo>
                    <a:pt x="1259" y="53"/>
                  </a:lnTo>
                  <a:lnTo>
                    <a:pt x="1261" y="58"/>
                  </a:lnTo>
                  <a:lnTo>
                    <a:pt x="1263" y="64"/>
                  </a:lnTo>
                  <a:lnTo>
                    <a:pt x="1264" y="70"/>
                  </a:lnTo>
                  <a:lnTo>
                    <a:pt x="1265" y="75"/>
                  </a:lnTo>
                  <a:lnTo>
                    <a:pt x="1265" y="793"/>
                  </a:lnTo>
                  <a:lnTo>
                    <a:pt x="1264" y="798"/>
                  </a:lnTo>
                  <a:lnTo>
                    <a:pt x="1263" y="805"/>
                  </a:lnTo>
                  <a:lnTo>
                    <a:pt x="1261" y="810"/>
                  </a:lnTo>
                  <a:lnTo>
                    <a:pt x="1259" y="816"/>
                  </a:lnTo>
                  <a:lnTo>
                    <a:pt x="1254" y="825"/>
                  </a:lnTo>
                  <a:lnTo>
                    <a:pt x="1247" y="834"/>
                  </a:lnTo>
                  <a:lnTo>
                    <a:pt x="1239" y="840"/>
                  </a:lnTo>
                  <a:lnTo>
                    <a:pt x="1229" y="846"/>
                  </a:lnTo>
                  <a:lnTo>
                    <a:pt x="1224" y="848"/>
                  </a:lnTo>
                  <a:lnTo>
                    <a:pt x="1218" y="849"/>
                  </a:lnTo>
                  <a:lnTo>
                    <a:pt x="1212" y="850"/>
                  </a:lnTo>
                  <a:lnTo>
                    <a:pt x="1207" y="850"/>
                  </a:lnTo>
                  <a:lnTo>
                    <a:pt x="186" y="850"/>
                  </a:lnTo>
                  <a:lnTo>
                    <a:pt x="180" y="850"/>
                  </a:lnTo>
                  <a:lnTo>
                    <a:pt x="175" y="849"/>
                  </a:lnTo>
                  <a:lnTo>
                    <a:pt x="170" y="848"/>
                  </a:lnTo>
                  <a:lnTo>
                    <a:pt x="164" y="846"/>
                  </a:lnTo>
                  <a:lnTo>
                    <a:pt x="154" y="840"/>
                  </a:lnTo>
                  <a:lnTo>
                    <a:pt x="146" y="834"/>
                  </a:lnTo>
                  <a:lnTo>
                    <a:pt x="138" y="825"/>
                  </a:lnTo>
                  <a:lnTo>
                    <a:pt x="133" y="816"/>
                  </a:lnTo>
                  <a:lnTo>
                    <a:pt x="131" y="810"/>
                  </a:lnTo>
                  <a:lnTo>
                    <a:pt x="130" y="805"/>
                  </a:lnTo>
                  <a:lnTo>
                    <a:pt x="129" y="798"/>
                  </a:lnTo>
                  <a:lnTo>
                    <a:pt x="129" y="793"/>
                  </a:lnTo>
                  <a:close/>
                  <a:moveTo>
                    <a:pt x="1390" y="853"/>
                  </a:moveTo>
                  <a:lnTo>
                    <a:pt x="1387" y="851"/>
                  </a:lnTo>
                  <a:lnTo>
                    <a:pt x="1384" y="850"/>
                  </a:lnTo>
                  <a:lnTo>
                    <a:pt x="1255" y="850"/>
                  </a:lnTo>
                  <a:lnTo>
                    <a:pt x="1261" y="845"/>
                  </a:lnTo>
                  <a:lnTo>
                    <a:pt x="1267" y="839"/>
                  </a:lnTo>
                  <a:lnTo>
                    <a:pt x="1271" y="832"/>
                  </a:lnTo>
                  <a:lnTo>
                    <a:pt x="1274" y="825"/>
                  </a:lnTo>
                  <a:lnTo>
                    <a:pt x="1278" y="818"/>
                  </a:lnTo>
                  <a:lnTo>
                    <a:pt x="1281" y="810"/>
                  </a:lnTo>
                  <a:lnTo>
                    <a:pt x="1282" y="802"/>
                  </a:lnTo>
                  <a:lnTo>
                    <a:pt x="1282" y="793"/>
                  </a:lnTo>
                  <a:lnTo>
                    <a:pt x="1282" y="75"/>
                  </a:lnTo>
                  <a:lnTo>
                    <a:pt x="1282" y="68"/>
                  </a:lnTo>
                  <a:lnTo>
                    <a:pt x="1281" y="60"/>
                  </a:lnTo>
                  <a:lnTo>
                    <a:pt x="1279" y="53"/>
                  </a:lnTo>
                  <a:lnTo>
                    <a:pt x="1277" y="46"/>
                  </a:lnTo>
                  <a:lnTo>
                    <a:pt x="1273" y="40"/>
                  </a:lnTo>
                  <a:lnTo>
                    <a:pt x="1269" y="33"/>
                  </a:lnTo>
                  <a:lnTo>
                    <a:pt x="1265" y="28"/>
                  </a:lnTo>
                  <a:lnTo>
                    <a:pt x="1260" y="23"/>
                  </a:lnTo>
                  <a:lnTo>
                    <a:pt x="1255" y="17"/>
                  </a:lnTo>
                  <a:lnTo>
                    <a:pt x="1249" y="13"/>
                  </a:lnTo>
                  <a:lnTo>
                    <a:pt x="1243" y="10"/>
                  </a:lnTo>
                  <a:lnTo>
                    <a:pt x="1236" y="7"/>
                  </a:lnTo>
                  <a:lnTo>
                    <a:pt x="1229" y="3"/>
                  </a:lnTo>
                  <a:lnTo>
                    <a:pt x="1222" y="1"/>
                  </a:lnTo>
                  <a:lnTo>
                    <a:pt x="1214" y="0"/>
                  </a:lnTo>
                  <a:lnTo>
                    <a:pt x="1207" y="0"/>
                  </a:lnTo>
                  <a:lnTo>
                    <a:pt x="186" y="0"/>
                  </a:lnTo>
                  <a:lnTo>
                    <a:pt x="178" y="0"/>
                  </a:lnTo>
                  <a:lnTo>
                    <a:pt x="171" y="1"/>
                  </a:lnTo>
                  <a:lnTo>
                    <a:pt x="164" y="3"/>
                  </a:lnTo>
                  <a:lnTo>
                    <a:pt x="157" y="7"/>
                  </a:lnTo>
                  <a:lnTo>
                    <a:pt x="150" y="10"/>
                  </a:lnTo>
                  <a:lnTo>
                    <a:pt x="144" y="13"/>
                  </a:lnTo>
                  <a:lnTo>
                    <a:pt x="138" y="17"/>
                  </a:lnTo>
                  <a:lnTo>
                    <a:pt x="133" y="23"/>
                  </a:lnTo>
                  <a:lnTo>
                    <a:pt x="128" y="28"/>
                  </a:lnTo>
                  <a:lnTo>
                    <a:pt x="123" y="33"/>
                  </a:lnTo>
                  <a:lnTo>
                    <a:pt x="120" y="40"/>
                  </a:lnTo>
                  <a:lnTo>
                    <a:pt x="117" y="46"/>
                  </a:lnTo>
                  <a:lnTo>
                    <a:pt x="114" y="53"/>
                  </a:lnTo>
                  <a:lnTo>
                    <a:pt x="113" y="60"/>
                  </a:lnTo>
                  <a:lnTo>
                    <a:pt x="110" y="68"/>
                  </a:lnTo>
                  <a:lnTo>
                    <a:pt x="110" y="75"/>
                  </a:lnTo>
                  <a:lnTo>
                    <a:pt x="110" y="793"/>
                  </a:lnTo>
                  <a:lnTo>
                    <a:pt x="111" y="802"/>
                  </a:lnTo>
                  <a:lnTo>
                    <a:pt x="113" y="810"/>
                  </a:lnTo>
                  <a:lnTo>
                    <a:pt x="115" y="818"/>
                  </a:lnTo>
                  <a:lnTo>
                    <a:pt x="118" y="825"/>
                  </a:lnTo>
                  <a:lnTo>
                    <a:pt x="122" y="832"/>
                  </a:lnTo>
                  <a:lnTo>
                    <a:pt x="127" y="839"/>
                  </a:lnTo>
                  <a:lnTo>
                    <a:pt x="132" y="845"/>
                  </a:lnTo>
                  <a:lnTo>
                    <a:pt x="138" y="850"/>
                  </a:lnTo>
                  <a:lnTo>
                    <a:pt x="9" y="850"/>
                  </a:lnTo>
                  <a:lnTo>
                    <a:pt x="5" y="851"/>
                  </a:lnTo>
                  <a:lnTo>
                    <a:pt x="3" y="853"/>
                  </a:lnTo>
                  <a:lnTo>
                    <a:pt x="1" y="856"/>
                  </a:lnTo>
                  <a:lnTo>
                    <a:pt x="0" y="860"/>
                  </a:lnTo>
                  <a:lnTo>
                    <a:pt x="1" y="870"/>
                  </a:lnTo>
                  <a:lnTo>
                    <a:pt x="4" y="881"/>
                  </a:lnTo>
                  <a:lnTo>
                    <a:pt x="7" y="892"/>
                  </a:lnTo>
                  <a:lnTo>
                    <a:pt x="13" y="902"/>
                  </a:lnTo>
                  <a:lnTo>
                    <a:pt x="18" y="910"/>
                  </a:lnTo>
                  <a:lnTo>
                    <a:pt x="24" y="920"/>
                  </a:lnTo>
                  <a:lnTo>
                    <a:pt x="31" y="927"/>
                  </a:lnTo>
                  <a:lnTo>
                    <a:pt x="38" y="935"/>
                  </a:lnTo>
                  <a:lnTo>
                    <a:pt x="47" y="942"/>
                  </a:lnTo>
                  <a:lnTo>
                    <a:pt x="56" y="948"/>
                  </a:lnTo>
                  <a:lnTo>
                    <a:pt x="64" y="953"/>
                  </a:lnTo>
                  <a:lnTo>
                    <a:pt x="74" y="957"/>
                  </a:lnTo>
                  <a:lnTo>
                    <a:pt x="82" y="962"/>
                  </a:lnTo>
                  <a:lnTo>
                    <a:pt x="92" y="964"/>
                  </a:lnTo>
                  <a:lnTo>
                    <a:pt x="101" y="965"/>
                  </a:lnTo>
                  <a:lnTo>
                    <a:pt x="110" y="966"/>
                  </a:lnTo>
                  <a:lnTo>
                    <a:pt x="1283" y="966"/>
                  </a:lnTo>
                  <a:lnTo>
                    <a:pt x="1292" y="965"/>
                  </a:lnTo>
                  <a:lnTo>
                    <a:pt x="1301" y="964"/>
                  </a:lnTo>
                  <a:lnTo>
                    <a:pt x="1310" y="962"/>
                  </a:lnTo>
                  <a:lnTo>
                    <a:pt x="1320" y="957"/>
                  </a:lnTo>
                  <a:lnTo>
                    <a:pt x="1328" y="953"/>
                  </a:lnTo>
                  <a:lnTo>
                    <a:pt x="1337" y="948"/>
                  </a:lnTo>
                  <a:lnTo>
                    <a:pt x="1345" y="942"/>
                  </a:lnTo>
                  <a:lnTo>
                    <a:pt x="1354" y="935"/>
                  </a:lnTo>
                  <a:lnTo>
                    <a:pt x="1361" y="927"/>
                  </a:lnTo>
                  <a:lnTo>
                    <a:pt x="1369" y="920"/>
                  </a:lnTo>
                  <a:lnTo>
                    <a:pt x="1374" y="910"/>
                  </a:lnTo>
                  <a:lnTo>
                    <a:pt x="1381" y="902"/>
                  </a:lnTo>
                  <a:lnTo>
                    <a:pt x="1385" y="892"/>
                  </a:lnTo>
                  <a:lnTo>
                    <a:pt x="1388" y="881"/>
                  </a:lnTo>
                  <a:lnTo>
                    <a:pt x="1392" y="870"/>
                  </a:lnTo>
                  <a:lnTo>
                    <a:pt x="1393" y="860"/>
                  </a:lnTo>
                  <a:lnTo>
                    <a:pt x="1393" y="856"/>
                  </a:lnTo>
                  <a:lnTo>
                    <a:pt x="1390" y="853"/>
                  </a:lnTo>
                  <a:close/>
                </a:path>
              </a:pathLst>
            </a:custGeom>
            <a:solidFill>
              <a:srgbClr val="2A43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23" name="Freeform 72"/>
            <p:cNvSpPr>
              <a:spLocks noEditPoints="1"/>
            </p:cNvSpPr>
            <p:nvPr/>
          </p:nvSpPr>
          <p:spPr bwMode="auto">
            <a:xfrm>
              <a:off x="4365625" y="5338763"/>
              <a:ext cx="538163" cy="379413"/>
            </a:xfrm>
            <a:custGeom>
              <a:avLst/>
              <a:gdLst>
                <a:gd name="T0" fmla="*/ 999 w 1018"/>
                <a:gd name="T1" fmla="*/ 700 h 718"/>
                <a:gd name="T2" fmla="*/ 17 w 1018"/>
                <a:gd name="T3" fmla="*/ 700 h 718"/>
                <a:gd name="T4" fmla="*/ 17 w 1018"/>
                <a:gd name="T5" fmla="*/ 19 h 718"/>
                <a:gd name="T6" fmla="*/ 999 w 1018"/>
                <a:gd name="T7" fmla="*/ 19 h 718"/>
                <a:gd name="T8" fmla="*/ 999 w 1018"/>
                <a:gd name="T9" fmla="*/ 700 h 718"/>
                <a:gd name="T10" fmla="*/ 1018 w 1018"/>
                <a:gd name="T11" fmla="*/ 708 h 718"/>
                <a:gd name="T12" fmla="*/ 1018 w 1018"/>
                <a:gd name="T13" fmla="*/ 10 h 718"/>
                <a:gd name="T14" fmla="*/ 1017 w 1018"/>
                <a:gd name="T15" fmla="*/ 6 h 718"/>
                <a:gd name="T16" fmla="*/ 1014 w 1018"/>
                <a:gd name="T17" fmla="*/ 4 h 718"/>
                <a:gd name="T18" fmla="*/ 1012 w 1018"/>
                <a:gd name="T19" fmla="*/ 1 h 718"/>
                <a:gd name="T20" fmla="*/ 1009 w 1018"/>
                <a:gd name="T21" fmla="*/ 0 h 718"/>
                <a:gd name="T22" fmla="*/ 8 w 1018"/>
                <a:gd name="T23" fmla="*/ 0 h 718"/>
                <a:gd name="T24" fmla="*/ 5 w 1018"/>
                <a:gd name="T25" fmla="*/ 1 h 718"/>
                <a:gd name="T26" fmla="*/ 2 w 1018"/>
                <a:gd name="T27" fmla="*/ 4 h 718"/>
                <a:gd name="T28" fmla="*/ 0 w 1018"/>
                <a:gd name="T29" fmla="*/ 6 h 718"/>
                <a:gd name="T30" fmla="*/ 0 w 1018"/>
                <a:gd name="T31" fmla="*/ 10 h 718"/>
                <a:gd name="T32" fmla="*/ 0 w 1018"/>
                <a:gd name="T33" fmla="*/ 708 h 718"/>
                <a:gd name="T34" fmla="*/ 0 w 1018"/>
                <a:gd name="T35" fmla="*/ 713 h 718"/>
                <a:gd name="T36" fmla="*/ 2 w 1018"/>
                <a:gd name="T37" fmla="*/ 715 h 718"/>
                <a:gd name="T38" fmla="*/ 5 w 1018"/>
                <a:gd name="T39" fmla="*/ 717 h 718"/>
                <a:gd name="T40" fmla="*/ 8 w 1018"/>
                <a:gd name="T41" fmla="*/ 718 h 718"/>
                <a:gd name="T42" fmla="*/ 1009 w 1018"/>
                <a:gd name="T43" fmla="*/ 718 h 718"/>
                <a:gd name="T44" fmla="*/ 1012 w 1018"/>
                <a:gd name="T45" fmla="*/ 717 h 718"/>
                <a:gd name="T46" fmla="*/ 1014 w 1018"/>
                <a:gd name="T47" fmla="*/ 715 h 718"/>
                <a:gd name="T48" fmla="*/ 1017 w 1018"/>
                <a:gd name="T49" fmla="*/ 713 h 718"/>
                <a:gd name="T50" fmla="*/ 1018 w 1018"/>
                <a:gd name="T51" fmla="*/ 708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18" h="718">
                  <a:moveTo>
                    <a:pt x="999" y="700"/>
                  </a:moveTo>
                  <a:lnTo>
                    <a:pt x="17" y="700"/>
                  </a:lnTo>
                  <a:lnTo>
                    <a:pt x="17" y="19"/>
                  </a:lnTo>
                  <a:lnTo>
                    <a:pt x="999" y="19"/>
                  </a:lnTo>
                  <a:lnTo>
                    <a:pt x="999" y="700"/>
                  </a:lnTo>
                  <a:close/>
                  <a:moveTo>
                    <a:pt x="1018" y="708"/>
                  </a:moveTo>
                  <a:lnTo>
                    <a:pt x="1018" y="10"/>
                  </a:lnTo>
                  <a:lnTo>
                    <a:pt x="1017" y="6"/>
                  </a:lnTo>
                  <a:lnTo>
                    <a:pt x="1014" y="4"/>
                  </a:lnTo>
                  <a:lnTo>
                    <a:pt x="1012" y="1"/>
                  </a:lnTo>
                  <a:lnTo>
                    <a:pt x="1009" y="0"/>
                  </a:lnTo>
                  <a:lnTo>
                    <a:pt x="8" y="0"/>
                  </a:lnTo>
                  <a:lnTo>
                    <a:pt x="5" y="1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708"/>
                  </a:lnTo>
                  <a:lnTo>
                    <a:pt x="0" y="713"/>
                  </a:lnTo>
                  <a:lnTo>
                    <a:pt x="2" y="715"/>
                  </a:lnTo>
                  <a:lnTo>
                    <a:pt x="5" y="717"/>
                  </a:lnTo>
                  <a:lnTo>
                    <a:pt x="8" y="718"/>
                  </a:lnTo>
                  <a:lnTo>
                    <a:pt x="1009" y="718"/>
                  </a:lnTo>
                  <a:lnTo>
                    <a:pt x="1012" y="717"/>
                  </a:lnTo>
                  <a:lnTo>
                    <a:pt x="1014" y="715"/>
                  </a:lnTo>
                  <a:lnTo>
                    <a:pt x="1017" y="713"/>
                  </a:lnTo>
                  <a:lnTo>
                    <a:pt x="1018" y="708"/>
                  </a:lnTo>
                  <a:close/>
                </a:path>
              </a:pathLst>
            </a:custGeom>
            <a:solidFill>
              <a:srgbClr val="2A43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24" name="Freeform 73"/>
            <p:cNvSpPr>
              <a:spLocks/>
            </p:cNvSpPr>
            <p:nvPr/>
          </p:nvSpPr>
          <p:spPr bwMode="auto">
            <a:xfrm>
              <a:off x="4618038" y="5319713"/>
              <a:ext cx="33338" cy="9525"/>
            </a:xfrm>
            <a:custGeom>
              <a:avLst/>
              <a:gdLst>
                <a:gd name="T0" fmla="*/ 53 w 62"/>
                <a:gd name="T1" fmla="*/ 18 h 18"/>
                <a:gd name="T2" fmla="*/ 9 w 62"/>
                <a:gd name="T3" fmla="*/ 18 h 18"/>
                <a:gd name="T4" fmla="*/ 6 w 62"/>
                <a:gd name="T5" fmla="*/ 17 h 18"/>
                <a:gd name="T6" fmla="*/ 2 w 62"/>
                <a:gd name="T7" fmla="*/ 15 h 18"/>
                <a:gd name="T8" fmla="*/ 0 w 62"/>
                <a:gd name="T9" fmla="*/ 13 h 18"/>
                <a:gd name="T10" fmla="*/ 0 w 62"/>
                <a:gd name="T11" fmla="*/ 8 h 18"/>
                <a:gd name="T12" fmla="*/ 0 w 62"/>
                <a:gd name="T13" fmla="*/ 5 h 18"/>
                <a:gd name="T14" fmla="*/ 2 w 62"/>
                <a:gd name="T15" fmla="*/ 2 h 18"/>
                <a:gd name="T16" fmla="*/ 6 w 62"/>
                <a:gd name="T17" fmla="*/ 1 h 18"/>
                <a:gd name="T18" fmla="*/ 9 w 62"/>
                <a:gd name="T19" fmla="*/ 0 h 18"/>
                <a:gd name="T20" fmla="*/ 53 w 62"/>
                <a:gd name="T21" fmla="*/ 0 h 18"/>
                <a:gd name="T22" fmla="*/ 56 w 62"/>
                <a:gd name="T23" fmla="*/ 1 h 18"/>
                <a:gd name="T24" fmla="*/ 59 w 62"/>
                <a:gd name="T25" fmla="*/ 2 h 18"/>
                <a:gd name="T26" fmla="*/ 61 w 62"/>
                <a:gd name="T27" fmla="*/ 5 h 18"/>
                <a:gd name="T28" fmla="*/ 62 w 62"/>
                <a:gd name="T29" fmla="*/ 8 h 18"/>
                <a:gd name="T30" fmla="*/ 61 w 62"/>
                <a:gd name="T31" fmla="*/ 13 h 18"/>
                <a:gd name="T32" fmla="*/ 59 w 62"/>
                <a:gd name="T33" fmla="*/ 15 h 18"/>
                <a:gd name="T34" fmla="*/ 56 w 62"/>
                <a:gd name="T35" fmla="*/ 17 h 18"/>
                <a:gd name="T36" fmla="*/ 53 w 62"/>
                <a:gd name="T3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18">
                  <a:moveTo>
                    <a:pt x="53" y="18"/>
                  </a:moveTo>
                  <a:lnTo>
                    <a:pt x="9" y="18"/>
                  </a:lnTo>
                  <a:lnTo>
                    <a:pt x="6" y="17"/>
                  </a:lnTo>
                  <a:lnTo>
                    <a:pt x="2" y="15"/>
                  </a:lnTo>
                  <a:lnTo>
                    <a:pt x="0" y="13"/>
                  </a:lnTo>
                  <a:lnTo>
                    <a:pt x="0" y="8"/>
                  </a:lnTo>
                  <a:lnTo>
                    <a:pt x="0" y="5"/>
                  </a:lnTo>
                  <a:lnTo>
                    <a:pt x="2" y="2"/>
                  </a:lnTo>
                  <a:lnTo>
                    <a:pt x="6" y="1"/>
                  </a:lnTo>
                  <a:lnTo>
                    <a:pt x="9" y="0"/>
                  </a:lnTo>
                  <a:lnTo>
                    <a:pt x="53" y="0"/>
                  </a:lnTo>
                  <a:lnTo>
                    <a:pt x="56" y="1"/>
                  </a:lnTo>
                  <a:lnTo>
                    <a:pt x="59" y="2"/>
                  </a:lnTo>
                  <a:lnTo>
                    <a:pt x="61" y="5"/>
                  </a:lnTo>
                  <a:lnTo>
                    <a:pt x="62" y="8"/>
                  </a:lnTo>
                  <a:lnTo>
                    <a:pt x="61" y="13"/>
                  </a:lnTo>
                  <a:lnTo>
                    <a:pt x="59" y="15"/>
                  </a:lnTo>
                  <a:lnTo>
                    <a:pt x="56" y="17"/>
                  </a:lnTo>
                  <a:lnTo>
                    <a:pt x="53" y="18"/>
                  </a:lnTo>
                  <a:close/>
                </a:path>
              </a:pathLst>
            </a:custGeom>
            <a:solidFill>
              <a:srgbClr val="0046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25" name="Freeform 74"/>
            <p:cNvSpPr>
              <a:spLocks/>
            </p:cNvSpPr>
            <p:nvPr/>
          </p:nvSpPr>
          <p:spPr bwMode="auto">
            <a:xfrm>
              <a:off x="4697413" y="5499100"/>
              <a:ext cx="44450" cy="44450"/>
            </a:xfrm>
            <a:custGeom>
              <a:avLst/>
              <a:gdLst>
                <a:gd name="T0" fmla="*/ 9 w 84"/>
                <a:gd name="T1" fmla="*/ 0 h 84"/>
                <a:gd name="T2" fmla="*/ 6 w 84"/>
                <a:gd name="T3" fmla="*/ 0 h 84"/>
                <a:gd name="T4" fmla="*/ 3 w 84"/>
                <a:gd name="T5" fmla="*/ 2 h 84"/>
                <a:gd name="T6" fmla="*/ 2 w 84"/>
                <a:gd name="T7" fmla="*/ 6 h 84"/>
                <a:gd name="T8" fmla="*/ 0 w 84"/>
                <a:gd name="T9" fmla="*/ 9 h 84"/>
                <a:gd name="T10" fmla="*/ 2 w 84"/>
                <a:gd name="T11" fmla="*/ 12 h 84"/>
                <a:gd name="T12" fmla="*/ 3 w 84"/>
                <a:gd name="T13" fmla="*/ 15 h 84"/>
                <a:gd name="T14" fmla="*/ 6 w 84"/>
                <a:gd name="T15" fmla="*/ 18 h 84"/>
                <a:gd name="T16" fmla="*/ 9 w 84"/>
                <a:gd name="T17" fmla="*/ 18 h 84"/>
                <a:gd name="T18" fmla="*/ 15 w 84"/>
                <a:gd name="T19" fmla="*/ 19 h 84"/>
                <a:gd name="T20" fmla="*/ 21 w 84"/>
                <a:gd name="T21" fmla="*/ 19 h 84"/>
                <a:gd name="T22" fmla="*/ 26 w 84"/>
                <a:gd name="T23" fmla="*/ 21 h 84"/>
                <a:gd name="T24" fmla="*/ 32 w 84"/>
                <a:gd name="T25" fmla="*/ 23 h 84"/>
                <a:gd name="T26" fmla="*/ 41 w 84"/>
                <a:gd name="T27" fmla="*/ 27 h 84"/>
                <a:gd name="T28" fmla="*/ 50 w 84"/>
                <a:gd name="T29" fmla="*/ 35 h 84"/>
                <a:gd name="T30" fmla="*/ 56 w 84"/>
                <a:gd name="T31" fmla="*/ 43 h 84"/>
                <a:gd name="T32" fmla="*/ 62 w 84"/>
                <a:gd name="T33" fmla="*/ 53 h 84"/>
                <a:gd name="T34" fmla="*/ 64 w 84"/>
                <a:gd name="T35" fmla="*/ 58 h 84"/>
                <a:gd name="T36" fmla="*/ 65 w 84"/>
                <a:gd name="T37" fmla="*/ 64 h 84"/>
                <a:gd name="T38" fmla="*/ 66 w 84"/>
                <a:gd name="T39" fmla="*/ 69 h 84"/>
                <a:gd name="T40" fmla="*/ 66 w 84"/>
                <a:gd name="T41" fmla="*/ 74 h 84"/>
                <a:gd name="T42" fmla="*/ 67 w 84"/>
                <a:gd name="T43" fmla="*/ 79 h 84"/>
                <a:gd name="T44" fmla="*/ 69 w 84"/>
                <a:gd name="T45" fmla="*/ 81 h 84"/>
                <a:gd name="T46" fmla="*/ 71 w 84"/>
                <a:gd name="T47" fmla="*/ 83 h 84"/>
                <a:gd name="T48" fmla="*/ 76 w 84"/>
                <a:gd name="T49" fmla="*/ 84 h 84"/>
                <a:gd name="T50" fmla="*/ 79 w 84"/>
                <a:gd name="T51" fmla="*/ 83 h 84"/>
                <a:gd name="T52" fmla="*/ 82 w 84"/>
                <a:gd name="T53" fmla="*/ 81 h 84"/>
                <a:gd name="T54" fmla="*/ 84 w 84"/>
                <a:gd name="T55" fmla="*/ 79 h 84"/>
                <a:gd name="T56" fmla="*/ 84 w 84"/>
                <a:gd name="T57" fmla="*/ 74 h 84"/>
                <a:gd name="T58" fmla="*/ 84 w 84"/>
                <a:gd name="T59" fmla="*/ 67 h 84"/>
                <a:gd name="T60" fmla="*/ 83 w 84"/>
                <a:gd name="T61" fmla="*/ 59 h 84"/>
                <a:gd name="T62" fmla="*/ 81 w 84"/>
                <a:gd name="T63" fmla="*/ 53 h 84"/>
                <a:gd name="T64" fmla="*/ 79 w 84"/>
                <a:gd name="T65" fmla="*/ 45 h 84"/>
                <a:gd name="T66" fmla="*/ 76 w 84"/>
                <a:gd name="T67" fmla="*/ 39 h 84"/>
                <a:gd name="T68" fmla="*/ 71 w 84"/>
                <a:gd name="T69" fmla="*/ 33 h 84"/>
                <a:gd name="T70" fmla="*/ 67 w 84"/>
                <a:gd name="T71" fmla="*/ 27 h 84"/>
                <a:gd name="T72" fmla="*/ 63 w 84"/>
                <a:gd name="T73" fmla="*/ 22 h 84"/>
                <a:gd name="T74" fmla="*/ 57 w 84"/>
                <a:gd name="T75" fmla="*/ 18 h 84"/>
                <a:gd name="T76" fmla="*/ 51 w 84"/>
                <a:gd name="T77" fmla="*/ 13 h 84"/>
                <a:gd name="T78" fmla="*/ 46 w 84"/>
                <a:gd name="T79" fmla="*/ 9 h 84"/>
                <a:gd name="T80" fmla="*/ 38 w 84"/>
                <a:gd name="T81" fmla="*/ 6 h 84"/>
                <a:gd name="T82" fmla="*/ 32 w 84"/>
                <a:gd name="T83" fmla="*/ 4 h 84"/>
                <a:gd name="T84" fmla="*/ 24 w 84"/>
                <a:gd name="T85" fmla="*/ 1 h 84"/>
                <a:gd name="T86" fmla="*/ 17 w 84"/>
                <a:gd name="T87" fmla="*/ 0 h 84"/>
                <a:gd name="T88" fmla="*/ 9 w 84"/>
                <a:gd name="T8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84">
                  <a:moveTo>
                    <a:pt x="9" y="0"/>
                  </a:moveTo>
                  <a:lnTo>
                    <a:pt x="6" y="0"/>
                  </a:lnTo>
                  <a:lnTo>
                    <a:pt x="3" y="2"/>
                  </a:lnTo>
                  <a:lnTo>
                    <a:pt x="2" y="6"/>
                  </a:lnTo>
                  <a:lnTo>
                    <a:pt x="0" y="9"/>
                  </a:lnTo>
                  <a:lnTo>
                    <a:pt x="2" y="12"/>
                  </a:lnTo>
                  <a:lnTo>
                    <a:pt x="3" y="15"/>
                  </a:lnTo>
                  <a:lnTo>
                    <a:pt x="6" y="18"/>
                  </a:lnTo>
                  <a:lnTo>
                    <a:pt x="9" y="18"/>
                  </a:lnTo>
                  <a:lnTo>
                    <a:pt x="15" y="19"/>
                  </a:lnTo>
                  <a:lnTo>
                    <a:pt x="21" y="19"/>
                  </a:lnTo>
                  <a:lnTo>
                    <a:pt x="26" y="21"/>
                  </a:lnTo>
                  <a:lnTo>
                    <a:pt x="32" y="23"/>
                  </a:lnTo>
                  <a:lnTo>
                    <a:pt x="41" y="27"/>
                  </a:lnTo>
                  <a:lnTo>
                    <a:pt x="50" y="35"/>
                  </a:lnTo>
                  <a:lnTo>
                    <a:pt x="56" y="43"/>
                  </a:lnTo>
                  <a:lnTo>
                    <a:pt x="62" y="53"/>
                  </a:lnTo>
                  <a:lnTo>
                    <a:pt x="64" y="58"/>
                  </a:lnTo>
                  <a:lnTo>
                    <a:pt x="65" y="64"/>
                  </a:lnTo>
                  <a:lnTo>
                    <a:pt x="66" y="69"/>
                  </a:lnTo>
                  <a:lnTo>
                    <a:pt x="66" y="74"/>
                  </a:lnTo>
                  <a:lnTo>
                    <a:pt x="67" y="79"/>
                  </a:lnTo>
                  <a:lnTo>
                    <a:pt x="69" y="81"/>
                  </a:lnTo>
                  <a:lnTo>
                    <a:pt x="71" y="83"/>
                  </a:lnTo>
                  <a:lnTo>
                    <a:pt x="76" y="84"/>
                  </a:lnTo>
                  <a:lnTo>
                    <a:pt x="79" y="83"/>
                  </a:lnTo>
                  <a:lnTo>
                    <a:pt x="82" y="81"/>
                  </a:lnTo>
                  <a:lnTo>
                    <a:pt x="84" y="79"/>
                  </a:lnTo>
                  <a:lnTo>
                    <a:pt x="84" y="74"/>
                  </a:lnTo>
                  <a:lnTo>
                    <a:pt x="84" y="67"/>
                  </a:lnTo>
                  <a:lnTo>
                    <a:pt x="83" y="59"/>
                  </a:lnTo>
                  <a:lnTo>
                    <a:pt x="81" y="53"/>
                  </a:lnTo>
                  <a:lnTo>
                    <a:pt x="79" y="45"/>
                  </a:lnTo>
                  <a:lnTo>
                    <a:pt x="76" y="39"/>
                  </a:lnTo>
                  <a:lnTo>
                    <a:pt x="71" y="33"/>
                  </a:lnTo>
                  <a:lnTo>
                    <a:pt x="67" y="27"/>
                  </a:lnTo>
                  <a:lnTo>
                    <a:pt x="63" y="22"/>
                  </a:lnTo>
                  <a:lnTo>
                    <a:pt x="57" y="18"/>
                  </a:lnTo>
                  <a:lnTo>
                    <a:pt x="51" y="13"/>
                  </a:lnTo>
                  <a:lnTo>
                    <a:pt x="46" y="9"/>
                  </a:lnTo>
                  <a:lnTo>
                    <a:pt x="38" y="6"/>
                  </a:lnTo>
                  <a:lnTo>
                    <a:pt x="32" y="4"/>
                  </a:lnTo>
                  <a:lnTo>
                    <a:pt x="24" y="1"/>
                  </a:lnTo>
                  <a:lnTo>
                    <a:pt x="17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206E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26" name="Freeform 75"/>
            <p:cNvSpPr>
              <a:spLocks/>
            </p:cNvSpPr>
            <p:nvPr/>
          </p:nvSpPr>
          <p:spPr bwMode="auto">
            <a:xfrm>
              <a:off x="4697413" y="5383213"/>
              <a:ext cx="160338" cy="160338"/>
            </a:xfrm>
            <a:custGeom>
              <a:avLst/>
              <a:gdLst>
                <a:gd name="T0" fmla="*/ 6 w 305"/>
                <a:gd name="T1" fmla="*/ 1 h 304"/>
                <a:gd name="T2" fmla="*/ 2 w 305"/>
                <a:gd name="T3" fmla="*/ 5 h 304"/>
                <a:gd name="T4" fmla="*/ 2 w 305"/>
                <a:gd name="T5" fmla="*/ 13 h 304"/>
                <a:gd name="T6" fmla="*/ 6 w 305"/>
                <a:gd name="T7" fmla="*/ 17 h 304"/>
                <a:gd name="T8" fmla="*/ 23 w 305"/>
                <a:gd name="T9" fmla="*/ 18 h 304"/>
                <a:gd name="T10" fmla="*/ 51 w 305"/>
                <a:gd name="T11" fmla="*/ 22 h 304"/>
                <a:gd name="T12" fmla="*/ 79 w 305"/>
                <a:gd name="T13" fmla="*/ 27 h 304"/>
                <a:gd name="T14" fmla="*/ 105 w 305"/>
                <a:gd name="T15" fmla="*/ 34 h 304"/>
                <a:gd name="T16" fmla="*/ 129 w 305"/>
                <a:gd name="T17" fmla="*/ 45 h 304"/>
                <a:gd name="T18" fmla="*/ 153 w 305"/>
                <a:gd name="T19" fmla="*/ 58 h 304"/>
                <a:gd name="T20" fmla="*/ 175 w 305"/>
                <a:gd name="T21" fmla="*/ 73 h 304"/>
                <a:gd name="T22" fmla="*/ 196 w 305"/>
                <a:gd name="T23" fmla="*/ 90 h 304"/>
                <a:gd name="T24" fmla="*/ 214 w 305"/>
                <a:gd name="T25" fmla="*/ 109 h 304"/>
                <a:gd name="T26" fmla="*/ 232 w 305"/>
                <a:gd name="T27" fmla="*/ 129 h 304"/>
                <a:gd name="T28" fmla="*/ 247 w 305"/>
                <a:gd name="T29" fmla="*/ 152 h 304"/>
                <a:gd name="T30" fmla="*/ 259 w 305"/>
                <a:gd name="T31" fmla="*/ 175 h 304"/>
                <a:gd name="T32" fmla="*/ 269 w 305"/>
                <a:gd name="T33" fmla="*/ 200 h 304"/>
                <a:gd name="T34" fmla="*/ 278 w 305"/>
                <a:gd name="T35" fmla="*/ 226 h 304"/>
                <a:gd name="T36" fmla="*/ 283 w 305"/>
                <a:gd name="T37" fmla="*/ 253 h 304"/>
                <a:gd name="T38" fmla="*/ 286 w 305"/>
                <a:gd name="T39" fmla="*/ 280 h 304"/>
                <a:gd name="T40" fmla="*/ 287 w 305"/>
                <a:gd name="T41" fmla="*/ 299 h 304"/>
                <a:gd name="T42" fmla="*/ 292 w 305"/>
                <a:gd name="T43" fmla="*/ 303 h 304"/>
                <a:gd name="T44" fmla="*/ 299 w 305"/>
                <a:gd name="T45" fmla="*/ 303 h 304"/>
                <a:gd name="T46" fmla="*/ 304 w 305"/>
                <a:gd name="T47" fmla="*/ 299 h 304"/>
                <a:gd name="T48" fmla="*/ 304 w 305"/>
                <a:gd name="T49" fmla="*/ 279 h 304"/>
                <a:gd name="T50" fmla="*/ 301 w 305"/>
                <a:gd name="T51" fmla="*/ 250 h 304"/>
                <a:gd name="T52" fmla="*/ 295 w 305"/>
                <a:gd name="T53" fmla="*/ 221 h 304"/>
                <a:gd name="T54" fmla="*/ 286 w 305"/>
                <a:gd name="T55" fmla="*/ 193 h 304"/>
                <a:gd name="T56" fmla="*/ 276 w 305"/>
                <a:gd name="T57" fmla="*/ 167 h 304"/>
                <a:gd name="T58" fmla="*/ 262 w 305"/>
                <a:gd name="T59" fmla="*/ 142 h 304"/>
                <a:gd name="T60" fmla="*/ 245 w 305"/>
                <a:gd name="T61" fmla="*/ 118 h 304"/>
                <a:gd name="T62" fmla="*/ 227 w 305"/>
                <a:gd name="T63" fmla="*/ 97 h 304"/>
                <a:gd name="T64" fmla="*/ 208 w 305"/>
                <a:gd name="T65" fmla="*/ 76 h 304"/>
                <a:gd name="T66" fmla="*/ 185 w 305"/>
                <a:gd name="T67" fmla="*/ 59 h 304"/>
                <a:gd name="T68" fmla="*/ 162 w 305"/>
                <a:gd name="T69" fmla="*/ 43 h 304"/>
                <a:gd name="T70" fmla="*/ 137 w 305"/>
                <a:gd name="T71" fmla="*/ 29 h 304"/>
                <a:gd name="T72" fmla="*/ 111 w 305"/>
                <a:gd name="T73" fmla="*/ 18 h 304"/>
                <a:gd name="T74" fmla="*/ 83 w 305"/>
                <a:gd name="T75" fmla="*/ 10 h 304"/>
                <a:gd name="T76" fmla="*/ 54 w 305"/>
                <a:gd name="T77" fmla="*/ 3 h 304"/>
                <a:gd name="T78" fmla="*/ 24 w 305"/>
                <a:gd name="T79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5" h="304">
                  <a:moveTo>
                    <a:pt x="9" y="0"/>
                  </a:moveTo>
                  <a:lnTo>
                    <a:pt x="6" y="1"/>
                  </a:lnTo>
                  <a:lnTo>
                    <a:pt x="3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2" y="13"/>
                  </a:lnTo>
                  <a:lnTo>
                    <a:pt x="3" y="15"/>
                  </a:lnTo>
                  <a:lnTo>
                    <a:pt x="6" y="17"/>
                  </a:lnTo>
                  <a:lnTo>
                    <a:pt x="9" y="18"/>
                  </a:lnTo>
                  <a:lnTo>
                    <a:pt x="23" y="18"/>
                  </a:lnTo>
                  <a:lnTo>
                    <a:pt x="38" y="19"/>
                  </a:lnTo>
                  <a:lnTo>
                    <a:pt x="51" y="22"/>
                  </a:lnTo>
                  <a:lnTo>
                    <a:pt x="65" y="24"/>
                  </a:lnTo>
                  <a:lnTo>
                    <a:pt x="79" y="27"/>
                  </a:lnTo>
                  <a:lnTo>
                    <a:pt x="92" y="30"/>
                  </a:lnTo>
                  <a:lnTo>
                    <a:pt x="105" y="34"/>
                  </a:lnTo>
                  <a:lnTo>
                    <a:pt x="118" y="40"/>
                  </a:lnTo>
                  <a:lnTo>
                    <a:pt x="129" y="45"/>
                  </a:lnTo>
                  <a:lnTo>
                    <a:pt x="141" y="52"/>
                  </a:lnTo>
                  <a:lnTo>
                    <a:pt x="153" y="58"/>
                  </a:lnTo>
                  <a:lnTo>
                    <a:pt x="164" y="66"/>
                  </a:lnTo>
                  <a:lnTo>
                    <a:pt x="175" y="73"/>
                  </a:lnTo>
                  <a:lnTo>
                    <a:pt x="185" y="82"/>
                  </a:lnTo>
                  <a:lnTo>
                    <a:pt x="196" y="90"/>
                  </a:lnTo>
                  <a:lnTo>
                    <a:pt x="206" y="99"/>
                  </a:lnTo>
                  <a:lnTo>
                    <a:pt x="214" y="109"/>
                  </a:lnTo>
                  <a:lnTo>
                    <a:pt x="223" y="119"/>
                  </a:lnTo>
                  <a:lnTo>
                    <a:pt x="232" y="129"/>
                  </a:lnTo>
                  <a:lnTo>
                    <a:pt x="239" y="140"/>
                  </a:lnTo>
                  <a:lnTo>
                    <a:pt x="247" y="152"/>
                  </a:lnTo>
                  <a:lnTo>
                    <a:pt x="253" y="163"/>
                  </a:lnTo>
                  <a:lnTo>
                    <a:pt x="259" y="175"/>
                  </a:lnTo>
                  <a:lnTo>
                    <a:pt x="265" y="187"/>
                  </a:lnTo>
                  <a:lnTo>
                    <a:pt x="269" y="200"/>
                  </a:lnTo>
                  <a:lnTo>
                    <a:pt x="273" y="213"/>
                  </a:lnTo>
                  <a:lnTo>
                    <a:pt x="278" y="226"/>
                  </a:lnTo>
                  <a:lnTo>
                    <a:pt x="281" y="239"/>
                  </a:lnTo>
                  <a:lnTo>
                    <a:pt x="283" y="253"/>
                  </a:lnTo>
                  <a:lnTo>
                    <a:pt x="285" y="267"/>
                  </a:lnTo>
                  <a:lnTo>
                    <a:pt x="286" y="280"/>
                  </a:lnTo>
                  <a:lnTo>
                    <a:pt x="286" y="294"/>
                  </a:lnTo>
                  <a:lnTo>
                    <a:pt x="287" y="299"/>
                  </a:lnTo>
                  <a:lnTo>
                    <a:pt x="288" y="301"/>
                  </a:lnTo>
                  <a:lnTo>
                    <a:pt x="292" y="303"/>
                  </a:lnTo>
                  <a:lnTo>
                    <a:pt x="295" y="304"/>
                  </a:lnTo>
                  <a:lnTo>
                    <a:pt x="299" y="303"/>
                  </a:lnTo>
                  <a:lnTo>
                    <a:pt x="301" y="301"/>
                  </a:lnTo>
                  <a:lnTo>
                    <a:pt x="304" y="299"/>
                  </a:lnTo>
                  <a:lnTo>
                    <a:pt x="305" y="294"/>
                  </a:lnTo>
                  <a:lnTo>
                    <a:pt x="304" y="279"/>
                  </a:lnTo>
                  <a:lnTo>
                    <a:pt x="302" y="264"/>
                  </a:lnTo>
                  <a:lnTo>
                    <a:pt x="301" y="250"/>
                  </a:lnTo>
                  <a:lnTo>
                    <a:pt x="298" y="235"/>
                  </a:lnTo>
                  <a:lnTo>
                    <a:pt x="295" y="221"/>
                  </a:lnTo>
                  <a:lnTo>
                    <a:pt x="291" y="207"/>
                  </a:lnTo>
                  <a:lnTo>
                    <a:pt x="286" y="193"/>
                  </a:lnTo>
                  <a:lnTo>
                    <a:pt x="281" y="181"/>
                  </a:lnTo>
                  <a:lnTo>
                    <a:pt x="276" y="167"/>
                  </a:lnTo>
                  <a:lnTo>
                    <a:pt x="269" y="155"/>
                  </a:lnTo>
                  <a:lnTo>
                    <a:pt x="262" y="142"/>
                  </a:lnTo>
                  <a:lnTo>
                    <a:pt x="254" y="130"/>
                  </a:lnTo>
                  <a:lnTo>
                    <a:pt x="245" y="118"/>
                  </a:lnTo>
                  <a:lnTo>
                    <a:pt x="237" y="108"/>
                  </a:lnTo>
                  <a:lnTo>
                    <a:pt x="227" y="97"/>
                  </a:lnTo>
                  <a:lnTo>
                    <a:pt x="218" y="86"/>
                  </a:lnTo>
                  <a:lnTo>
                    <a:pt x="208" y="76"/>
                  </a:lnTo>
                  <a:lnTo>
                    <a:pt x="197" y="68"/>
                  </a:lnTo>
                  <a:lnTo>
                    <a:pt x="185" y="59"/>
                  </a:lnTo>
                  <a:lnTo>
                    <a:pt x="175" y="51"/>
                  </a:lnTo>
                  <a:lnTo>
                    <a:pt x="162" y="43"/>
                  </a:lnTo>
                  <a:lnTo>
                    <a:pt x="150" y="36"/>
                  </a:lnTo>
                  <a:lnTo>
                    <a:pt x="137" y="29"/>
                  </a:lnTo>
                  <a:lnTo>
                    <a:pt x="124" y="24"/>
                  </a:lnTo>
                  <a:lnTo>
                    <a:pt x="111" y="18"/>
                  </a:lnTo>
                  <a:lnTo>
                    <a:pt x="97" y="13"/>
                  </a:lnTo>
                  <a:lnTo>
                    <a:pt x="83" y="10"/>
                  </a:lnTo>
                  <a:lnTo>
                    <a:pt x="68" y="7"/>
                  </a:lnTo>
                  <a:lnTo>
                    <a:pt x="54" y="3"/>
                  </a:lnTo>
                  <a:lnTo>
                    <a:pt x="39" y="1"/>
                  </a:lnTo>
                  <a:lnTo>
                    <a:pt x="24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206E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27" name="Freeform 76"/>
            <p:cNvSpPr>
              <a:spLocks/>
            </p:cNvSpPr>
            <p:nvPr/>
          </p:nvSpPr>
          <p:spPr bwMode="auto">
            <a:xfrm>
              <a:off x="4697413" y="5440363"/>
              <a:ext cx="101600" cy="103188"/>
            </a:xfrm>
            <a:custGeom>
              <a:avLst/>
              <a:gdLst>
                <a:gd name="T0" fmla="*/ 9 w 194"/>
                <a:gd name="T1" fmla="*/ 0 h 194"/>
                <a:gd name="T2" fmla="*/ 6 w 194"/>
                <a:gd name="T3" fmla="*/ 1 h 194"/>
                <a:gd name="T4" fmla="*/ 3 w 194"/>
                <a:gd name="T5" fmla="*/ 3 h 194"/>
                <a:gd name="T6" fmla="*/ 2 w 194"/>
                <a:gd name="T7" fmla="*/ 5 h 194"/>
                <a:gd name="T8" fmla="*/ 0 w 194"/>
                <a:gd name="T9" fmla="*/ 9 h 194"/>
                <a:gd name="T10" fmla="*/ 2 w 194"/>
                <a:gd name="T11" fmla="*/ 13 h 194"/>
                <a:gd name="T12" fmla="*/ 3 w 194"/>
                <a:gd name="T13" fmla="*/ 16 h 194"/>
                <a:gd name="T14" fmla="*/ 6 w 194"/>
                <a:gd name="T15" fmla="*/ 17 h 194"/>
                <a:gd name="T16" fmla="*/ 9 w 194"/>
                <a:gd name="T17" fmla="*/ 18 h 194"/>
                <a:gd name="T18" fmla="*/ 26 w 194"/>
                <a:gd name="T19" fmla="*/ 19 h 194"/>
                <a:gd name="T20" fmla="*/ 42 w 194"/>
                <a:gd name="T21" fmla="*/ 21 h 194"/>
                <a:gd name="T22" fmla="*/ 58 w 194"/>
                <a:gd name="T23" fmla="*/ 25 h 194"/>
                <a:gd name="T24" fmla="*/ 75 w 194"/>
                <a:gd name="T25" fmla="*/ 31 h 194"/>
                <a:gd name="T26" fmla="*/ 89 w 194"/>
                <a:gd name="T27" fmla="*/ 38 h 194"/>
                <a:gd name="T28" fmla="*/ 103 w 194"/>
                <a:gd name="T29" fmla="*/ 47 h 194"/>
                <a:gd name="T30" fmla="*/ 115 w 194"/>
                <a:gd name="T31" fmla="*/ 57 h 194"/>
                <a:gd name="T32" fmla="*/ 127 w 194"/>
                <a:gd name="T33" fmla="*/ 67 h 194"/>
                <a:gd name="T34" fmla="*/ 138 w 194"/>
                <a:gd name="T35" fmla="*/ 79 h 194"/>
                <a:gd name="T36" fmla="*/ 148 w 194"/>
                <a:gd name="T37" fmla="*/ 92 h 194"/>
                <a:gd name="T38" fmla="*/ 156 w 194"/>
                <a:gd name="T39" fmla="*/ 105 h 194"/>
                <a:gd name="T40" fmla="*/ 163 w 194"/>
                <a:gd name="T41" fmla="*/ 120 h 194"/>
                <a:gd name="T42" fmla="*/ 169 w 194"/>
                <a:gd name="T43" fmla="*/ 135 h 194"/>
                <a:gd name="T44" fmla="*/ 172 w 194"/>
                <a:gd name="T45" fmla="*/ 151 h 194"/>
                <a:gd name="T46" fmla="*/ 176 w 194"/>
                <a:gd name="T47" fmla="*/ 167 h 194"/>
                <a:gd name="T48" fmla="*/ 176 w 194"/>
                <a:gd name="T49" fmla="*/ 184 h 194"/>
                <a:gd name="T50" fmla="*/ 177 w 194"/>
                <a:gd name="T51" fmla="*/ 189 h 194"/>
                <a:gd name="T52" fmla="*/ 179 w 194"/>
                <a:gd name="T53" fmla="*/ 191 h 194"/>
                <a:gd name="T54" fmla="*/ 182 w 194"/>
                <a:gd name="T55" fmla="*/ 193 h 194"/>
                <a:gd name="T56" fmla="*/ 185 w 194"/>
                <a:gd name="T57" fmla="*/ 194 h 194"/>
                <a:gd name="T58" fmla="*/ 189 w 194"/>
                <a:gd name="T59" fmla="*/ 193 h 194"/>
                <a:gd name="T60" fmla="*/ 192 w 194"/>
                <a:gd name="T61" fmla="*/ 191 h 194"/>
                <a:gd name="T62" fmla="*/ 194 w 194"/>
                <a:gd name="T63" fmla="*/ 189 h 194"/>
                <a:gd name="T64" fmla="*/ 194 w 194"/>
                <a:gd name="T65" fmla="*/ 184 h 194"/>
                <a:gd name="T66" fmla="*/ 194 w 194"/>
                <a:gd name="T67" fmla="*/ 166 h 194"/>
                <a:gd name="T68" fmla="*/ 191 w 194"/>
                <a:gd name="T69" fmla="*/ 148 h 194"/>
                <a:gd name="T70" fmla="*/ 186 w 194"/>
                <a:gd name="T71" fmla="*/ 130 h 194"/>
                <a:gd name="T72" fmla="*/ 180 w 194"/>
                <a:gd name="T73" fmla="*/ 112 h 194"/>
                <a:gd name="T74" fmla="*/ 172 w 194"/>
                <a:gd name="T75" fmla="*/ 96 h 194"/>
                <a:gd name="T76" fmla="*/ 163 w 194"/>
                <a:gd name="T77" fmla="*/ 81 h 194"/>
                <a:gd name="T78" fmla="*/ 152 w 194"/>
                <a:gd name="T79" fmla="*/ 67 h 194"/>
                <a:gd name="T80" fmla="*/ 140 w 194"/>
                <a:gd name="T81" fmla="*/ 54 h 194"/>
                <a:gd name="T82" fmla="*/ 127 w 194"/>
                <a:gd name="T83" fmla="*/ 43 h 194"/>
                <a:gd name="T84" fmla="*/ 112 w 194"/>
                <a:gd name="T85" fmla="*/ 32 h 194"/>
                <a:gd name="T86" fmla="*/ 97 w 194"/>
                <a:gd name="T87" fmla="*/ 22 h 194"/>
                <a:gd name="T88" fmla="*/ 81 w 194"/>
                <a:gd name="T89" fmla="*/ 15 h 194"/>
                <a:gd name="T90" fmla="*/ 64 w 194"/>
                <a:gd name="T91" fmla="*/ 8 h 194"/>
                <a:gd name="T92" fmla="*/ 47 w 194"/>
                <a:gd name="T93" fmla="*/ 4 h 194"/>
                <a:gd name="T94" fmla="*/ 28 w 194"/>
                <a:gd name="T95" fmla="*/ 1 h 194"/>
                <a:gd name="T96" fmla="*/ 9 w 194"/>
                <a:gd name="T97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4" h="194">
                  <a:moveTo>
                    <a:pt x="9" y="0"/>
                  </a:moveTo>
                  <a:lnTo>
                    <a:pt x="6" y="1"/>
                  </a:lnTo>
                  <a:lnTo>
                    <a:pt x="3" y="3"/>
                  </a:lnTo>
                  <a:lnTo>
                    <a:pt x="2" y="5"/>
                  </a:lnTo>
                  <a:lnTo>
                    <a:pt x="0" y="9"/>
                  </a:lnTo>
                  <a:lnTo>
                    <a:pt x="2" y="13"/>
                  </a:lnTo>
                  <a:lnTo>
                    <a:pt x="3" y="16"/>
                  </a:lnTo>
                  <a:lnTo>
                    <a:pt x="6" y="17"/>
                  </a:lnTo>
                  <a:lnTo>
                    <a:pt x="9" y="18"/>
                  </a:lnTo>
                  <a:lnTo>
                    <a:pt x="26" y="19"/>
                  </a:lnTo>
                  <a:lnTo>
                    <a:pt x="42" y="21"/>
                  </a:lnTo>
                  <a:lnTo>
                    <a:pt x="58" y="25"/>
                  </a:lnTo>
                  <a:lnTo>
                    <a:pt x="75" y="31"/>
                  </a:lnTo>
                  <a:lnTo>
                    <a:pt x="89" y="38"/>
                  </a:lnTo>
                  <a:lnTo>
                    <a:pt x="103" y="47"/>
                  </a:lnTo>
                  <a:lnTo>
                    <a:pt x="115" y="57"/>
                  </a:lnTo>
                  <a:lnTo>
                    <a:pt x="127" y="67"/>
                  </a:lnTo>
                  <a:lnTo>
                    <a:pt x="138" y="79"/>
                  </a:lnTo>
                  <a:lnTo>
                    <a:pt x="148" y="92"/>
                  </a:lnTo>
                  <a:lnTo>
                    <a:pt x="156" y="105"/>
                  </a:lnTo>
                  <a:lnTo>
                    <a:pt x="163" y="120"/>
                  </a:lnTo>
                  <a:lnTo>
                    <a:pt x="169" y="135"/>
                  </a:lnTo>
                  <a:lnTo>
                    <a:pt x="172" y="151"/>
                  </a:lnTo>
                  <a:lnTo>
                    <a:pt x="176" y="167"/>
                  </a:lnTo>
                  <a:lnTo>
                    <a:pt x="176" y="184"/>
                  </a:lnTo>
                  <a:lnTo>
                    <a:pt x="177" y="189"/>
                  </a:lnTo>
                  <a:lnTo>
                    <a:pt x="179" y="191"/>
                  </a:lnTo>
                  <a:lnTo>
                    <a:pt x="182" y="193"/>
                  </a:lnTo>
                  <a:lnTo>
                    <a:pt x="185" y="194"/>
                  </a:lnTo>
                  <a:lnTo>
                    <a:pt x="189" y="193"/>
                  </a:lnTo>
                  <a:lnTo>
                    <a:pt x="192" y="191"/>
                  </a:lnTo>
                  <a:lnTo>
                    <a:pt x="194" y="189"/>
                  </a:lnTo>
                  <a:lnTo>
                    <a:pt x="194" y="184"/>
                  </a:lnTo>
                  <a:lnTo>
                    <a:pt x="194" y="166"/>
                  </a:lnTo>
                  <a:lnTo>
                    <a:pt x="191" y="148"/>
                  </a:lnTo>
                  <a:lnTo>
                    <a:pt x="186" y="130"/>
                  </a:lnTo>
                  <a:lnTo>
                    <a:pt x="180" y="112"/>
                  </a:lnTo>
                  <a:lnTo>
                    <a:pt x="172" y="96"/>
                  </a:lnTo>
                  <a:lnTo>
                    <a:pt x="163" y="81"/>
                  </a:lnTo>
                  <a:lnTo>
                    <a:pt x="152" y="67"/>
                  </a:lnTo>
                  <a:lnTo>
                    <a:pt x="140" y="54"/>
                  </a:lnTo>
                  <a:lnTo>
                    <a:pt x="127" y="43"/>
                  </a:lnTo>
                  <a:lnTo>
                    <a:pt x="112" y="32"/>
                  </a:lnTo>
                  <a:lnTo>
                    <a:pt x="97" y="22"/>
                  </a:lnTo>
                  <a:lnTo>
                    <a:pt x="81" y="15"/>
                  </a:lnTo>
                  <a:lnTo>
                    <a:pt x="64" y="8"/>
                  </a:lnTo>
                  <a:lnTo>
                    <a:pt x="47" y="4"/>
                  </a:lnTo>
                  <a:lnTo>
                    <a:pt x="28" y="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206E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557" name="Прямоугольник 556"/>
          <p:cNvSpPr/>
          <p:nvPr/>
        </p:nvSpPr>
        <p:spPr>
          <a:xfrm>
            <a:off x="782390" y="4142975"/>
            <a:ext cx="981298" cy="24835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Учетные операции </a:t>
            </a:r>
          </a:p>
          <a:p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без участия человека (опционально)</a:t>
            </a:r>
          </a:p>
        </p:txBody>
      </p:sp>
      <p:sp>
        <p:nvSpPr>
          <p:cNvPr id="563" name="Текст 85"/>
          <p:cNvSpPr txBox="1">
            <a:spLocks/>
          </p:cNvSpPr>
          <p:nvPr/>
        </p:nvSpPr>
        <p:spPr>
          <a:xfrm>
            <a:off x="126593" y="687153"/>
            <a:ext cx="8736866" cy="372429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0"/>
              </a:spcBef>
            </a:pPr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</a:rPr>
              <a:t>Целевая </a:t>
            </a:r>
            <a:r>
              <a:rPr lang="ru-RU" sz="1000" b="1" dirty="0">
                <a:solidFill>
                  <a:schemeClr val="bg1">
                    <a:lumMod val="95000"/>
                  </a:schemeClr>
                </a:solidFill>
              </a:rPr>
              <a:t>модель оснащения нефтебаз АО «</a:t>
            </a:r>
            <a:r>
              <a:rPr lang="ru-RU" sz="1000" b="1" dirty="0" err="1">
                <a:solidFill>
                  <a:schemeClr val="bg1">
                    <a:lumMod val="95000"/>
                  </a:schemeClr>
                </a:solidFill>
              </a:rPr>
              <a:t>Газпромнефть</a:t>
            </a:r>
            <a:r>
              <a:rPr lang="ru-RU" sz="1000" b="1" dirty="0">
                <a:solidFill>
                  <a:schemeClr val="bg1">
                    <a:lumMod val="95000"/>
                  </a:schemeClr>
                </a:solidFill>
              </a:rPr>
              <a:t>-Терминал</a:t>
            </a:r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</a:rPr>
              <a:t>» </a:t>
            </a:r>
            <a:r>
              <a:rPr lang="ru-RU" sz="1000" b="1" dirty="0">
                <a:solidFill>
                  <a:schemeClr val="bg1">
                    <a:lumMod val="95000"/>
                  </a:schemeClr>
                </a:solidFill>
              </a:rPr>
              <a:t>в соответствии </a:t>
            </a:r>
            <a:endParaRPr lang="ru-RU" sz="1000" b="1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just">
              <a:spcBef>
                <a:spcPts val="0"/>
              </a:spcBef>
            </a:pPr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</a:rPr>
              <a:t>с </a:t>
            </a:r>
            <a:r>
              <a:rPr lang="ru-RU" sz="1000" b="1" dirty="0">
                <a:solidFill>
                  <a:schemeClr val="bg1">
                    <a:lumMod val="95000"/>
                  </a:schemeClr>
                </a:solidFill>
              </a:rPr>
              <a:t>КТ – </a:t>
            </a:r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</a:rPr>
              <a:t>549 «Каталог типовых технических решений по оснащению объектов коммерческого учета ПАО «Газпром нефть» </a:t>
            </a:r>
            <a:endParaRPr lang="ru-RU" sz="10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45" name="Прямоугольник 644"/>
          <p:cNvSpPr/>
          <p:nvPr/>
        </p:nvSpPr>
        <p:spPr>
          <a:xfrm>
            <a:off x="395536" y="1923678"/>
            <a:ext cx="1152128" cy="653621"/>
          </a:xfrm>
          <a:prstGeom prst="rect">
            <a:avLst/>
          </a:prstGeom>
          <a:solidFill>
            <a:schemeClr val="accent4">
              <a:lumMod val="50000"/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Целевые </a:t>
            </a: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нефтебазы</a:t>
            </a:r>
          </a:p>
        </p:txBody>
      </p:sp>
      <p:sp>
        <p:nvSpPr>
          <p:cNvPr id="646" name="Прямоугольник 645"/>
          <p:cNvSpPr/>
          <p:nvPr/>
        </p:nvSpPr>
        <p:spPr>
          <a:xfrm>
            <a:off x="395536" y="3111810"/>
            <a:ext cx="1152128" cy="653621"/>
          </a:xfrm>
          <a:prstGeom prst="rect">
            <a:avLst/>
          </a:prstGeom>
          <a:solidFill>
            <a:schemeClr val="accent4">
              <a:lumMod val="50000"/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Нецелевые нефтебазы</a:t>
            </a:r>
            <a:r>
              <a:rPr lang="en-US" sz="900" b="1" dirty="0" smtClean="0">
                <a:solidFill>
                  <a:schemeClr val="bg1">
                    <a:lumMod val="95000"/>
                  </a:schemeClr>
                </a:solidFill>
              </a:rPr>
              <a:t>**</a:t>
            </a: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</p:txBody>
      </p:sp>
      <p:grpSp>
        <p:nvGrpSpPr>
          <p:cNvPr id="152" name="Picture118_z"/>
          <p:cNvGrpSpPr/>
          <p:nvPr/>
        </p:nvGrpSpPr>
        <p:grpSpPr>
          <a:xfrm>
            <a:off x="4216690" y="1095586"/>
            <a:ext cx="469495" cy="367511"/>
            <a:chOff x="636588" y="5545138"/>
            <a:chExt cx="671513" cy="514350"/>
          </a:xfrm>
        </p:grpSpPr>
        <p:sp>
          <p:nvSpPr>
            <p:cNvPr id="153" name="Rectangle 17"/>
            <p:cNvSpPr>
              <a:spLocks noChangeArrowheads="1"/>
            </p:cNvSpPr>
            <p:nvPr/>
          </p:nvSpPr>
          <p:spPr bwMode="auto">
            <a:xfrm>
              <a:off x="708026" y="5600700"/>
              <a:ext cx="490538" cy="455613"/>
            </a:xfrm>
            <a:prstGeom prst="rect">
              <a:avLst/>
            </a:pr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57" name="Freeform 18"/>
            <p:cNvSpPr>
              <a:spLocks noEditPoints="1"/>
            </p:cNvSpPr>
            <p:nvPr/>
          </p:nvSpPr>
          <p:spPr bwMode="auto">
            <a:xfrm>
              <a:off x="636588" y="5545138"/>
              <a:ext cx="671513" cy="514350"/>
            </a:xfrm>
            <a:custGeom>
              <a:avLst/>
              <a:gdLst>
                <a:gd name="T0" fmla="*/ 244 w 1690"/>
                <a:gd name="T1" fmla="*/ 131 h 1299"/>
                <a:gd name="T2" fmla="*/ 380 w 1690"/>
                <a:gd name="T3" fmla="*/ 131 h 1299"/>
                <a:gd name="T4" fmla="*/ 380 w 1690"/>
                <a:gd name="T5" fmla="*/ 131 h 1299"/>
                <a:gd name="T6" fmla="*/ 515 w 1690"/>
                <a:gd name="T7" fmla="*/ 24 h 1299"/>
                <a:gd name="T8" fmla="*/ 371 w 1690"/>
                <a:gd name="T9" fmla="*/ 1277 h 1299"/>
                <a:gd name="T10" fmla="*/ 346 w 1690"/>
                <a:gd name="T11" fmla="*/ 1218 h 1299"/>
                <a:gd name="T12" fmla="*/ 346 w 1690"/>
                <a:gd name="T13" fmla="*/ 1120 h 1299"/>
                <a:gd name="T14" fmla="*/ 346 w 1690"/>
                <a:gd name="T15" fmla="*/ 1020 h 1299"/>
                <a:gd name="T16" fmla="*/ 346 w 1690"/>
                <a:gd name="T17" fmla="*/ 820 h 1299"/>
                <a:gd name="T18" fmla="*/ 346 w 1690"/>
                <a:gd name="T19" fmla="*/ 623 h 1299"/>
                <a:gd name="T20" fmla="*/ 346 w 1690"/>
                <a:gd name="T21" fmla="*/ 522 h 1299"/>
                <a:gd name="T22" fmla="*/ 346 w 1690"/>
                <a:gd name="T23" fmla="*/ 325 h 1299"/>
                <a:gd name="T24" fmla="*/ 346 w 1690"/>
                <a:gd name="T25" fmla="*/ 154 h 1299"/>
                <a:gd name="T26" fmla="*/ 189 w 1690"/>
                <a:gd name="T27" fmla="*/ 1277 h 1299"/>
                <a:gd name="T28" fmla="*/ 497 w 1690"/>
                <a:gd name="T29" fmla="*/ 212 h 1299"/>
                <a:gd name="T30" fmla="*/ 391 w 1690"/>
                <a:gd name="T31" fmla="*/ 154 h 1299"/>
                <a:gd name="T32" fmla="*/ 651 w 1690"/>
                <a:gd name="T33" fmla="*/ 131 h 1299"/>
                <a:gd name="T34" fmla="*/ 520 w 1690"/>
                <a:gd name="T35" fmla="*/ 1277 h 1299"/>
                <a:gd name="T36" fmla="*/ 1344 w 1690"/>
                <a:gd name="T37" fmla="*/ 154 h 1299"/>
                <a:gd name="T38" fmla="*/ 1207 w 1690"/>
                <a:gd name="T39" fmla="*/ 154 h 1299"/>
                <a:gd name="T40" fmla="*/ 935 w 1690"/>
                <a:gd name="T41" fmla="*/ 154 h 1299"/>
                <a:gd name="T42" fmla="*/ 664 w 1690"/>
                <a:gd name="T43" fmla="*/ 154 h 1299"/>
                <a:gd name="T44" fmla="*/ 528 w 1690"/>
                <a:gd name="T45" fmla="*/ 154 h 1299"/>
                <a:gd name="T46" fmla="*/ 520 w 1690"/>
                <a:gd name="T47" fmla="*/ 154 h 1299"/>
                <a:gd name="T48" fmla="*/ 371 w 1690"/>
                <a:gd name="T49" fmla="*/ 1131 h 1299"/>
                <a:gd name="T50" fmla="*/ 497 w 1690"/>
                <a:gd name="T51" fmla="*/ 1032 h 1299"/>
                <a:gd name="T52" fmla="*/ 497 w 1690"/>
                <a:gd name="T53" fmla="*/ 1007 h 1299"/>
                <a:gd name="T54" fmla="*/ 371 w 1690"/>
                <a:gd name="T55" fmla="*/ 908 h 1299"/>
                <a:gd name="T56" fmla="*/ 371 w 1690"/>
                <a:gd name="T57" fmla="*/ 908 h 1299"/>
                <a:gd name="T58" fmla="*/ 371 w 1690"/>
                <a:gd name="T59" fmla="*/ 735 h 1299"/>
                <a:gd name="T60" fmla="*/ 497 w 1690"/>
                <a:gd name="T61" fmla="*/ 633 h 1299"/>
                <a:gd name="T62" fmla="*/ 497 w 1690"/>
                <a:gd name="T63" fmla="*/ 611 h 1299"/>
                <a:gd name="T64" fmla="*/ 371 w 1690"/>
                <a:gd name="T65" fmla="*/ 512 h 1299"/>
                <a:gd name="T66" fmla="*/ 371 w 1690"/>
                <a:gd name="T67" fmla="*/ 512 h 1299"/>
                <a:gd name="T68" fmla="*/ 371 w 1690"/>
                <a:gd name="T69" fmla="*/ 337 h 1299"/>
                <a:gd name="T70" fmla="*/ 497 w 1690"/>
                <a:gd name="T71" fmla="*/ 237 h 1299"/>
                <a:gd name="T72" fmla="*/ 165 w 1690"/>
                <a:gd name="T73" fmla="*/ 154 h 1299"/>
                <a:gd name="T74" fmla="*/ 133 w 1690"/>
                <a:gd name="T75" fmla="*/ 147 h 1299"/>
                <a:gd name="T76" fmla="*/ 136 w 1690"/>
                <a:gd name="T77" fmla="*/ 4 h 1299"/>
                <a:gd name="T78" fmla="*/ 255 w 1690"/>
                <a:gd name="T79" fmla="*/ 0 h 1299"/>
                <a:gd name="T80" fmla="*/ 527 w 1690"/>
                <a:gd name="T81" fmla="*/ 0 h 1299"/>
                <a:gd name="T82" fmla="*/ 664 w 1690"/>
                <a:gd name="T83" fmla="*/ 0 h 1299"/>
                <a:gd name="T84" fmla="*/ 935 w 1690"/>
                <a:gd name="T85" fmla="*/ 0 h 1299"/>
                <a:gd name="T86" fmla="*/ 1072 w 1690"/>
                <a:gd name="T87" fmla="*/ 0 h 1299"/>
                <a:gd name="T88" fmla="*/ 1344 w 1690"/>
                <a:gd name="T89" fmla="*/ 0 h 1299"/>
                <a:gd name="T90" fmla="*/ 1460 w 1690"/>
                <a:gd name="T91" fmla="*/ 2 h 1299"/>
                <a:gd name="T92" fmla="*/ 1467 w 1690"/>
                <a:gd name="T93" fmla="*/ 142 h 1299"/>
                <a:gd name="T94" fmla="*/ 1455 w 1690"/>
                <a:gd name="T95" fmla="*/ 154 h 1299"/>
                <a:gd name="T96" fmla="*/ 1682 w 1690"/>
                <a:gd name="T97" fmla="*/ 1278 h 1299"/>
                <a:gd name="T98" fmla="*/ 1689 w 1690"/>
                <a:gd name="T99" fmla="*/ 1293 h 1299"/>
                <a:gd name="T100" fmla="*/ 1412 w 1690"/>
                <a:gd name="T101" fmla="*/ 1299 h 1299"/>
                <a:gd name="T102" fmla="*/ 359 w 1690"/>
                <a:gd name="T103" fmla="*/ 1299 h 1299"/>
                <a:gd name="T104" fmla="*/ 12 w 1690"/>
                <a:gd name="T105" fmla="*/ 1299 h 1299"/>
                <a:gd name="T106" fmla="*/ 0 w 1690"/>
                <a:gd name="T107" fmla="*/ 1288 h 1299"/>
                <a:gd name="T108" fmla="*/ 12 w 1690"/>
                <a:gd name="T109" fmla="*/ 1277 h 1299"/>
                <a:gd name="T110" fmla="*/ 1219 w 1690"/>
                <a:gd name="T111" fmla="*/ 24 h 1299"/>
                <a:gd name="T112" fmla="*/ 1355 w 1690"/>
                <a:gd name="T113" fmla="*/ 131 h 1299"/>
                <a:gd name="T114" fmla="*/ 1442 w 1690"/>
                <a:gd name="T115" fmla="*/ 24 h 1299"/>
                <a:gd name="T116" fmla="*/ 1083 w 1690"/>
                <a:gd name="T117" fmla="*/ 24 h 1299"/>
                <a:gd name="T118" fmla="*/ 1060 w 1690"/>
                <a:gd name="T119" fmla="*/ 24 h 1299"/>
                <a:gd name="T120" fmla="*/ 924 w 1690"/>
                <a:gd name="T121" fmla="*/ 131 h 1299"/>
                <a:gd name="T122" fmla="*/ 924 w 1690"/>
                <a:gd name="T123" fmla="*/ 131 h 1299"/>
                <a:gd name="T124" fmla="*/ 676 w 1690"/>
                <a:gd name="T125" fmla="*/ 131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0" h="1299">
                  <a:moveTo>
                    <a:pt x="157" y="131"/>
                  </a:moveTo>
                  <a:lnTo>
                    <a:pt x="177" y="131"/>
                  </a:lnTo>
                  <a:lnTo>
                    <a:pt x="178" y="131"/>
                  </a:lnTo>
                  <a:lnTo>
                    <a:pt x="244" y="131"/>
                  </a:lnTo>
                  <a:lnTo>
                    <a:pt x="244" y="24"/>
                  </a:lnTo>
                  <a:lnTo>
                    <a:pt x="157" y="24"/>
                  </a:lnTo>
                  <a:lnTo>
                    <a:pt x="157" y="131"/>
                  </a:lnTo>
                  <a:close/>
                  <a:moveTo>
                    <a:pt x="380" y="131"/>
                  </a:moveTo>
                  <a:lnTo>
                    <a:pt x="380" y="24"/>
                  </a:lnTo>
                  <a:lnTo>
                    <a:pt x="268" y="24"/>
                  </a:lnTo>
                  <a:lnTo>
                    <a:pt x="268" y="131"/>
                  </a:lnTo>
                  <a:lnTo>
                    <a:pt x="380" y="131"/>
                  </a:lnTo>
                  <a:close/>
                  <a:moveTo>
                    <a:pt x="403" y="24"/>
                  </a:moveTo>
                  <a:lnTo>
                    <a:pt x="403" y="131"/>
                  </a:lnTo>
                  <a:lnTo>
                    <a:pt x="515" y="131"/>
                  </a:lnTo>
                  <a:lnTo>
                    <a:pt x="515" y="24"/>
                  </a:lnTo>
                  <a:lnTo>
                    <a:pt x="403" y="24"/>
                  </a:lnTo>
                  <a:close/>
                  <a:moveTo>
                    <a:pt x="497" y="1230"/>
                  </a:moveTo>
                  <a:lnTo>
                    <a:pt x="371" y="1230"/>
                  </a:lnTo>
                  <a:lnTo>
                    <a:pt x="371" y="1277"/>
                  </a:lnTo>
                  <a:lnTo>
                    <a:pt x="497" y="1277"/>
                  </a:lnTo>
                  <a:lnTo>
                    <a:pt x="497" y="1230"/>
                  </a:lnTo>
                  <a:close/>
                  <a:moveTo>
                    <a:pt x="346" y="1277"/>
                  </a:moveTo>
                  <a:lnTo>
                    <a:pt x="346" y="1218"/>
                  </a:lnTo>
                  <a:lnTo>
                    <a:pt x="346" y="1218"/>
                  </a:lnTo>
                  <a:lnTo>
                    <a:pt x="346" y="1218"/>
                  </a:lnTo>
                  <a:lnTo>
                    <a:pt x="346" y="1120"/>
                  </a:lnTo>
                  <a:lnTo>
                    <a:pt x="346" y="1120"/>
                  </a:lnTo>
                  <a:lnTo>
                    <a:pt x="346" y="1119"/>
                  </a:lnTo>
                  <a:lnTo>
                    <a:pt x="346" y="1020"/>
                  </a:lnTo>
                  <a:lnTo>
                    <a:pt x="346" y="1020"/>
                  </a:lnTo>
                  <a:lnTo>
                    <a:pt x="346" y="1020"/>
                  </a:lnTo>
                  <a:lnTo>
                    <a:pt x="346" y="919"/>
                  </a:lnTo>
                  <a:lnTo>
                    <a:pt x="346" y="919"/>
                  </a:lnTo>
                  <a:lnTo>
                    <a:pt x="346" y="821"/>
                  </a:lnTo>
                  <a:lnTo>
                    <a:pt x="346" y="820"/>
                  </a:lnTo>
                  <a:lnTo>
                    <a:pt x="346" y="721"/>
                  </a:lnTo>
                  <a:lnTo>
                    <a:pt x="346" y="721"/>
                  </a:lnTo>
                  <a:lnTo>
                    <a:pt x="346" y="721"/>
                  </a:lnTo>
                  <a:lnTo>
                    <a:pt x="346" y="623"/>
                  </a:lnTo>
                  <a:lnTo>
                    <a:pt x="346" y="622"/>
                  </a:lnTo>
                  <a:lnTo>
                    <a:pt x="346" y="523"/>
                  </a:lnTo>
                  <a:lnTo>
                    <a:pt x="346" y="523"/>
                  </a:lnTo>
                  <a:lnTo>
                    <a:pt x="346" y="522"/>
                  </a:lnTo>
                  <a:lnTo>
                    <a:pt x="346" y="424"/>
                  </a:lnTo>
                  <a:lnTo>
                    <a:pt x="346" y="424"/>
                  </a:lnTo>
                  <a:lnTo>
                    <a:pt x="346" y="325"/>
                  </a:lnTo>
                  <a:lnTo>
                    <a:pt x="346" y="325"/>
                  </a:lnTo>
                  <a:lnTo>
                    <a:pt x="346" y="324"/>
                  </a:lnTo>
                  <a:lnTo>
                    <a:pt x="346" y="225"/>
                  </a:lnTo>
                  <a:lnTo>
                    <a:pt x="346" y="223"/>
                  </a:lnTo>
                  <a:lnTo>
                    <a:pt x="346" y="154"/>
                  </a:lnTo>
                  <a:lnTo>
                    <a:pt x="255" y="154"/>
                  </a:lnTo>
                  <a:lnTo>
                    <a:pt x="255" y="154"/>
                  </a:lnTo>
                  <a:lnTo>
                    <a:pt x="189" y="154"/>
                  </a:lnTo>
                  <a:lnTo>
                    <a:pt x="189" y="1277"/>
                  </a:lnTo>
                  <a:lnTo>
                    <a:pt x="346" y="1277"/>
                  </a:lnTo>
                  <a:close/>
                  <a:moveTo>
                    <a:pt x="371" y="154"/>
                  </a:moveTo>
                  <a:lnTo>
                    <a:pt x="371" y="212"/>
                  </a:lnTo>
                  <a:lnTo>
                    <a:pt x="497" y="212"/>
                  </a:lnTo>
                  <a:lnTo>
                    <a:pt x="497" y="154"/>
                  </a:lnTo>
                  <a:lnTo>
                    <a:pt x="392" y="154"/>
                  </a:lnTo>
                  <a:lnTo>
                    <a:pt x="391" y="154"/>
                  </a:lnTo>
                  <a:lnTo>
                    <a:pt x="391" y="154"/>
                  </a:lnTo>
                  <a:lnTo>
                    <a:pt x="371" y="154"/>
                  </a:lnTo>
                  <a:close/>
                  <a:moveTo>
                    <a:pt x="539" y="24"/>
                  </a:moveTo>
                  <a:lnTo>
                    <a:pt x="539" y="131"/>
                  </a:lnTo>
                  <a:lnTo>
                    <a:pt x="651" y="131"/>
                  </a:lnTo>
                  <a:lnTo>
                    <a:pt x="651" y="24"/>
                  </a:lnTo>
                  <a:lnTo>
                    <a:pt x="539" y="24"/>
                  </a:lnTo>
                  <a:close/>
                  <a:moveTo>
                    <a:pt x="520" y="154"/>
                  </a:moveTo>
                  <a:lnTo>
                    <a:pt x="520" y="1277"/>
                  </a:lnTo>
                  <a:lnTo>
                    <a:pt x="1400" y="1277"/>
                  </a:lnTo>
                  <a:lnTo>
                    <a:pt x="1400" y="154"/>
                  </a:lnTo>
                  <a:lnTo>
                    <a:pt x="1344" y="154"/>
                  </a:lnTo>
                  <a:lnTo>
                    <a:pt x="1344" y="154"/>
                  </a:lnTo>
                  <a:lnTo>
                    <a:pt x="1344" y="154"/>
                  </a:lnTo>
                  <a:lnTo>
                    <a:pt x="1208" y="154"/>
                  </a:lnTo>
                  <a:lnTo>
                    <a:pt x="1208" y="154"/>
                  </a:lnTo>
                  <a:lnTo>
                    <a:pt x="1207" y="154"/>
                  </a:lnTo>
                  <a:lnTo>
                    <a:pt x="1072" y="154"/>
                  </a:lnTo>
                  <a:lnTo>
                    <a:pt x="1071" y="154"/>
                  </a:lnTo>
                  <a:lnTo>
                    <a:pt x="936" y="154"/>
                  </a:lnTo>
                  <a:lnTo>
                    <a:pt x="935" y="154"/>
                  </a:lnTo>
                  <a:lnTo>
                    <a:pt x="935" y="154"/>
                  </a:lnTo>
                  <a:lnTo>
                    <a:pt x="799" y="154"/>
                  </a:lnTo>
                  <a:lnTo>
                    <a:pt x="799" y="154"/>
                  </a:lnTo>
                  <a:lnTo>
                    <a:pt x="664" y="154"/>
                  </a:lnTo>
                  <a:lnTo>
                    <a:pt x="664" y="154"/>
                  </a:lnTo>
                  <a:lnTo>
                    <a:pt x="664" y="154"/>
                  </a:lnTo>
                  <a:lnTo>
                    <a:pt x="528" y="154"/>
                  </a:lnTo>
                  <a:lnTo>
                    <a:pt x="528" y="154"/>
                  </a:lnTo>
                  <a:lnTo>
                    <a:pt x="528" y="154"/>
                  </a:lnTo>
                  <a:lnTo>
                    <a:pt x="528" y="154"/>
                  </a:lnTo>
                  <a:lnTo>
                    <a:pt x="527" y="154"/>
                  </a:lnTo>
                  <a:lnTo>
                    <a:pt x="520" y="154"/>
                  </a:lnTo>
                  <a:close/>
                  <a:moveTo>
                    <a:pt x="371" y="1207"/>
                  </a:moveTo>
                  <a:lnTo>
                    <a:pt x="497" y="1207"/>
                  </a:lnTo>
                  <a:lnTo>
                    <a:pt x="497" y="1131"/>
                  </a:lnTo>
                  <a:lnTo>
                    <a:pt x="371" y="1131"/>
                  </a:lnTo>
                  <a:lnTo>
                    <a:pt x="371" y="1207"/>
                  </a:lnTo>
                  <a:close/>
                  <a:moveTo>
                    <a:pt x="371" y="1106"/>
                  </a:moveTo>
                  <a:lnTo>
                    <a:pt x="497" y="1106"/>
                  </a:lnTo>
                  <a:lnTo>
                    <a:pt x="497" y="1032"/>
                  </a:lnTo>
                  <a:lnTo>
                    <a:pt x="371" y="1032"/>
                  </a:lnTo>
                  <a:lnTo>
                    <a:pt x="371" y="1106"/>
                  </a:lnTo>
                  <a:close/>
                  <a:moveTo>
                    <a:pt x="371" y="1007"/>
                  </a:moveTo>
                  <a:lnTo>
                    <a:pt x="497" y="1007"/>
                  </a:lnTo>
                  <a:lnTo>
                    <a:pt x="497" y="933"/>
                  </a:lnTo>
                  <a:lnTo>
                    <a:pt x="371" y="933"/>
                  </a:lnTo>
                  <a:lnTo>
                    <a:pt x="371" y="1007"/>
                  </a:lnTo>
                  <a:close/>
                  <a:moveTo>
                    <a:pt x="371" y="908"/>
                  </a:moveTo>
                  <a:lnTo>
                    <a:pt x="497" y="908"/>
                  </a:lnTo>
                  <a:lnTo>
                    <a:pt x="497" y="834"/>
                  </a:lnTo>
                  <a:lnTo>
                    <a:pt x="371" y="834"/>
                  </a:lnTo>
                  <a:lnTo>
                    <a:pt x="371" y="908"/>
                  </a:lnTo>
                  <a:close/>
                  <a:moveTo>
                    <a:pt x="371" y="809"/>
                  </a:moveTo>
                  <a:lnTo>
                    <a:pt x="497" y="809"/>
                  </a:lnTo>
                  <a:lnTo>
                    <a:pt x="497" y="735"/>
                  </a:lnTo>
                  <a:lnTo>
                    <a:pt x="371" y="735"/>
                  </a:lnTo>
                  <a:lnTo>
                    <a:pt x="371" y="809"/>
                  </a:lnTo>
                  <a:close/>
                  <a:moveTo>
                    <a:pt x="371" y="710"/>
                  </a:moveTo>
                  <a:lnTo>
                    <a:pt x="497" y="710"/>
                  </a:lnTo>
                  <a:lnTo>
                    <a:pt x="497" y="633"/>
                  </a:lnTo>
                  <a:lnTo>
                    <a:pt x="371" y="633"/>
                  </a:lnTo>
                  <a:lnTo>
                    <a:pt x="371" y="710"/>
                  </a:lnTo>
                  <a:close/>
                  <a:moveTo>
                    <a:pt x="371" y="611"/>
                  </a:moveTo>
                  <a:lnTo>
                    <a:pt x="497" y="611"/>
                  </a:lnTo>
                  <a:lnTo>
                    <a:pt x="497" y="535"/>
                  </a:lnTo>
                  <a:lnTo>
                    <a:pt x="371" y="535"/>
                  </a:lnTo>
                  <a:lnTo>
                    <a:pt x="371" y="611"/>
                  </a:lnTo>
                  <a:close/>
                  <a:moveTo>
                    <a:pt x="371" y="512"/>
                  </a:moveTo>
                  <a:lnTo>
                    <a:pt x="497" y="512"/>
                  </a:lnTo>
                  <a:lnTo>
                    <a:pt x="497" y="435"/>
                  </a:lnTo>
                  <a:lnTo>
                    <a:pt x="371" y="435"/>
                  </a:lnTo>
                  <a:lnTo>
                    <a:pt x="371" y="512"/>
                  </a:lnTo>
                  <a:close/>
                  <a:moveTo>
                    <a:pt x="371" y="410"/>
                  </a:moveTo>
                  <a:lnTo>
                    <a:pt x="497" y="410"/>
                  </a:lnTo>
                  <a:lnTo>
                    <a:pt x="497" y="337"/>
                  </a:lnTo>
                  <a:lnTo>
                    <a:pt x="371" y="337"/>
                  </a:lnTo>
                  <a:lnTo>
                    <a:pt x="371" y="410"/>
                  </a:lnTo>
                  <a:close/>
                  <a:moveTo>
                    <a:pt x="371" y="312"/>
                  </a:moveTo>
                  <a:lnTo>
                    <a:pt x="497" y="312"/>
                  </a:lnTo>
                  <a:lnTo>
                    <a:pt x="497" y="237"/>
                  </a:lnTo>
                  <a:lnTo>
                    <a:pt x="371" y="237"/>
                  </a:lnTo>
                  <a:lnTo>
                    <a:pt x="371" y="312"/>
                  </a:lnTo>
                  <a:close/>
                  <a:moveTo>
                    <a:pt x="165" y="1277"/>
                  </a:moveTo>
                  <a:lnTo>
                    <a:pt x="165" y="154"/>
                  </a:lnTo>
                  <a:lnTo>
                    <a:pt x="144" y="154"/>
                  </a:lnTo>
                  <a:lnTo>
                    <a:pt x="141" y="154"/>
                  </a:lnTo>
                  <a:lnTo>
                    <a:pt x="136" y="151"/>
                  </a:lnTo>
                  <a:lnTo>
                    <a:pt x="133" y="147"/>
                  </a:lnTo>
                  <a:lnTo>
                    <a:pt x="133" y="142"/>
                  </a:lnTo>
                  <a:lnTo>
                    <a:pt x="133" y="13"/>
                  </a:lnTo>
                  <a:lnTo>
                    <a:pt x="133" y="8"/>
                  </a:lnTo>
                  <a:lnTo>
                    <a:pt x="136" y="4"/>
                  </a:lnTo>
                  <a:lnTo>
                    <a:pt x="141" y="2"/>
                  </a:lnTo>
                  <a:lnTo>
                    <a:pt x="144" y="0"/>
                  </a:lnTo>
                  <a:lnTo>
                    <a:pt x="255" y="0"/>
                  </a:lnTo>
                  <a:lnTo>
                    <a:pt x="255" y="0"/>
                  </a:lnTo>
                  <a:lnTo>
                    <a:pt x="391" y="0"/>
                  </a:lnTo>
                  <a:lnTo>
                    <a:pt x="391" y="0"/>
                  </a:lnTo>
                  <a:lnTo>
                    <a:pt x="392" y="0"/>
                  </a:lnTo>
                  <a:lnTo>
                    <a:pt x="527" y="0"/>
                  </a:lnTo>
                  <a:lnTo>
                    <a:pt x="528" y="0"/>
                  </a:lnTo>
                  <a:lnTo>
                    <a:pt x="528" y="0"/>
                  </a:lnTo>
                  <a:lnTo>
                    <a:pt x="664" y="0"/>
                  </a:lnTo>
                  <a:lnTo>
                    <a:pt x="664" y="0"/>
                  </a:lnTo>
                  <a:lnTo>
                    <a:pt x="664" y="0"/>
                  </a:lnTo>
                  <a:lnTo>
                    <a:pt x="799" y="0"/>
                  </a:lnTo>
                  <a:lnTo>
                    <a:pt x="799" y="0"/>
                  </a:lnTo>
                  <a:lnTo>
                    <a:pt x="935" y="0"/>
                  </a:lnTo>
                  <a:lnTo>
                    <a:pt x="935" y="0"/>
                  </a:lnTo>
                  <a:lnTo>
                    <a:pt x="936" y="0"/>
                  </a:lnTo>
                  <a:lnTo>
                    <a:pt x="1071" y="0"/>
                  </a:lnTo>
                  <a:lnTo>
                    <a:pt x="1072" y="0"/>
                  </a:lnTo>
                  <a:lnTo>
                    <a:pt x="1207" y="0"/>
                  </a:lnTo>
                  <a:lnTo>
                    <a:pt x="1208" y="0"/>
                  </a:lnTo>
                  <a:lnTo>
                    <a:pt x="1208" y="0"/>
                  </a:lnTo>
                  <a:lnTo>
                    <a:pt x="1344" y="0"/>
                  </a:lnTo>
                  <a:lnTo>
                    <a:pt x="1344" y="0"/>
                  </a:lnTo>
                  <a:lnTo>
                    <a:pt x="1344" y="0"/>
                  </a:lnTo>
                  <a:lnTo>
                    <a:pt x="1455" y="0"/>
                  </a:lnTo>
                  <a:lnTo>
                    <a:pt x="1460" y="2"/>
                  </a:lnTo>
                  <a:lnTo>
                    <a:pt x="1463" y="4"/>
                  </a:lnTo>
                  <a:lnTo>
                    <a:pt x="1466" y="8"/>
                  </a:lnTo>
                  <a:lnTo>
                    <a:pt x="1467" y="13"/>
                  </a:lnTo>
                  <a:lnTo>
                    <a:pt x="1467" y="142"/>
                  </a:lnTo>
                  <a:lnTo>
                    <a:pt x="1466" y="147"/>
                  </a:lnTo>
                  <a:lnTo>
                    <a:pt x="1463" y="151"/>
                  </a:lnTo>
                  <a:lnTo>
                    <a:pt x="1460" y="154"/>
                  </a:lnTo>
                  <a:lnTo>
                    <a:pt x="1455" y="154"/>
                  </a:lnTo>
                  <a:lnTo>
                    <a:pt x="1423" y="154"/>
                  </a:lnTo>
                  <a:lnTo>
                    <a:pt x="1423" y="1277"/>
                  </a:lnTo>
                  <a:lnTo>
                    <a:pt x="1678" y="1277"/>
                  </a:lnTo>
                  <a:lnTo>
                    <a:pt x="1682" y="1278"/>
                  </a:lnTo>
                  <a:lnTo>
                    <a:pt x="1686" y="1281"/>
                  </a:lnTo>
                  <a:lnTo>
                    <a:pt x="1689" y="1283"/>
                  </a:lnTo>
                  <a:lnTo>
                    <a:pt x="1690" y="1288"/>
                  </a:lnTo>
                  <a:lnTo>
                    <a:pt x="1689" y="1293"/>
                  </a:lnTo>
                  <a:lnTo>
                    <a:pt x="1686" y="1297"/>
                  </a:lnTo>
                  <a:lnTo>
                    <a:pt x="1682" y="1299"/>
                  </a:lnTo>
                  <a:lnTo>
                    <a:pt x="1678" y="1299"/>
                  </a:lnTo>
                  <a:lnTo>
                    <a:pt x="1412" y="1299"/>
                  </a:lnTo>
                  <a:lnTo>
                    <a:pt x="509" y="1299"/>
                  </a:lnTo>
                  <a:lnTo>
                    <a:pt x="509" y="1299"/>
                  </a:lnTo>
                  <a:lnTo>
                    <a:pt x="508" y="1299"/>
                  </a:lnTo>
                  <a:lnTo>
                    <a:pt x="359" y="1299"/>
                  </a:lnTo>
                  <a:lnTo>
                    <a:pt x="359" y="1299"/>
                  </a:lnTo>
                  <a:lnTo>
                    <a:pt x="359" y="1299"/>
                  </a:lnTo>
                  <a:lnTo>
                    <a:pt x="177" y="1299"/>
                  </a:lnTo>
                  <a:lnTo>
                    <a:pt x="12" y="1299"/>
                  </a:lnTo>
                  <a:lnTo>
                    <a:pt x="7" y="1299"/>
                  </a:lnTo>
                  <a:lnTo>
                    <a:pt x="4" y="1297"/>
                  </a:lnTo>
                  <a:lnTo>
                    <a:pt x="1" y="1293"/>
                  </a:lnTo>
                  <a:lnTo>
                    <a:pt x="0" y="1288"/>
                  </a:lnTo>
                  <a:lnTo>
                    <a:pt x="1" y="1283"/>
                  </a:lnTo>
                  <a:lnTo>
                    <a:pt x="4" y="1281"/>
                  </a:lnTo>
                  <a:lnTo>
                    <a:pt x="7" y="1278"/>
                  </a:lnTo>
                  <a:lnTo>
                    <a:pt x="12" y="1277"/>
                  </a:lnTo>
                  <a:lnTo>
                    <a:pt x="165" y="1277"/>
                  </a:lnTo>
                  <a:close/>
                  <a:moveTo>
                    <a:pt x="1331" y="131"/>
                  </a:moveTo>
                  <a:lnTo>
                    <a:pt x="1331" y="24"/>
                  </a:lnTo>
                  <a:lnTo>
                    <a:pt x="1219" y="24"/>
                  </a:lnTo>
                  <a:lnTo>
                    <a:pt x="1219" y="131"/>
                  </a:lnTo>
                  <a:lnTo>
                    <a:pt x="1331" y="131"/>
                  </a:lnTo>
                  <a:close/>
                  <a:moveTo>
                    <a:pt x="1355" y="24"/>
                  </a:moveTo>
                  <a:lnTo>
                    <a:pt x="1355" y="131"/>
                  </a:lnTo>
                  <a:lnTo>
                    <a:pt x="1412" y="131"/>
                  </a:lnTo>
                  <a:lnTo>
                    <a:pt x="1412" y="131"/>
                  </a:lnTo>
                  <a:lnTo>
                    <a:pt x="1442" y="131"/>
                  </a:lnTo>
                  <a:lnTo>
                    <a:pt x="1442" y="24"/>
                  </a:lnTo>
                  <a:lnTo>
                    <a:pt x="1355" y="24"/>
                  </a:lnTo>
                  <a:close/>
                  <a:moveTo>
                    <a:pt x="1196" y="131"/>
                  </a:moveTo>
                  <a:lnTo>
                    <a:pt x="1196" y="24"/>
                  </a:lnTo>
                  <a:lnTo>
                    <a:pt x="1083" y="24"/>
                  </a:lnTo>
                  <a:lnTo>
                    <a:pt x="1083" y="131"/>
                  </a:lnTo>
                  <a:lnTo>
                    <a:pt x="1196" y="131"/>
                  </a:lnTo>
                  <a:close/>
                  <a:moveTo>
                    <a:pt x="1060" y="131"/>
                  </a:moveTo>
                  <a:lnTo>
                    <a:pt x="1060" y="24"/>
                  </a:lnTo>
                  <a:lnTo>
                    <a:pt x="948" y="24"/>
                  </a:lnTo>
                  <a:lnTo>
                    <a:pt x="948" y="131"/>
                  </a:lnTo>
                  <a:lnTo>
                    <a:pt x="1060" y="131"/>
                  </a:lnTo>
                  <a:close/>
                  <a:moveTo>
                    <a:pt x="924" y="131"/>
                  </a:moveTo>
                  <a:lnTo>
                    <a:pt x="924" y="24"/>
                  </a:lnTo>
                  <a:lnTo>
                    <a:pt x="812" y="24"/>
                  </a:lnTo>
                  <a:lnTo>
                    <a:pt x="812" y="131"/>
                  </a:lnTo>
                  <a:lnTo>
                    <a:pt x="924" y="131"/>
                  </a:lnTo>
                  <a:close/>
                  <a:moveTo>
                    <a:pt x="788" y="131"/>
                  </a:moveTo>
                  <a:lnTo>
                    <a:pt x="788" y="24"/>
                  </a:lnTo>
                  <a:lnTo>
                    <a:pt x="676" y="24"/>
                  </a:lnTo>
                  <a:lnTo>
                    <a:pt x="676" y="131"/>
                  </a:lnTo>
                  <a:lnTo>
                    <a:pt x="788" y="13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332" name="Прямоугольник 331"/>
          <p:cNvSpPr/>
          <p:nvPr/>
        </p:nvSpPr>
        <p:spPr>
          <a:xfrm>
            <a:off x="3827773" y="4443958"/>
            <a:ext cx="1349066" cy="10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900" b="1" i="1" dirty="0" smtClean="0">
                <a:solidFill>
                  <a:schemeClr val="bg1">
                    <a:lumMod val="50000"/>
                  </a:schemeClr>
                </a:solidFill>
              </a:rPr>
              <a:t>Оперативный учет</a:t>
            </a:r>
            <a:endParaRPr lang="ru-RU" sz="900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5" name="Овал 334"/>
          <p:cNvSpPr/>
          <p:nvPr/>
        </p:nvSpPr>
        <p:spPr>
          <a:xfrm>
            <a:off x="4376510" y="1797141"/>
            <a:ext cx="81009" cy="810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grpSp>
        <p:nvGrpSpPr>
          <p:cNvPr id="337" name="knot_z"/>
          <p:cNvGrpSpPr>
            <a:grpSpLocks noChangeAspect="1"/>
          </p:cNvGrpSpPr>
          <p:nvPr/>
        </p:nvGrpSpPr>
        <p:grpSpPr>
          <a:xfrm>
            <a:off x="4290816" y="1959326"/>
            <a:ext cx="231295" cy="184435"/>
            <a:chOff x="5645151" y="4616451"/>
            <a:chExt cx="854075" cy="681038"/>
          </a:xfrm>
        </p:grpSpPr>
        <p:sp>
          <p:nvSpPr>
            <p:cNvPr id="338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39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0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1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2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3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4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5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6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7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8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49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50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51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52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53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54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55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56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57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58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408" name="knot_z"/>
          <p:cNvGrpSpPr>
            <a:grpSpLocks noChangeAspect="1"/>
          </p:cNvGrpSpPr>
          <p:nvPr/>
        </p:nvGrpSpPr>
        <p:grpSpPr>
          <a:xfrm>
            <a:off x="4296438" y="3275300"/>
            <a:ext cx="231295" cy="184435"/>
            <a:chOff x="5645151" y="4616451"/>
            <a:chExt cx="854075" cy="681038"/>
          </a:xfrm>
        </p:grpSpPr>
        <p:sp>
          <p:nvSpPr>
            <p:cNvPr id="409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0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1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2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3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4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5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6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7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8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19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0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1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2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3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4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5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6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7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8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29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560" name="Прямоугольник 559"/>
          <p:cNvSpPr/>
          <p:nvPr/>
        </p:nvSpPr>
        <p:spPr>
          <a:xfrm>
            <a:off x="3509588" y="1535490"/>
            <a:ext cx="1798755" cy="144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Учет движения в резервуарах*</a:t>
            </a:r>
          </a:p>
        </p:txBody>
      </p:sp>
      <p:sp>
        <p:nvSpPr>
          <p:cNvPr id="644" name="Прямоугольник 643"/>
          <p:cNvSpPr/>
          <p:nvPr/>
        </p:nvSpPr>
        <p:spPr>
          <a:xfrm>
            <a:off x="3728220" y="2173141"/>
            <a:ext cx="1548172" cy="180020"/>
          </a:xfrm>
          <a:prstGeom prst="rect">
            <a:avLst/>
          </a:prstGeom>
          <a:solidFill>
            <a:srgbClr val="EF6213">
              <a:alpha val="57000"/>
            </a:srgbClr>
          </a:solidFill>
          <a:ln w="31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Автоматизированный учет движения в </a:t>
            </a:r>
            <a:r>
              <a:rPr lang="ru-RU" sz="600" b="1" dirty="0" smtClean="0">
                <a:solidFill>
                  <a:schemeClr val="bg1">
                    <a:lumMod val="95000"/>
                  </a:schemeClr>
                </a:solidFill>
              </a:rPr>
              <a:t>РВС</a:t>
            </a:r>
            <a:endParaRPr lang="ru-RU" sz="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50" name="Прямоугольник 649"/>
          <p:cNvSpPr/>
          <p:nvPr/>
        </p:nvSpPr>
        <p:spPr>
          <a:xfrm>
            <a:off x="3728220" y="3886476"/>
            <a:ext cx="1548172" cy="468052"/>
          </a:xfrm>
          <a:prstGeom prst="rect">
            <a:avLst/>
          </a:prstGeom>
          <a:solidFill>
            <a:schemeClr val="bg1">
              <a:alpha val="37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Предел погрешности:</a:t>
            </a:r>
          </a:p>
          <a:p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Масса – 0,5%</a:t>
            </a:r>
          </a:p>
          <a:p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Объем – 0,4%</a:t>
            </a:r>
          </a:p>
          <a:p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Плотность ср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– 1,0 кг/м3</a:t>
            </a:r>
          </a:p>
          <a:p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Температура ср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– 0,5 С</a:t>
            </a:r>
          </a:p>
        </p:txBody>
      </p:sp>
      <p:sp>
        <p:nvSpPr>
          <p:cNvPr id="653" name="Прямоугольник 652"/>
          <p:cNvSpPr/>
          <p:nvPr/>
        </p:nvSpPr>
        <p:spPr>
          <a:xfrm>
            <a:off x="3728220" y="3506838"/>
            <a:ext cx="1548172" cy="360040"/>
          </a:xfrm>
          <a:prstGeom prst="rect">
            <a:avLst/>
          </a:prstGeom>
          <a:solidFill>
            <a:srgbClr val="EF6213">
              <a:alpha val="57000"/>
            </a:srgbClr>
          </a:solidFill>
          <a:ln w="31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spcBef>
                <a:spcPts val="450"/>
              </a:spcBef>
            </a:pPr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Автоматизированный учет движения в РВС</a:t>
            </a:r>
            <a:endParaRPr lang="ru-RU" sz="6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158" name="autozister_z"/>
          <p:cNvGrpSpPr>
            <a:grpSpLocks noChangeAspect="1"/>
          </p:cNvGrpSpPr>
          <p:nvPr/>
        </p:nvGrpSpPr>
        <p:grpSpPr>
          <a:xfrm>
            <a:off x="5807205" y="1228349"/>
            <a:ext cx="601112" cy="234748"/>
            <a:chOff x="393700" y="5516563"/>
            <a:chExt cx="971551" cy="379412"/>
          </a:xfrm>
        </p:grpSpPr>
        <p:sp>
          <p:nvSpPr>
            <p:cNvPr id="159" name="Freeform 85"/>
            <p:cNvSpPr>
              <a:spLocks/>
            </p:cNvSpPr>
            <p:nvPr/>
          </p:nvSpPr>
          <p:spPr bwMode="auto">
            <a:xfrm>
              <a:off x="1041400" y="5521325"/>
              <a:ext cx="298450" cy="317500"/>
            </a:xfrm>
            <a:custGeom>
              <a:avLst/>
              <a:gdLst>
                <a:gd name="T0" fmla="*/ 753 w 753"/>
                <a:gd name="T1" fmla="*/ 655 h 802"/>
                <a:gd name="T2" fmla="*/ 753 w 753"/>
                <a:gd name="T3" fmla="*/ 621 h 802"/>
                <a:gd name="T4" fmla="*/ 753 w 753"/>
                <a:gd name="T5" fmla="*/ 588 h 802"/>
                <a:gd name="T6" fmla="*/ 753 w 753"/>
                <a:gd name="T7" fmla="*/ 555 h 802"/>
                <a:gd name="T8" fmla="*/ 753 w 753"/>
                <a:gd name="T9" fmla="*/ 521 h 802"/>
                <a:gd name="T10" fmla="*/ 753 w 753"/>
                <a:gd name="T11" fmla="*/ 510 h 802"/>
                <a:gd name="T12" fmla="*/ 752 w 753"/>
                <a:gd name="T13" fmla="*/ 500 h 802"/>
                <a:gd name="T14" fmla="*/ 750 w 753"/>
                <a:gd name="T15" fmla="*/ 491 h 802"/>
                <a:gd name="T16" fmla="*/ 749 w 753"/>
                <a:gd name="T17" fmla="*/ 481 h 802"/>
                <a:gd name="T18" fmla="*/ 745 w 753"/>
                <a:gd name="T19" fmla="*/ 472 h 802"/>
                <a:gd name="T20" fmla="*/ 740 w 753"/>
                <a:gd name="T21" fmla="*/ 464 h 802"/>
                <a:gd name="T22" fmla="*/ 733 w 753"/>
                <a:gd name="T23" fmla="*/ 456 h 802"/>
                <a:gd name="T24" fmla="*/ 724 w 753"/>
                <a:gd name="T25" fmla="*/ 451 h 802"/>
                <a:gd name="T26" fmla="*/ 706 w 753"/>
                <a:gd name="T27" fmla="*/ 442 h 802"/>
                <a:gd name="T28" fmla="*/ 688 w 753"/>
                <a:gd name="T29" fmla="*/ 434 h 802"/>
                <a:gd name="T30" fmla="*/ 670 w 753"/>
                <a:gd name="T31" fmla="*/ 426 h 802"/>
                <a:gd name="T32" fmla="*/ 652 w 753"/>
                <a:gd name="T33" fmla="*/ 418 h 802"/>
                <a:gd name="T34" fmla="*/ 615 w 753"/>
                <a:gd name="T35" fmla="*/ 405 h 802"/>
                <a:gd name="T36" fmla="*/ 578 w 753"/>
                <a:gd name="T37" fmla="*/ 391 h 802"/>
                <a:gd name="T38" fmla="*/ 570 w 753"/>
                <a:gd name="T39" fmla="*/ 369 h 802"/>
                <a:gd name="T40" fmla="*/ 563 w 753"/>
                <a:gd name="T41" fmla="*/ 348 h 802"/>
                <a:gd name="T42" fmla="*/ 557 w 753"/>
                <a:gd name="T43" fmla="*/ 327 h 802"/>
                <a:gd name="T44" fmla="*/ 550 w 753"/>
                <a:gd name="T45" fmla="*/ 308 h 802"/>
                <a:gd name="T46" fmla="*/ 541 w 753"/>
                <a:gd name="T47" fmla="*/ 283 h 802"/>
                <a:gd name="T48" fmla="*/ 533 w 753"/>
                <a:gd name="T49" fmla="*/ 260 h 802"/>
                <a:gd name="T50" fmla="*/ 525 w 753"/>
                <a:gd name="T51" fmla="*/ 239 h 802"/>
                <a:gd name="T52" fmla="*/ 516 w 753"/>
                <a:gd name="T53" fmla="*/ 217 h 802"/>
                <a:gd name="T54" fmla="*/ 511 w 753"/>
                <a:gd name="T55" fmla="*/ 210 h 802"/>
                <a:gd name="T56" fmla="*/ 506 w 753"/>
                <a:gd name="T57" fmla="*/ 206 h 802"/>
                <a:gd name="T58" fmla="*/ 500 w 753"/>
                <a:gd name="T59" fmla="*/ 201 h 802"/>
                <a:gd name="T60" fmla="*/ 494 w 753"/>
                <a:gd name="T61" fmla="*/ 197 h 802"/>
                <a:gd name="T62" fmla="*/ 482 w 753"/>
                <a:gd name="T63" fmla="*/ 192 h 802"/>
                <a:gd name="T64" fmla="*/ 469 w 753"/>
                <a:gd name="T65" fmla="*/ 189 h 802"/>
                <a:gd name="T66" fmla="*/ 440 w 753"/>
                <a:gd name="T67" fmla="*/ 187 h 802"/>
                <a:gd name="T68" fmla="*/ 412 w 753"/>
                <a:gd name="T69" fmla="*/ 187 h 802"/>
                <a:gd name="T70" fmla="*/ 377 w 753"/>
                <a:gd name="T71" fmla="*/ 154 h 802"/>
                <a:gd name="T72" fmla="*/ 338 w 753"/>
                <a:gd name="T73" fmla="*/ 125 h 802"/>
                <a:gd name="T74" fmla="*/ 320 w 753"/>
                <a:gd name="T75" fmla="*/ 110 h 802"/>
                <a:gd name="T76" fmla="*/ 300 w 753"/>
                <a:gd name="T77" fmla="*/ 97 h 802"/>
                <a:gd name="T78" fmla="*/ 280 w 753"/>
                <a:gd name="T79" fmla="*/ 85 h 802"/>
                <a:gd name="T80" fmla="*/ 259 w 753"/>
                <a:gd name="T81" fmla="*/ 73 h 802"/>
                <a:gd name="T82" fmla="*/ 240 w 753"/>
                <a:gd name="T83" fmla="*/ 62 h 802"/>
                <a:gd name="T84" fmla="*/ 219 w 753"/>
                <a:gd name="T85" fmla="*/ 51 h 802"/>
                <a:gd name="T86" fmla="*/ 196 w 753"/>
                <a:gd name="T87" fmla="*/ 40 h 802"/>
                <a:gd name="T88" fmla="*/ 175 w 753"/>
                <a:gd name="T89" fmla="*/ 31 h 802"/>
                <a:gd name="T90" fmla="*/ 153 w 753"/>
                <a:gd name="T91" fmla="*/ 22 h 802"/>
                <a:gd name="T92" fmla="*/ 130 w 753"/>
                <a:gd name="T93" fmla="*/ 14 h 802"/>
                <a:gd name="T94" fmla="*/ 107 w 753"/>
                <a:gd name="T95" fmla="*/ 8 h 802"/>
                <a:gd name="T96" fmla="*/ 83 w 753"/>
                <a:gd name="T97" fmla="*/ 0 h 802"/>
                <a:gd name="T98" fmla="*/ 83 w 753"/>
                <a:gd name="T99" fmla="*/ 693 h 802"/>
                <a:gd name="T100" fmla="*/ 0 w 753"/>
                <a:gd name="T101" fmla="*/ 693 h 802"/>
                <a:gd name="T102" fmla="*/ 0 w 753"/>
                <a:gd name="T103" fmla="*/ 802 h 802"/>
                <a:gd name="T104" fmla="*/ 305 w 753"/>
                <a:gd name="T105" fmla="*/ 802 h 802"/>
                <a:gd name="T106" fmla="*/ 719 w 753"/>
                <a:gd name="T107" fmla="*/ 802 h 802"/>
                <a:gd name="T108" fmla="*/ 753 w 753"/>
                <a:gd name="T109" fmla="*/ 655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3" h="802">
                  <a:moveTo>
                    <a:pt x="753" y="655"/>
                  </a:moveTo>
                  <a:lnTo>
                    <a:pt x="753" y="621"/>
                  </a:lnTo>
                  <a:lnTo>
                    <a:pt x="753" y="588"/>
                  </a:lnTo>
                  <a:lnTo>
                    <a:pt x="753" y="555"/>
                  </a:lnTo>
                  <a:lnTo>
                    <a:pt x="753" y="521"/>
                  </a:lnTo>
                  <a:lnTo>
                    <a:pt x="753" y="510"/>
                  </a:lnTo>
                  <a:lnTo>
                    <a:pt x="752" y="500"/>
                  </a:lnTo>
                  <a:lnTo>
                    <a:pt x="750" y="491"/>
                  </a:lnTo>
                  <a:lnTo>
                    <a:pt x="749" y="481"/>
                  </a:lnTo>
                  <a:lnTo>
                    <a:pt x="745" y="472"/>
                  </a:lnTo>
                  <a:lnTo>
                    <a:pt x="740" y="464"/>
                  </a:lnTo>
                  <a:lnTo>
                    <a:pt x="733" y="456"/>
                  </a:lnTo>
                  <a:lnTo>
                    <a:pt x="724" y="451"/>
                  </a:lnTo>
                  <a:lnTo>
                    <a:pt x="706" y="442"/>
                  </a:lnTo>
                  <a:lnTo>
                    <a:pt x="688" y="434"/>
                  </a:lnTo>
                  <a:lnTo>
                    <a:pt x="670" y="426"/>
                  </a:lnTo>
                  <a:lnTo>
                    <a:pt x="652" y="418"/>
                  </a:lnTo>
                  <a:lnTo>
                    <a:pt x="615" y="405"/>
                  </a:lnTo>
                  <a:lnTo>
                    <a:pt x="578" y="391"/>
                  </a:lnTo>
                  <a:lnTo>
                    <a:pt x="570" y="369"/>
                  </a:lnTo>
                  <a:lnTo>
                    <a:pt x="563" y="348"/>
                  </a:lnTo>
                  <a:lnTo>
                    <a:pt x="557" y="327"/>
                  </a:lnTo>
                  <a:lnTo>
                    <a:pt x="550" y="308"/>
                  </a:lnTo>
                  <a:lnTo>
                    <a:pt x="541" y="283"/>
                  </a:lnTo>
                  <a:lnTo>
                    <a:pt x="533" y="260"/>
                  </a:lnTo>
                  <a:lnTo>
                    <a:pt x="525" y="239"/>
                  </a:lnTo>
                  <a:lnTo>
                    <a:pt x="516" y="217"/>
                  </a:lnTo>
                  <a:lnTo>
                    <a:pt x="511" y="210"/>
                  </a:lnTo>
                  <a:lnTo>
                    <a:pt x="506" y="206"/>
                  </a:lnTo>
                  <a:lnTo>
                    <a:pt x="500" y="201"/>
                  </a:lnTo>
                  <a:lnTo>
                    <a:pt x="494" y="197"/>
                  </a:lnTo>
                  <a:lnTo>
                    <a:pt x="482" y="192"/>
                  </a:lnTo>
                  <a:lnTo>
                    <a:pt x="469" y="189"/>
                  </a:lnTo>
                  <a:lnTo>
                    <a:pt x="440" y="187"/>
                  </a:lnTo>
                  <a:lnTo>
                    <a:pt x="412" y="187"/>
                  </a:lnTo>
                  <a:lnTo>
                    <a:pt x="377" y="154"/>
                  </a:lnTo>
                  <a:lnTo>
                    <a:pt x="338" y="125"/>
                  </a:lnTo>
                  <a:lnTo>
                    <a:pt x="320" y="110"/>
                  </a:lnTo>
                  <a:lnTo>
                    <a:pt x="300" y="97"/>
                  </a:lnTo>
                  <a:lnTo>
                    <a:pt x="280" y="85"/>
                  </a:lnTo>
                  <a:lnTo>
                    <a:pt x="259" y="73"/>
                  </a:lnTo>
                  <a:lnTo>
                    <a:pt x="240" y="62"/>
                  </a:lnTo>
                  <a:lnTo>
                    <a:pt x="219" y="51"/>
                  </a:lnTo>
                  <a:lnTo>
                    <a:pt x="196" y="40"/>
                  </a:lnTo>
                  <a:lnTo>
                    <a:pt x="175" y="31"/>
                  </a:lnTo>
                  <a:lnTo>
                    <a:pt x="153" y="22"/>
                  </a:lnTo>
                  <a:lnTo>
                    <a:pt x="130" y="14"/>
                  </a:lnTo>
                  <a:lnTo>
                    <a:pt x="107" y="8"/>
                  </a:lnTo>
                  <a:lnTo>
                    <a:pt x="83" y="0"/>
                  </a:lnTo>
                  <a:lnTo>
                    <a:pt x="83" y="693"/>
                  </a:lnTo>
                  <a:lnTo>
                    <a:pt x="0" y="693"/>
                  </a:lnTo>
                  <a:lnTo>
                    <a:pt x="0" y="802"/>
                  </a:lnTo>
                  <a:lnTo>
                    <a:pt x="305" y="802"/>
                  </a:lnTo>
                  <a:lnTo>
                    <a:pt x="719" y="802"/>
                  </a:lnTo>
                  <a:lnTo>
                    <a:pt x="753" y="655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61" name="Freeform 86"/>
            <p:cNvSpPr>
              <a:spLocks/>
            </p:cNvSpPr>
            <p:nvPr/>
          </p:nvSpPr>
          <p:spPr bwMode="auto">
            <a:xfrm>
              <a:off x="1036638" y="5516563"/>
              <a:ext cx="307975" cy="327025"/>
            </a:xfrm>
            <a:custGeom>
              <a:avLst/>
              <a:gdLst>
                <a:gd name="T0" fmla="*/ 7 w 777"/>
                <a:gd name="T1" fmla="*/ 825 h 826"/>
                <a:gd name="T2" fmla="*/ 0 w 777"/>
                <a:gd name="T3" fmla="*/ 814 h 826"/>
                <a:gd name="T4" fmla="*/ 3 w 777"/>
                <a:gd name="T5" fmla="*/ 697 h 826"/>
                <a:gd name="T6" fmla="*/ 83 w 777"/>
                <a:gd name="T7" fmla="*/ 693 h 826"/>
                <a:gd name="T8" fmla="*/ 88 w 777"/>
                <a:gd name="T9" fmla="*/ 2 h 826"/>
                <a:gd name="T10" fmla="*/ 121 w 777"/>
                <a:gd name="T11" fmla="*/ 8 h 826"/>
                <a:gd name="T12" fmla="*/ 189 w 777"/>
                <a:gd name="T13" fmla="*/ 30 h 826"/>
                <a:gd name="T14" fmla="*/ 252 w 777"/>
                <a:gd name="T15" fmla="*/ 60 h 826"/>
                <a:gd name="T16" fmla="*/ 314 w 777"/>
                <a:gd name="T17" fmla="*/ 96 h 826"/>
                <a:gd name="T18" fmla="*/ 373 w 777"/>
                <a:gd name="T19" fmla="*/ 138 h 826"/>
                <a:gd name="T20" fmla="*/ 429 w 777"/>
                <a:gd name="T21" fmla="*/ 187 h 826"/>
                <a:gd name="T22" fmla="*/ 461 w 777"/>
                <a:gd name="T23" fmla="*/ 187 h 826"/>
                <a:gd name="T24" fmla="*/ 502 w 777"/>
                <a:gd name="T25" fmla="*/ 195 h 826"/>
                <a:gd name="T26" fmla="*/ 527 w 777"/>
                <a:gd name="T27" fmla="*/ 209 h 826"/>
                <a:gd name="T28" fmla="*/ 548 w 777"/>
                <a:gd name="T29" fmla="*/ 245 h 826"/>
                <a:gd name="T30" fmla="*/ 573 w 777"/>
                <a:gd name="T31" fmla="*/ 316 h 826"/>
                <a:gd name="T32" fmla="*/ 636 w 777"/>
                <a:gd name="T33" fmla="*/ 408 h 826"/>
                <a:gd name="T34" fmla="*/ 716 w 777"/>
                <a:gd name="T35" fmla="*/ 439 h 826"/>
                <a:gd name="T36" fmla="*/ 753 w 777"/>
                <a:gd name="T37" fmla="*/ 460 h 826"/>
                <a:gd name="T38" fmla="*/ 768 w 777"/>
                <a:gd name="T39" fmla="*/ 479 h 826"/>
                <a:gd name="T40" fmla="*/ 775 w 777"/>
                <a:gd name="T41" fmla="*/ 512 h 826"/>
                <a:gd name="T42" fmla="*/ 777 w 777"/>
                <a:gd name="T43" fmla="*/ 667 h 826"/>
                <a:gd name="T44" fmla="*/ 769 w 777"/>
                <a:gd name="T45" fmla="*/ 678 h 826"/>
                <a:gd name="T46" fmla="*/ 756 w 777"/>
                <a:gd name="T47" fmla="*/ 675 h 826"/>
                <a:gd name="T48" fmla="*/ 753 w 777"/>
                <a:gd name="T49" fmla="*/ 533 h 826"/>
                <a:gd name="T50" fmla="*/ 746 w 777"/>
                <a:gd name="T51" fmla="*/ 489 h 826"/>
                <a:gd name="T52" fmla="*/ 729 w 777"/>
                <a:gd name="T53" fmla="*/ 474 h 826"/>
                <a:gd name="T54" fmla="*/ 654 w 777"/>
                <a:gd name="T55" fmla="*/ 439 h 826"/>
                <a:gd name="T56" fmla="*/ 606 w 777"/>
                <a:gd name="T57" fmla="*/ 422 h 826"/>
                <a:gd name="T58" fmla="*/ 581 w 777"/>
                <a:gd name="T59" fmla="*/ 410 h 826"/>
                <a:gd name="T60" fmla="*/ 541 w 777"/>
                <a:gd name="T61" fmla="*/ 297 h 826"/>
                <a:gd name="T62" fmla="*/ 518 w 777"/>
                <a:gd name="T63" fmla="*/ 234 h 826"/>
                <a:gd name="T64" fmla="*/ 491 w 777"/>
                <a:gd name="T65" fmla="*/ 216 h 826"/>
                <a:gd name="T66" fmla="*/ 435 w 777"/>
                <a:gd name="T67" fmla="*/ 210 h 826"/>
                <a:gd name="T68" fmla="*/ 416 w 777"/>
                <a:gd name="T69" fmla="*/ 208 h 826"/>
                <a:gd name="T70" fmla="*/ 307 w 777"/>
                <a:gd name="T71" fmla="*/ 121 h 826"/>
                <a:gd name="T72" fmla="*/ 231 w 777"/>
                <a:gd name="T73" fmla="*/ 76 h 826"/>
                <a:gd name="T74" fmla="*/ 170 w 777"/>
                <a:gd name="T75" fmla="*/ 50 h 826"/>
                <a:gd name="T76" fmla="*/ 107 w 777"/>
                <a:gd name="T77" fmla="*/ 29 h 826"/>
                <a:gd name="T78" fmla="*/ 104 w 777"/>
                <a:gd name="T79" fmla="*/ 714 h 826"/>
                <a:gd name="T80" fmla="*/ 24 w 777"/>
                <a:gd name="T81" fmla="*/ 717 h 826"/>
                <a:gd name="T82" fmla="*/ 735 w 777"/>
                <a:gd name="T83" fmla="*/ 803 h 826"/>
                <a:gd name="T84" fmla="*/ 741 w 777"/>
                <a:gd name="T85" fmla="*/ 814 h 826"/>
                <a:gd name="T86" fmla="*/ 735 w 777"/>
                <a:gd name="T87" fmla="*/ 825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77" h="826">
                  <a:moveTo>
                    <a:pt x="731" y="826"/>
                  </a:moveTo>
                  <a:lnTo>
                    <a:pt x="12" y="826"/>
                  </a:lnTo>
                  <a:lnTo>
                    <a:pt x="7" y="825"/>
                  </a:lnTo>
                  <a:lnTo>
                    <a:pt x="3" y="822"/>
                  </a:lnTo>
                  <a:lnTo>
                    <a:pt x="0" y="818"/>
                  </a:lnTo>
                  <a:lnTo>
                    <a:pt x="0" y="814"/>
                  </a:lnTo>
                  <a:lnTo>
                    <a:pt x="0" y="705"/>
                  </a:lnTo>
                  <a:lnTo>
                    <a:pt x="0" y="700"/>
                  </a:lnTo>
                  <a:lnTo>
                    <a:pt x="3" y="697"/>
                  </a:lnTo>
                  <a:lnTo>
                    <a:pt x="7" y="695"/>
                  </a:lnTo>
                  <a:lnTo>
                    <a:pt x="12" y="693"/>
                  </a:lnTo>
                  <a:lnTo>
                    <a:pt x="83" y="693"/>
                  </a:lnTo>
                  <a:lnTo>
                    <a:pt x="83" y="12"/>
                  </a:lnTo>
                  <a:lnTo>
                    <a:pt x="85" y="6"/>
                  </a:lnTo>
                  <a:lnTo>
                    <a:pt x="88" y="2"/>
                  </a:lnTo>
                  <a:lnTo>
                    <a:pt x="92" y="0"/>
                  </a:lnTo>
                  <a:lnTo>
                    <a:pt x="99" y="1"/>
                  </a:lnTo>
                  <a:lnTo>
                    <a:pt x="121" y="8"/>
                  </a:lnTo>
                  <a:lnTo>
                    <a:pt x="144" y="14"/>
                  </a:lnTo>
                  <a:lnTo>
                    <a:pt x="166" y="22"/>
                  </a:lnTo>
                  <a:lnTo>
                    <a:pt x="189" y="30"/>
                  </a:lnTo>
                  <a:lnTo>
                    <a:pt x="210" y="39"/>
                  </a:lnTo>
                  <a:lnTo>
                    <a:pt x="231" y="50"/>
                  </a:lnTo>
                  <a:lnTo>
                    <a:pt x="252" y="60"/>
                  </a:lnTo>
                  <a:lnTo>
                    <a:pt x="273" y="71"/>
                  </a:lnTo>
                  <a:lnTo>
                    <a:pt x="292" y="83"/>
                  </a:lnTo>
                  <a:lnTo>
                    <a:pt x="314" y="96"/>
                  </a:lnTo>
                  <a:lnTo>
                    <a:pt x="333" y="109"/>
                  </a:lnTo>
                  <a:lnTo>
                    <a:pt x="353" y="124"/>
                  </a:lnTo>
                  <a:lnTo>
                    <a:pt x="373" y="138"/>
                  </a:lnTo>
                  <a:lnTo>
                    <a:pt x="391" y="154"/>
                  </a:lnTo>
                  <a:lnTo>
                    <a:pt x="411" y="170"/>
                  </a:lnTo>
                  <a:lnTo>
                    <a:pt x="429" y="187"/>
                  </a:lnTo>
                  <a:lnTo>
                    <a:pt x="435" y="187"/>
                  </a:lnTo>
                  <a:lnTo>
                    <a:pt x="448" y="187"/>
                  </a:lnTo>
                  <a:lnTo>
                    <a:pt x="461" y="187"/>
                  </a:lnTo>
                  <a:lnTo>
                    <a:pt x="475" y="188"/>
                  </a:lnTo>
                  <a:lnTo>
                    <a:pt x="489" y="191"/>
                  </a:lnTo>
                  <a:lnTo>
                    <a:pt x="502" y="195"/>
                  </a:lnTo>
                  <a:lnTo>
                    <a:pt x="515" y="201"/>
                  </a:lnTo>
                  <a:lnTo>
                    <a:pt x="521" y="205"/>
                  </a:lnTo>
                  <a:lnTo>
                    <a:pt x="527" y="209"/>
                  </a:lnTo>
                  <a:lnTo>
                    <a:pt x="532" y="216"/>
                  </a:lnTo>
                  <a:lnTo>
                    <a:pt x="537" y="221"/>
                  </a:lnTo>
                  <a:lnTo>
                    <a:pt x="548" y="245"/>
                  </a:lnTo>
                  <a:lnTo>
                    <a:pt x="556" y="266"/>
                  </a:lnTo>
                  <a:lnTo>
                    <a:pt x="565" y="289"/>
                  </a:lnTo>
                  <a:lnTo>
                    <a:pt x="573" y="316"/>
                  </a:lnTo>
                  <a:lnTo>
                    <a:pt x="599" y="393"/>
                  </a:lnTo>
                  <a:lnTo>
                    <a:pt x="618" y="400"/>
                  </a:lnTo>
                  <a:lnTo>
                    <a:pt x="636" y="408"/>
                  </a:lnTo>
                  <a:lnTo>
                    <a:pt x="662" y="417"/>
                  </a:lnTo>
                  <a:lnTo>
                    <a:pt x="690" y="428"/>
                  </a:lnTo>
                  <a:lnTo>
                    <a:pt x="716" y="439"/>
                  </a:lnTo>
                  <a:lnTo>
                    <a:pt x="741" y="453"/>
                  </a:lnTo>
                  <a:lnTo>
                    <a:pt x="748" y="456"/>
                  </a:lnTo>
                  <a:lnTo>
                    <a:pt x="753" y="460"/>
                  </a:lnTo>
                  <a:lnTo>
                    <a:pt x="758" y="464"/>
                  </a:lnTo>
                  <a:lnTo>
                    <a:pt x="762" y="470"/>
                  </a:lnTo>
                  <a:lnTo>
                    <a:pt x="768" y="479"/>
                  </a:lnTo>
                  <a:lnTo>
                    <a:pt x="773" y="489"/>
                  </a:lnTo>
                  <a:lnTo>
                    <a:pt x="774" y="501"/>
                  </a:lnTo>
                  <a:lnTo>
                    <a:pt x="775" y="512"/>
                  </a:lnTo>
                  <a:lnTo>
                    <a:pt x="777" y="522"/>
                  </a:lnTo>
                  <a:lnTo>
                    <a:pt x="777" y="533"/>
                  </a:lnTo>
                  <a:lnTo>
                    <a:pt x="777" y="667"/>
                  </a:lnTo>
                  <a:lnTo>
                    <a:pt x="775" y="671"/>
                  </a:lnTo>
                  <a:lnTo>
                    <a:pt x="773" y="675"/>
                  </a:lnTo>
                  <a:lnTo>
                    <a:pt x="769" y="678"/>
                  </a:lnTo>
                  <a:lnTo>
                    <a:pt x="765" y="679"/>
                  </a:lnTo>
                  <a:lnTo>
                    <a:pt x="760" y="678"/>
                  </a:lnTo>
                  <a:lnTo>
                    <a:pt x="756" y="675"/>
                  </a:lnTo>
                  <a:lnTo>
                    <a:pt x="753" y="671"/>
                  </a:lnTo>
                  <a:lnTo>
                    <a:pt x="753" y="667"/>
                  </a:lnTo>
                  <a:lnTo>
                    <a:pt x="753" y="533"/>
                  </a:lnTo>
                  <a:lnTo>
                    <a:pt x="752" y="513"/>
                  </a:lnTo>
                  <a:lnTo>
                    <a:pt x="749" y="497"/>
                  </a:lnTo>
                  <a:lnTo>
                    <a:pt x="746" y="489"/>
                  </a:lnTo>
                  <a:lnTo>
                    <a:pt x="743" y="484"/>
                  </a:lnTo>
                  <a:lnTo>
                    <a:pt x="737" y="478"/>
                  </a:lnTo>
                  <a:lnTo>
                    <a:pt x="729" y="474"/>
                  </a:lnTo>
                  <a:lnTo>
                    <a:pt x="706" y="460"/>
                  </a:lnTo>
                  <a:lnTo>
                    <a:pt x="679" y="450"/>
                  </a:lnTo>
                  <a:lnTo>
                    <a:pt x="654" y="439"/>
                  </a:lnTo>
                  <a:lnTo>
                    <a:pt x="628" y="430"/>
                  </a:lnTo>
                  <a:lnTo>
                    <a:pt x="618" y="426"/>
                  </a:lnTo>
                  <a:lnTo>
                    <a:pt x="606" y="422"/>
                  </a:lnTo>
                  <a:lnTo>
                    <a:pt x="595" y="418"/>
                  </a:lnTo>
                  <a:lnTo>
                    <a:pt x="585" y="413"/>
                  </a:lnTo>
                  <a:lnTo>
                    <a:pt x="581" y="410"/>
                  </a:lnTo>
                  <a:lnTo>
                    <a:pt x="578" y="406"/>
                  </a:lnTo>
                  <a:lnTo>
                    <a:pt x="550" y="322"/>
                  </a:lnTo>
                  <a:lnTo>
                    <a:pt x="541" y="297"/>
                  </a:lnTo>
                  <a:lnTo>
                    <a:pt x="533" y="275"/>
                  </a:lnTo>
                  <a:lnTo>
                    <a:pt x="525" y="254"/>
                  </a:lnTo>
                  <a:lnTo>
                    <a:pt x="518" y="234"/>
                  </a:lnTo>
                  <a:lnTo>
                    <a:pt x="510" y="226"/>
                  </a:lnTo>
                  <a:lnTo>
                    <a:pt x="500" y="220"/>
                  </a:lnTo>
                  <a:lnTo>
                    <a:pt x="491" y="216"/>
                  </a:lnTo>
                  <a:lnTo>
                    <a:pt x="481" y="213"/>
                  </a:lnTo>
                  <a:lnTo>
                    <a:pt x="458" y="210"/>
                  </a:lnTo>
                  <a:lnTo>
                    <a:pt x="435" y="210"/>
                  </a:lnTo>
                  <a:lnTo>
                    <a:pt x="424" y="210"/>
                  </a:lnTo>
                  <a:lnTo>
                    <a:pt x="420" y="210"/>
                  </a:lnTo>
                  <a:lnTo>
                    <a:pt x="416" y="208"/>
                  </a:lnTo>
                  <a:lnTo>
                    <a:pt x="381" y="176"/>
                  </a:lnTo>
                  <a:lnTo>
                    <a:pt x="345" y="147"/>
                  </a:lnTo>
                  <a:lnTo>
                    <a:pt x="307" y="121"/>
                  </a:lnTo>
                  <a:lnTo>
                    <a:pt x="269" y="97"/>
                  </a:lnTo>
                  <a:lnTo>
                    <a:pt x="250" y="87"/>
                  </a:lnTo>
                  <a:lnTo>
                    <a:pt x="231" y="76"/>
                  </a:lnTo>
                  <a:lnTo>
                    <a:pt x="211" y="67"/>
                  </a:lnTo>
                  <a:lnTo>
                    <a:pt x="191" y="58"/>
                  </a:lnTo>
                  <a:lnTo>
                    <a:pt x="170" y="50"/>
                  </a:lnTo>
                  <a:lnTo>
                    <a:pt x="149" y="42"/>
                  </a:lnTo>
                  <a:lnTo>
                    <a:pt x="128" y="34"/>
                  </a:lnTo>
                  <a:lnTo>
                    <a:pt x="107" y="29"/>
                  </a:lnTo>
                  <a:lnTo>
                    <a:pt x="107" y="705"/>
                  </a:lnTo>
                  <a:lnTo>
                    <a:pt x="107" y="710"/>
                  </a:lnTo>
                  <a:lnTo>
                    <a:pt x="104" y="714"/>
                  </a:lnTo>
                  <a:lnTo>
                    <a:pt x="100" y="717"/>
                  </a:lnTo>
                  <a:lnTo>
                    <a:pt x="95" y="717"/>
                  </a:lnTo>
                  <a:lnTo>
                    <a:pt x="24" y="717"/>
                  </a:lnTo>
                  <a:lnTo>
                    <a:pt x="24" y="803"/>
                  </a:lnTo>
                  <a:lnTo>
                    <a:pt x="731" y="803"/>
                  </a:lnTo>
                  <a:lnTo>
                    <a:pt x="735" y="803"/>
                  </a:lnTo>
                  <a:lnTo>
                    <a:pt x="739" y="805"/>
                  </a:lnTo>
                  <a:lnTo>
                    <a:pt x="741" y="809"/>
                  </a:lnTo>
                  <a:lnTo>
                    <a:pt x="741" y="814"/>
                  </a:lnTo>
                  <a:lnTo>
                    <a:pt x="741" y="818"/>
                  </a:lnTo>
                  <a:lnTo>
                    <a:pt x="739" y="822"/>
                  </a:lnTo>
                  <a:lnTo>
                    <a:pt x="735" y="825"/>
                  </a:lnTo>
                  <a:lnTo>
                    <a:pt x="731" y="82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63" name="Freeform 87"/>
            <p:cNvSpPr>
              <a:spLocks/>
            </p:cNvSpPr>
            <p:nvPr/>
          </p:nvSpPr>
          <p:spPr bwMode="auto">
            <a:xfrm>
              <a:off x="1149350" y="5621338"/>
              <a:ext cx="92075" cy="53975"/>
            </a:xfrm>
            <a:custGeom>
              <a:avLst/>
              <a:gdLst>
                <a:gd name="T0" fmla="*/ 0 w 234"/>
                <a:gd name="T1" fmla="*/ 111 h 139"/>
                <a:gd name="T2" fmla="*/ 0 w 234"/>
                <a:gd name="T3" fmla="*/ 2 h 139"/>
                <a:gd name="T4" fmla="*/ 18 w 234"/>
                <a:gd name="T5" fmla="*/ 2 h 139"/>
                <a:gd name="T6" fmla="*/ 37 w 234"/>
                <a:gd name="T7" fmla="*/ 2 h 139"/>
                <a:gd name="T8" fmla="*/ 55 w 234"/>
                <a:gd name="T9" fmla="*/ 2 h 139"/>
                <a:gd name="T10" fmla="*/ 74 w 234"/>
                <a:gd name="T11" fmla="*/ 2 h 139"/>
                <a:gd name="T12" fmla="*/ 95 w 234"/>
                <a:gd name="T13" fmla="*/ 2 h 139"/>
                <a:gd name="T14" fmla="*/ 122 w 234"/>
                <a:gd name="T15" fmla="*/ 0 h 139"/>
                <a:gd name="T16" fmla="*/ 147 w 234"/>
                <a:gd name="T17" fmla="*/ 0 h 139"/>
                <a:gd name="T18" fmla="*/ 164 w 234"/>
                <a:gd name="T19" fmla="*/ 0 h 139"/>
                <a:gd name="T20" fmla="*/ 170 w 234"/>
                <a:gd name="T21" fmla="*/ 2 h 139"/>
                <a:gd name="T22" fmla="*/ 176 w 234"/>
                <a:gd name="T23" fmla="*/ 3 h 139"/>
                <a:gd name="T24" fmla="*/ 182 w 234"/>
                <a:gd name="T25" fmla="*/ 6 h 139"/>
                <a:gd name="T26" fmla="*/ 185 w 234"/>
                <a:gd name="T27" fmla="*/ 8 h 139"/>
                <a:gd name="T28" fmla="*/ 193 w 234"/>
                <a:gd name="T29" fmla="*/ 16 h 139"/>
                <a:gd name="T30" fmla="*/ 199 w 234"/>
                <a:gd name="T31" fmla="*/ 27 h 139"/>
                <a:gd name="T32" fmla="*/ 208 w 234"/>
                <a:gd name="T33" fmla="*/ 50 h 139"/>
                <a:gd name="T34" fmla="*/ 220 w 234"/>
                <a:gd name="T35" fmla="*/ 88 h 139"/>
                <a:gd name="T36" fmla="*/ 229 w 234"/>
                <a:gd name="T37" fmla="*/ 123 h 139"/>
                <a:gd name="T38" fmla="*/ 234 w 234"/>
                <a:gd name="T39" fmla="*/ 139 h 139"/>
                <a:gd name="T40" fmla="*/ 0 w 234"/>
                <a:gd name="T41" fmla="*/ 11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4" h="139">
                  <a:moveTo>
                    <a:pt x="0" y="111"/>
                  </a:moveTo>
                  <a:lnTo>
                    <a:pt x="0" y="2"/>
                  </a:lnTo>
                  <a:lnTo>
                    <a:pt x="18" y="2"/>
                  </a:lnTo>
                  <a:lnTo>
                    <a:pt x="37" y="2"/>
                  </a:lnTo>
                  <a:lnTo>
                    <a:pt x="55" y="2"/>
                  </a:lnTo>
                  <a:lnTo>
                    <a:pt x="74" y="2"/>
                  </a:lnTo>
                  <a:lnTo>
                    <a:pt x="95" y="2"/>
                  </a:lnTo>
                  <a:lnTo>
                    <a:pt x="122" y="0"/>
                  </a:lnTo>
                  <a:lnTo>
                    <a:pt x="147" y="0"/>
                  </a:lnTo>
                  <a:lnTo>
                    <a:pt x="164" y="0"/>
                  </a:lnTo>
                  <a:lnTo>
                    <a:pt x="170" y="2"/>
                  </a:lnTo>
                  <a:lnTo>
                    <a:pt x="176" y="3"/>
                  </a:lnTo>
                  <a:lnTo>
                    <a:pt x="182" y="6"/>
                  </a:lnTo>
                  <a:lnTo>
                    <a:pt x="185" y="8"/>
                  </a:lnTo>
                  <a:lnTo>
                    <a:pt x="193" y="16"/>
                  </a:lnTo>
                  <a:lnTo>
                    <a:pt x="199" y="27"/>
                  </a:lnTo>
                  <a:lnTo>
                    <a:pt x="208" y="50"/>
                  </a:lnTo>
                  <a:lnTo>
                    <a:pt x="220" y="88"/>
                  </a:lnTo>
                  <a:lnTo>
                    <a:pt x="229" y="123"/>
                  </a:lnTo>
                  <a:lnTo>
                    <a:pt x="234" y="139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64" name="Freeform 88"/>
            <p:cNvSpPr>
              <a:spLocks noEditPoints="1"/>
            </p:cNvSpPr>
            <p:nvPr/>
          </p:nvSpPr>
          <p:spPr bwMode="auto">
            <a:xfrm>
              <a:off x="1143000" y="5616575"/>
              <a:ext cx="103188" cy="63500"/>
            </a:xfrm>
            <a:custGeom>
              <a:avLst/>
              <a:gdLst>
                <a:gd name="T0" fmla="*/ 25 w 259"/>
                <a:gd name="T1" fmla="*/ 112 h 162"/>
                <a:gd name="T2" fmla="*/ 230 w 259"/>
                <a:gd name="T3" fmla="*/ 136 h 162"/>
                <a:gd name="T4" fmla="*/ 222 w 259"/>
                <a:gd name="T5" fmla="*/ 107 h 162"/>
                <a:gd name="T6" fmla="*/ 214 w 259"/>
                <a:gd name="T7" fmla="*/ 79 h 162"/>
                <a:gd name="T8" fmla="*/ 206 w 259"/>
                <a:gd name="T9" fmla="*/ 57 h 162"/>
                <a:gd name="T10" fmla="*/ 201 w 259"/>
                <a:gd name="T11" fmla="*/ 44 h 162"/>
                <a:gd name="T12" fmla="*/ 196 w 259"/>
                <a:gd name="T13" fmla="*/ 36 h 162"/>
                <a:gd name="T14" fmla="*/ 191 w 259"/>
                <a:gd name="T15" fmla="*/ 29 h 162"/>
                <a:gd name="T16" fmla="*/ 184 w 259"/>
                <a:gd name="T17" fmla="*/ 25 h 162"/>
                <a:gd name="T18" fmla="*/ 176 w 259"/>
                <a:gd name="T19" fmla="*/ 24 h 162"/>
                <a:gd name="T20" fmla="*/ 168 w 259"/>
                <a:gd name="T21" fmla="*/ 24 h 162"/>
                <a:gd name="T22" fmla="*/ 154 w 259"/>
                <a:gd name="T23" fmla="*/ 24 h 162"/>
                <a:gd name="T24" fmla="*/ 138 w 259"/>
                <a:gd name="T25" fmla="*/ 24 h 162"/>
                <a:gd name="T26" fmla="*/ 121 w 259"/>
                <a:gd name="T27" fmla="*/ 25 h 162"/>
                <a:gd name="T28" fmla="*/ 101 w 259"/>
                <a:gd name="T29" fmla="*/ 25 h 162"/>
                <a:gd name="T30" fmla="*/ 87 w 259"/>
                <a:gd name="T31" fmla="*/ 25 h 162"/>
                <a:gd name="T32" fmla="*/ 25 w 259"/>
                <a:gd name="T33" fmla="*/ 25 h 162"/>
                <a:gd name="T34" fmla="*/ 25 w 259"/>
                <a:gd name="T35" fmla="*/ 112 h 162"/>
                <a:gd name="T36" fmla="*/ 247 w 259"/>
                <a:gd name="T37" fmla="*/ 162 h 162"/>
                <a:gd name="T38" fmla="*/ 246 w 259"/>
                <a:gd name="T39" fmla="*/ 162 h 162"/>
                <a:gd name="T40" fmla="*/ 246 w 259"/>
                <a:gd name="T41" fmla="*/ 162 h 162"/>
                <a:gd name="T42" fmla="*/ 10 w 259"/>
                <a:gd name="T43" fmla="*/ 135 h 162"/>
                <a:gd name="T44" fmla="*/ 6 w 259"/>
                <a:gd name="T45" fmla="*/ 133 h 162"/>
                <a:gd name="T46" fmla="*/ 4 w 259"/>
                <a:gd name="T47" fmla="*/ 131 h 162"/>
                <a:gd name="T48" fmla="*/ 1 w 259"/>
                <a:gd name="T49" fmla="*/ 127 h 162"/>
                <a:gd name="T50" fmla="*/ 0 w 259"/>
                <a:gd name="T51" fmla="*/ 123 h 162"/>
                <a:gd name="T52" fmla="*/ 0 w 259"/>
                <a:gd name="T53" fmla="*/ 14 h 162"/>
                <a:gd name="T54" fmla="*/ 1 w 259"/>
                <a:gd name="T55" fmla="*/ 8 h 162"/>
                <a:gd name="T56" fmla="*/ 4 w 259"/>
                <a:gd name="T57" fmla="*/ 4 h 162"/>
                <a:gd name="T58" fmla="*/ 8 w 259"/>
                <a:gd name="T59" fmla="*/ 3 h 162"/>
                <a:gd name="T60" fmla="*/ 13 w 259"/>
                <a:gd name="T61" fmla="*/ 2 h 162"/>
                <a:gd name="T62" fmla="*/ 87 w 259"/>
                <a:gd name="T63" fmla="*/ 2 h 162"/>
                <a:gd name="T64" fmla="*/ 101 w 259"/>
                <a:gd name="T65" fmla="*/ 2 h 162"/>
                <a:gd name="T66" fmla="*/ 121 w 259"/>
                <a:gd name="T67" fmla="*/ 2 h 162"/>
                <a:gd name="T68" fmla="*/ 141 w 259"/>
                <a:gd name="T69" fmla="*/ 0 h 162"/>
                <a:gd name="T70" fmla="*/ 158 w 259"/>
                <a:gd name="T71" fmla="*/ 0 h 162"/>
                <a:gd name="T72" fmla="*/ 171 w 259"/>
                <a:gd name="T73" fmla="*/ 0 h 162"/>
                <a:gd name="T74" fmla="*/ 179 w 259"/>
                <a:gd name="T75" fmla="*/ 0 h 162"/>
                <a:gd name="T76" fmla="*/ 185 w 259"/>
                <a:gd name="T77" fmla="*/ 2 h 162"/>
                <a:gd name="T78" fmla="*/ 192 w 259"/>
                <a:gd name="T79" fmla="*/ 3 h 162"/>
                <a:gd name="T80" fmla="*/ 198 w 259"/>
                <a:gd name="T81" fmla="*/ 6 h 162"/>
                <a:gd name="T82" fmla="*/ 204 w 259"/>
                <a:gd name="T83" fmla="*/ 10 h 162"/>
                <a:gd name="T84" fmla="*/ 209 w 259"/>
                <a:gd name="T85" fmla="*/ 15 h 162"/>
                <a:gd name="T86" fmla="*/ 214 w 259"/>
                <a:gd name="T87" fmla="*/ 20 h 162"/>
                <a:gd name="T88" fmla="*/ 220 w 259"/>
                <a:gd name="T89" fmla="*/ 25 h 162"/>
                <a:gd name="T90" fmla="*/ 223 w 259"/>
                <a:gd name="T91" fmla="*/ 32 h 162"/>
                <a:gd name="T92" fmla="*/ 231 w 259"/>
                <a:gd name="T93" fmla="*/ 56 h 162"/>
                <a:gd name="T94" fmla="*/ 243 w 259"/>
                <a:gd name="T95" fmla="*/ 93 h 162"/>
                <a:gd name="T96" fmla="*/ 252 w 259"/>
                <a:gd name="T97" fmla="*/ 128 h 162"/>
                <a:gd name="T98" fmla="*/ 258 w 259"/>
                <a:gd name="T99" fmla="*/ 148 h 162"/>
                <a:gd name="T100" fmla="*/ 259 w 259"/>
                <a:gd name="T101" fmla="*/ 151 h 162"/>
                <a:gd name="T102" fmla="*/ 259 w 259"/>
                <a:gd name="T103" fmla="*/ 153 h 162"/>
                <a:gd name="T104" fmla="*/ 258 w 259"/>
                <a:gd name="T105" fmla="*/ 156 h 162"/>
                <a:gd name="T106" fmla="*/ 256 w 259"/>
                <a:gd name="T107" fmla="*/ 158 h 162"/>
                <a:gd name="T108" fmla="*/ 251 w 259"/>
                <a:gd name="T109" fmla="*/ 161 h 162"/>
                <a:gd name="T110" fmla="*/ 247 w 259"/>
                <a:gd name="T111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9" h="162">
                  <a:moveTo>
                    <a:pt x="25" y="112"/>
                  </a:moveTo>
                  <a:lnTo>
                    <a:pt x="230" y="136"/>
                  </a:lnTo>
                  <a:lnTo>
                    <a:pt x="222" y="107"/>
                  </a:lnTo>
                  <a:lnTo>
                    <a:pt x="214" y="79"/>
                  </a:lnTo>
                  <a:lnTo>
                    <a:pt x="206" y="57"/>
                  </a:lnTo>
                  <a:lnTo>
                    <a:pt x="201" y="44"/>
                  </a:lnTo>
                  <a:lnTo>
                    <a:pt x="196" y="36"/>
                  </a:lnTo>
                  <a:lnTo>
                    <a:pt x="191" y="29"/>
                  </a:lnTo>
                  <a:lnTo>
                    <a:pt x="184" y="25"/>
                  </a:lnTo>
                  <a:lnTo>
                    <a:pt x="176" y="24"/>
                  </a:lnTo>
                  <a:lnTo>
                    <a:pt x="168" y="24"/>
                  </a:lnTo>
                  <a:lnTo>
                    <a:pt x="154" y="24"/>
                  </a:lnTo>
                  <a:lnTo>
                    <a:pt x="138" y="24"/>
                  </a:lnTo>
                  <a:lnTo>
                    <a:pt x="121" y="25"/>
                  </a:lnTo>
                  <a:lnTo>
                    <a:pt x="101" y="25"/>
                  </a:lnTo>
                  <a:lnTo>
                    <a:pt x="87" y="25"/>
                  </a:lnTo>
                  <a:lnTo>
                    <a:pt x="25" y="25"/>
                  </a:lnTo>
                  <a:lnTo>
                    <a:pt x="25" y="112"/>
                  </a:lnTo>
                  <a:close/>
                  <a:moveTo>
                    <a:pt x="247" y="162"/>
                  </a:moveTo>
                  <a:lnTo>
                    <a:pt x="246" y="162"/>
                  </a:lnTo>
                  <a:lnTo>
                    <a:pt x="246" y="162"/>
                  </a:lnTo>
                  <a:lnTo>
                    <a:pt x="10" y="135"/>
                  </a:lnTo>
                  <a:lnTo>
                    <a:pt x="6" y="133"/>
                  </a:lnTo>
                  <a:lnTo>
                    <a:pt x="4" y="131"/>
                  </a:lnTo>
                  <a:lnTo>
                    <a:pt x="1" y="127"/>
                  </a:lnTo>
                  <a:lnTo>
                    <a:pt x="0" y="123"/>
                  </a:lnTo>
                  <a:lnTo>
                    <a:pt x="0" y="14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3"/>
                  </a:lnTo>
                  <a:lnTo>
                    <a:pt x="13" y="2"/>
                  </a:lnTo>
                  <a:lnTo>
                    <a:pt x="87" y="2"/>
                  </a:lnTo>
                  <a:lnTo>
                    <a:pt x="101" y="2"/>
                  </a:lnTo>
                  <a:lnTo>
                    <a:pt x="121" y="2"/>
                  </a:lnTo>
                  <a:lnTo>
                    <a:pt x="141" y="0"/>
                  </a:lnTo>
                  <a:lnTo>
                    <a:pt x="158" y="0"/>
                  </a:lnTo>
                  <a:lnTo>
                    <a:pt x="171" y="0"/>
                  </a:lnTo>
                  <a:lnTo>
                    <a:pt x="179" y="0"/>
                  </a:lnTo>
                  <a:lnTo>
                    <a:pt x="185" y="2"/>
                  </a:lnTo>
                  <a:lnTo>
                    <a:pt x="192" y="3"/>
                  </a:lnTo>
                  <a:lnTo>
                    <a:pt x="198" y="6"/>
                  </a:lnTo>
                  <a:lnTo>
                    <a:pt x="204" y="10"/>
                  </a:lnTo>
                  <a:lnTo>
                    <a:pt x="209" y="15"/>
                  </a:lnTo>
                  <a:lnTo>
                    <a:pt x="214" y="20"/>
                  </a:lnTo>
                  <a:lnTo>
                    <a:pt x="220" y="25"/>
                  </a:lnTo>
                  <a:lnTo>
                    <a:pt x="223" y="32"/>
                  </a:lnTo>
                  <a:lnTo>
                    <a:pt x="231" y="56"/>
                  </a:lnTo>
                  <a:lnTo>
                    <a:pt x="243" y="93"/>
                  </a:lnTo>
                  <a:lnTo>
                    <a:pt x="252" y="128"/>
                  </a:lnTo>
                  <a:lnTo>
                    <a:pt x="258" y="148"/>
                  </a:lnTo>
                  <a:lnTo>
                    <a:pt x="259" y="151"/>
                  </a:lnTo>
                  <a:lnTo>
                    <a:pt x="259" y="153"/>
                  </a:lnTo>
                  <a:lnTo>
                    <a:pt x="258" y="156"/>
                  </a:lnTo>
                  <a:lnTo>
                    <a:pt x="256" y="158"/>
                  </a:lnTo>
                  <a:lnTo>
                    <a:pt x="251" y="161"/>
                  </a:lnTo>
                  <a:lnTo>
                    <a:pt x="247" y="162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65" name="Freeform 89"/>
            <p:cNvSpPr>
              <a:spLocks/>
            </p:cNvSpPr>
            <p:nvPr/>
          </p:nvSpPr>
          <p:spPr bwMode="auto">
            <a:xfrm>
              <a:off x="409575" y="5562600"/>
              <a:ext cx="630238" cy="233363"/>
            </a:xfrm>
            <a:custGeom>
              <a:avLst/>
              <a:gdLst>
                <a:gd name="T0" fmla="*/ 1492 w 1586"/>
                <a:gd name="T1" fmla="*/ 0 h 588"/>
                <a:gd name="T2" fmla="*/ 95 w 1586"/>
                <a:gd name="T3" fmla="*/ 0 h 588"/>
                <a:gd name="T4" fmla="*/ 95 w 1586"/>
                <a:gd name="T5" fmla="*/ 1 h 588"/>
                <a:gd name="T6" fmla="*/ 91 w 1586"/>
                <a:gd name="T7" fmla="*/ 4 h 588"/>
                <a:gd name="T8" fmla="*/ 80 w 1586"/>
                <a:gd name="T9" fmla="*/ 14 h 588"/>
                <a:gd name="T10" fmla="*/ 72 w 1586"/>
                <a:gd name="T11" fmla="*/ 24 h 588"/>
                <a:gd name="T12" fmla="*/ 64 w 1586"/>
                <a:gd name="T13" fmla="*/ 34 h 588"/>
                <a:gd name="T14" fmla="*/ 56 w 1586"/>
                <a:gd name="T15" fmla="*/ 47 h 588"/>
                <a:gd name="T16" fmla="*/ 47 w 1586"/>
                <a:gd name="T17" fmla="*/ 63 h 588"/>
                <a:gd name="T18" fmla="*/ 39 w 1586"/>
                <a:gd name="T19" fmla="*/ 82 h 588"/>
                <a:gd name="T20" fmla="*/ 30 w 1586"/>
                <a:gd name="T21" fmla="*/ 103 h 588"/>
                <a:gd name="T22" fmla="*/ 22 w 1586"/>
                <a:gd name="T23" fmla="*/ 126 h 588"/>
                <a:gd name="T24" fmla="*/ 16 w 1586"/>
                <a:gd name="T25" fmla="*/ 154 h 588"/>
                <a:gd name="T26" fmla="*/ 9 w 1586"/>
                <a:gd name="T27" fmla="*/ 183 h 588"/>
                <a:gd name="T28" fmla="*/ 5 w 1586"/>
                <a:gd name="T29" fmla="*/ 217 h 588"/>
                <a:gd name="T30" fmla="*/ 1 w 1586"/>
                <a:gd name="T31" fmla="*/ 254 h 588"/>
                <a:gd name="T32" fmla="*/ 0 w 1586"/>
                <a:gd name="T33" fmla="*/ 295 h 588"/>
                <a:gd name="T34" fmla="*/ 1 w 1586"/>
                <a:gd name="T35" fmla="*/ 334 h 588"/>
                <a:gd name="T36" fmla="*/ 5 w 1586"/>
                <a:gd name="T37" fmla="*/ 371 h 588"/>
                <a:gd name="T38" fmla="*/ 9 w 1586"/>
                <a:gd name="T39" fmla="*/ 405 h 588"/>
                <a:gd name="T40" fmla="*/ 16 w 1586"/>
                <a:gd name="T41" fmla="*/ 436 h 588"/>
                <a:gd name="T42" fmla="*/ 22 w 1586"/>
                <a:gd name="T43" fmla="*/ 462 h 588"/>
                <a:gd name="T44" fmla="*/ 30 w 1586"/>
                <a:gd name="T45" fmla="*/ 487 h 588"/>
                <a:gd name="T46" fmla="*/ 39 w 1586"/>
                <a:gd name="T47" fmla="*/ 508 h 588"/>
                <a:gd name="T48" fmla="*/ 47 w 1586"/>
                <a:gd name="T49" fmla="*/ 526 h 588"/>
                <a:gd name="T50" fmla="*/ 56 w 1586"/>
                <a:gd name="T51" fmla="*/ 541 h 588"/>
                <a:gd name="T52" fmla="*/ 64 w 1586"/>
                <a:gd name="T53" fmla="*/ 554 h 588"/>
                <a:gd name="T54" fmla="*/ 72 w 1586"/>
                <a:gd name="T55" fmla="*/ 566 h 588"/>
                <a:gd name="T56" fmla="*/ 80 w 1586"/>
                <a:gd name="T57" fmla="*/ 574 h 588"/>
                <a:gd name="T58" fmla="*/ 91 w 1586"/>
                <a:gd name="T59" fmla="*/ 584 h 588"/>
                <a:gd name="T60" fmla="*/ 95 w 1586"/>
                <a:gd name="T61" fmla="*/ 588 h 588"/>
                <a:gd name="T62" fmla="*/ 1492 w 1586"/>
                <a:gd name="T63" fmla="*/ 588 h 588"/>
                <a:gd name="T64" fmla="*/ 1492 w 1586"/>
                <a:gd name="T65" fmla="*/ 588 h 588"/>
                <a:gd name="T66" fmla="*/ 1496 w 1586"/>
                <a:gd name="T67" fmla="*/ 584 h 588"/>
                <a:gd name="T68" fmla="*/ 1507 w 1586"/>
                <a:gd name="T69" fmla="*/ 574 h 588"/>
                <a:gd name="T70" fmla="*/ 1513 w 1586"/>
                <a:gd name="T71" fmla="*/ 565 h 588"/>
                <a:gd name="T72" fmla="*/ 1521 w 1586"/>
                <a:gd name="T73" fmla="*/ 554 h 588"/>
                <a:gd name="T74" fmla="*/ 1530 w 1586"/>
                <a:gd name="T75" fmla="*/ 541 h 588"/>
                <a:gd name="T76" fmla="*/ 1538 w 1586"/>
                <a:gd name="T77" fmla="*/ 525 h 588"/>
                <a:gd name="T78" fmla="*/ 1547 w 1586"/>
                <a:gd name="T79" fmla="*/ 507 h 588"/>
                <a:gd name="T80" fmla="*/ 1555 w 1586"/>
                <a:gd name="T81" fmla="*/ 486 h 588"/>
                <a:gd name="T82" fmla="*/ 1565 w 1586"/>
                <a:gd name="T83" fmla="*/ 462 h 588"/>
                <a:gd name="T84" fmla="*/ 1571 w 1586"/>
                <a:gd name="T85" fmla="*/ 436 h 588"/>
                <a:gd name="T86" fmla="*/ 1576 w 1586"/>
                <a:gd name="T87" fmla="*/ 405 h 588"/>
                <a:gd name="T88" fmla="*/ 1582 w 1586"/>
                <a:gd name="T89" fmla="*/ 371 h 588"/>
                <a:gd name="T90" fmla="*/ 1584 w 1586"/>
                <a:gd name="T91" fmla="*/ 334 h 588"/>
                <a:gd name="T92" fmla="*/ 1586 w 1586"/>
                <a:gd name="T93" fmla="*/ 295 h 588"/>
                <a:gd name="T94" fmla="*/ 1584 w 1586"/>
                <a:gd name="T95" fmla="*/ 254 h 588"/>
                <a:gd name="T96" fmla="*/ 1582 w 1586"/>
                <a:gd name="T97" fmla="*/ 217 h 588"/>
                <a:gd name="T98" fmla="*/ 1576 w 1586"/>
                <a:gd name="T99" fmla="*/ 183 h 588"/>
                <a:gd name="T100" fmla="*/ 1571 w 1586"/>
                <a:gd name="T101" fmla="*/ 154 h 588"/>
                <a:gd name="T102" fmla="*/ 1565 w 1586"/>
                <a:gd name="T103" fmla="*/ 126 h 588"/>
                <a:gd name="T104" fmla="*/ 1555 w 1586"/>
                <a:gd name="T105" fmla="*/ 103 h 588"/>
                <a:gd name="T106" fmla="*/ 1547 w 1586"/>
                <a:gd name="T107" fmla="*/ 82 h 588"/>
                <a:gd name="T108" fmla="*/ 1538 w 1586"/>
                <a:gd name="T109" fmla="*/ 63 h 588"/>
                <a:gd name="T110" fmla="*/ 1530 w 1586"/>
                <a:gd name="T111" fmla="*/ 47 h 588"/>
                <a:gd name="T112" fmla="*/ 1521 w 1586"/>
                <a:gd name="T113" fmla="*/ 34 h 588"/>
                <a:gd name="T114" fmla="*/ 1513 w 1586"/>
                <a:gd name="T115" fmla="*/ 24 h 588"/>
                <a:gd name="T116" fmla="*/ 1507 w 1586"/>
                <a:gd name="T117" fmla="*/ 14 h 588"/>
                <a:gd name="T118" fmla="*/ 1496 w 1586"/>
                <a:gd name="T119" fmla="*/ 4 h 588"/>
                <a:gd name="T120" fmla="*/ 1492 w 1586"/>
                <a:gd name="T121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86" h="588">
                  <a:moveTo>
                    <a:pt x="1492" y="0"/>
                  </a:moveTo>
                  <a:lnTo>
                    <a:pt x="95" y="0"/>
                  </a:lnTo>
                  <a:lnTo>
                    <a:pt x="95" y="1"/>
                  </a:lnTo>
                  <a:lnTo>
                    <a:pt x="91" y="4"/>
                  </a:lnTo>
                  <a:lnTo>
                    <a:pt x="80" y="14"/>
                  </a:lnTo>
                  <a:lnTo>
                    <a:pt x="72" y="24"/>
                  </a:lnTo>
                  <a:lnTo>
                    <a:pt x="64" y="34"/>
                  </a:lnTo>
                  <a:lnTo>
                    <a:pt x="56" y="47"/>
                  </a:lnTo>
                  <a:lnTo>
                    <a:pt x="47" y="63"/>
                  </a:lnTo>
                  <a:lnTo>
                    <a:pt x="39" y="82"/>
                  </a:lnTo>
                  <a:lnTo>
                    <a:pt x="30" y="103"/>
                  </a:lnTo>
                  <a:lnTo>
                    <a:pt x="22" y="126"/>
                  </a:lnTo>
                  <a:lnTo>
                    <a:pt x="16" y="154"/>
                  </a:lnTo>
                  <a:lnTo>
                    <a:pt x="9" y="183"/>
                  </a:lnTo>
                  <a:lnTo>
                    <a:pt x="5" y="217"/>
                  </a:lnTo>
                  <a:lnTo>
                    <a:pt x="1" y="254"/>
                  </a:lnTo>
                  <a:lnTo>
                    <a:pt x="0" y="295"/>
                  </a:lnTo>
                  <a:lnTo>
                    <a:pt x="1" y="334"/>
                  </a:lnTo>
                  <a:lnTo>
                    <a:pt x="5" y="371"/>
                  </a:lnTo>
                  <a:lnTo>
                    <a:pt x="9" y="405"/>
                  </a:lnTo>
                  <a:lnTo>
                    <a:pt x="16" y="436"/>
                  </a:lnTo>
                  <a:lnTo>
                    <a:pt x="22" y="462"/>
                  </a:lnTo>
                  <a:lnTo>
                    <a:pt x="30" y="487"/>
                  </a:lnTo>
                  <a:lnTo>
                    <a:pt x="39" y="508"/>
                  </a:lnTo>
                  <a:lnTo>
                    <a:pt x="47" y="526"/>
                  </a:lnTo>
                  <a:lnTo>
                    <a:pt x="56" y="541"/>
                  </a:lnTo>
                  <a:lnTo>
                    <a:pt x="64" y="554"/>
                  </a:lnTo>
                  <a:lnTo>
                    <a:pt x="72" y="566"/>
                  </a:lnTo>
                  <a:lnTo>
                    <a:pt x="80" y="574"/>
                  </a:lnTo>
                  <a:lnTo>
                    <a:pt x="91" y="584"/>
                  </a:lnTo>
                  <a:lnTo>
                    <a:pt x="95" y="588"/>
                  </a:lnTo>
                  <a:lnTo>
                    <a:pt x="1492" y="588"/>
                  </a:lnTo>
                  <a:lnTo>
                    <a:pt x="1492" y="588"/>
                  </a:lnTo>
                  <a:lnTo>
                    <a:pt x="1496" y="584"/>
                  </a:lnTo>
                  <a:lnTo>
                    <a:pt x="1507" y="574"/>
                  </a:lnTo>
                  <a:lnTo>
                    <a:pt x="1513" y="565"/>
                  </a:lnTo>
                  <a:lnTo>
                    <a:pt x="1521" y="554"/>
                  </a:lnTo>
                  <a:lnTo>
                    <a:pt x="1530" y="541"/>
                  </a:lnTo>
                  <a:lnTo>
                    <a:pt x="1538" y="525"/>
                  </a:lnTo>
                  <a:lnTo>
                    <a:pt x="1547" y="507"/>
                  </a:lnTo>
                  <a:lnTo>
                    <a:pt x="1555" y="486"/>
                  </a:lnTo>
                  <a:lnTo>
                    <a:pt x="1565" y="462"/>
                  </a:lnTo>
                  <a:lnTo>
                    <a:pt x="1571" y="436"/>
                  </a:lnTo>
                  <a:lnTo>
                    <a:pt x="1576" y="405"/>
                  </a:lnTo>
                  <a:lnTo>
                    <a:pt x="1582" y="371"/>
                  </a:lnTo>
                  <a:lnTo>
                    <a:pt x="1584" y="334"/>
                  </a:lnTo>
                  <a:lnTo>
                    <a:pt x="1586" y="295"/>
                  </a:lnTo>
                  <a:lnTo>
                    <a:pt x="1584" y="254"/>
                  </a:lnTo>
                  <a:lnTo>
                    <a:pt x="1582" y="217"/>
                  </a:lnTo>
                  <a:lnTo>
                    <a:pt x="1576" y="183"/>
                  </a:lnTo>
                  <a:lnTo>
                    <a:pt x="1571" y="154"/>
                  </a:lnTo>
                  <a:lnTo>
                    <a:pt x="1565" y="126"/>
                  </a:lnTo>
                  <a:lnTo>
                    <a:pt x="1555" y="103"/>
                  </a:lnTo>
                  <a:lnTo>
                    <a:pt x="1547" y="82"/>
                  </a:lnTo>
                  <a:lnTo>
                    <a:pt x="1538" y="63"/>
                  </a:lnTo>
                  <a:lnTo>
                    <a:pt x="1530" y="47"/>
                  </a:lnTo>
                  <a:lnTo>
                    <a:pt x="1521" y="34"/>
                  </a:lnTo>
                  <a:lnTo>
                    <a:pt x="1513" y="24"/>
                  </a:lnTo>
                  <a:lnTo>
                    <a:pt x="1507" y="14"/>
                  </a:lnTo>
                  <a:lnTo>
                    <a:pt x="1496" y="4"/>
                  </a:lnTo>
                  <a:lnTo>
                    <a:pt x="1492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66" name="Freeform 90"/>
            <p:cNvSpPr>
              <a:spLocks noEditPoints="1"/>
            </p:cNvSpPr>
            <p:nvPr/>
          </p:nvSpPr>
          <p:spPr bwMode="auto">
            <a:xfrm>
              <a:off x="404813" y="5557838"/>
              <a:ext cx="639763" cy="242888"/>
            </a:xfrm>
            <a:custGeom>
              <a:avLst/>
              <a:gdLst>
                <a:gd name="T0" fmla="*/ 1499 w 1609"/>
                <a:gd name="T1" fmla="*/ 588 h 612"/>
                <a:gd name="T2" fmla="*/ 1519 w 1609"/>
                <a:gd name="T3" fmla="*/ 567 h 612"/>
                <a:gd name="T4" fmla="*/ 1532 w 1609"/>
                <a:gd name="T5" fmla="*/ 545 h 612"/>
                <a:gd name="T6" fmla="*/ 1548 w 1609"/>
                <a:gd name="T7" fmla="*/ 516 h 612"/>
                <a:gd name="T8" fmla="*/ 1562 w 1609"/>
                <a:gd name="T9" fmla="*/ 478 h 612"/>
                <a:gd name="T10" fmla="*/ 1574 w 1609"/>
                <a:gd name="T11" fmla="*/ 432 h 612"/>
                <a:gd name="T12" fmla="*/ 1583 w 1609"/>
                <a:gd name="T13" fmla="*/ 374 h 612"/>
                <a:gd name="T14" fmla="*/ 1586 w 1609"/>
                <a:gd name="T15" fmla="*/ 307 h 612"/>
                <a:gd name="T16" fmla="*/ 1583 w 1609"/>
                <a:gd name="T17" fmla="*/ 238 h 612"/>
                <a:gd name="T18" fmla="*/ 1574 w 1609"/>
                <a:gd name="T19" fmla="*/ 182 h 612"/>
                <a:gd name="T20" fmla="*/ 1562 w 1609"/>
                <a:gd name="T21" fmla="*/ 134 h 612"/>
                <a:gd name="T22" fmla="*/ 1548 w 1609"/>
                <a:gd name="T23" fmla="*/ 97 h 612"/>
                <a:gd name="T24" fmla="*/ 1533 w 1609"/>
                <a:gd name="T25" fmla="*/ 69 h 612"/>
                <a:gd name="T26" fmla="*/ 1519 w 1609"/>
                <a:gd name="T27" fmla="*/ 46 h 612"/>
                <a:gd name="T28" fmla="*/ 1499 w 1609"/>
                <a:gd name="T29" fmla="*/ 24 h 612"/>
                <a:gd name="T30" fmla="*/ 104 w 1609"/>
                <a:gd name="T31" fmla="*/ 32 h 612"/>
                <a:gd name="T32" fmla="*/ 85 w 1609"/>
                <a:gd name="T33" fmla="*/ 55 h 612"/>
                <a:gd name="T34" fmla="*/ 71 w 1609"/>
                <a:gd name="T35" fmla="*/ 80 h 612"/>
                <a:gd name="T36" fmla="*/ 55 w 1609"/>
                <a:gd name="T37" fmla="*/ 115 h 612"/>
                <a:gd name="T38" fmla="*/ 42 w 1609"/>
                <a:gd name="T39" fmla="*/ 157 h 612"/>
                <a:gd name="T40" fmla="*/ 32 w 1609"/>
                <a:gd name="T41" fmla="*/ 208 h 612"/>
                <a:gd name="T42" fmla="*/ 25 w 1609"/>
                <a:gd name="T43" fmla="*/ 271 h 612"/>
                <a:gd name="T44" fmla="*/ 25 w 1609"/>
                <a:gd name="T45" fmla="*/ 341 h 612"/>
                <a:gd name="T46" fmla="*/ 32 w 1609"/>
                <a:gd name="T47" fmla="*/ 403 h 612"/>
                <a:gd name="T48" fmla="*/ 41 w 1609"/>
                <a:gd name="T49" fmla="*/ 455 h 612"/>
                <a:gd name="T50" fmla="*/ 55 w 1609"/>
                <a:gd name="T51" fmla="*/ 498 h 612"/>
                <a:gd name="T52" fmla="*/ 70 w 1609"/>
                <a:gd name="T53" fmla="*/ 530 h 612"/>
                <a:gd name="T54" fmla="*/ 84 w 1609"/>
                <a:gd name="T55" fmla="*/ 557 h 612"/>
                <a:gd name="T56" fmla="*/ 103 w 1609"/>
                <a:gd name="T57" fmla="*/ 580 h 612"/>
                <a:gd name="T58" fmla="*/ 1504 w 1609"/>
                <a:gd name="T59" fmla="*/ 612 h 612"/>
                <a:gd name="T60" fmla="*/ 103 w 1609"/>
                <a:gd name="T61" fmla="*/ 612 h 612"/>
                <a:gd name="T62" fmla="*/ 95 w 1609"/>
                <a:gd name="T63" fmla="*/ 605 h 612"/>
                <a:gd name="T64" fmla="*/ 75 w 1609"/>
                <a:gd name="T65" fmla="*/ 584 h 612"/>
                <a:gd name="T66" fmla="*/ 58 w 1609"/>
                <a:gd name="T67" fmla="*/ 559 h 612"/>
                <a:gd name="T68" fmla="*/ 39 w 1609"/>
                <a:gd name="T69" fmla="*/ 524 h 612"/>
                <a:gd name="T70" fmla="*/ 22 w 1609"/>
                <a:gd name="T71" fmla="*/ 478 h 612"/>
                <a:gd name="T72" fmla="*/ 9 w 1609"/>
                <a:gd name="T73" fmla="*/ 419 h 612"/>
                <a:gd name="T74" fmla="*/ 1 w 1609"/>
                <a:gd name="T75" fmla="*/ 348 h 612"/>
                <a:gd name="T76" fmla="*/ 1 w 1609"/>
                <a:gd name="T77" fmla="*/ 267 h 612"/>
                <a:gd name="T78" fmla="*/ 8 w 1609"/>
                <a:gd name="T79" fmla="*/ 200 h 612"/>
                <a:gd name="T80" fmla="*/ 20 w 1609"/>
                <a:gd name="T81" fmla="*/ 144 h 612"/>
                <a:gd name="T82" fmla="*/ 35 w 1609"/>
                <a:gd name="T83" fmla="*/ 99 h 612"/>
                <a:gd name="T84" fmla="*/ 53 w 1609"/>
                <a:gd name="T85" fmla="*/ 63 h 612"/>
                <a:gd name="T86" fmla="*/ 70 w 1609"/>
                <a:gd name="T87" fmla="*/ 36 h 612"/>
                <a:gd name="T88" fmla="*/ 89 w 1609"/>
                <a:gd name="T89" fmla="*/ 12 h 612"/>
                <a:gd name="T90" fmla="*/ 101 w 1609"/>
                <a:gd name="T91" fmla="*/ 1 h 612"/>
                <a:gd name="T92" fmla="*/ 1504 w 1609"/>
                <a:gd name="T93" fmla="*/ 0 h 612"/>
                <a:gd name="T94" fmla="*/ 1511 w 1609"/>
                <a:gd name="T95" fmla="*/ 3 h 612"/>
                <a:gd name="T96" fmla="*/ 1528 w 1609"/>
                <a:gd name="T97" fmla="*/ 20 h 612"/>
                <a:gd name="T98" fmla="*/ 1544 w 1609"/>
                <a:gd name="T99" fmla="*/ 40 h 612"/>
                <a:gd name="T100" fmla="*/ 1562 w 1609"/>
                <a:gd name="T101" fmla="*/ 70 h 612"/>
                <a:gd name="T102" fmla="*/ 1579 w 1609"/>
                <a:gd name="T103" fmla="*/ 111 h 612"/>
                <a:gd name="T104" fmla="*/ 1595 w 1609"/>
                <a:gd name="T105" fmla="*/ 163 h 612"/>
                <a:gd name="T106" fmla="*/ 1605 w 1609"/>
                <a:gd name="T107" fmla="*/ 228 h 612"/>
                <a:gd name="T108" fmla="*/ 1609 w 1609"/>
                <a:gd name="T109" fmla="*/ 307 h 612"/>
                <a:gd name="T110" fmla="*/ 1605 w 1609"/>
                <a:gd name="T111" fmla="*/ 380 h 612"/>
                <a:gd name="T112" fmla="*/ 1596 w 1609"/>
                <a:gd name="T113" fmla="*/ 442 h 612"/>
                <a:gd name="T114" fmla="*/ 1583 w 1609"/>
                <a:gd name="T115" fmla="*/ 494 h 612"/>
                <a:gd name="T116" fmla="*/ 1566 w 1609"/>
                <a:gd name="T117" fmla="*/ 533 h 612"/>
                <a:gd name="T118" fmla="*/ 1549 w 1609"/>
                <a:gd name="T119" fmla="*/ 565 h 612"/>
                <a:gd name="T120" fmla="*/ 1533 w 1609"/>
                <a:gd name="T121" fmla="*/ 587 h 612"/>
                <a:gd name="T122" fmla="*/ 1512 w 1609"/>
                <a:gd name="T123" fmla="*/ 608 h 612"/>
                <a:gd name="T124" fmla="*/ 1504 w 1609"/>
                <a:gd name="T125" fmla="*/ 61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9" h="612">
                  <a:moveTo>
                    <a:pt x="110" y="588"/>
                  </a:moveTo>
                  <a:lnTo>
                    <a:pt x="1499" y="588"/>
                  </a:lnTo>
                  <a:lnTo>
                    <a:pt x="1507" y="580"/>
                  </a:lnTo>
                  <a:lnTo>
                    <a:pt x="1519" y="567"/>
                  </a:lnTo>
                  <a:lnTo>
                    <a:pt x="1525" y="557"/>
                  </a:lnTo>
                  <a:lnTo>
                    <a:pt x="1532" y="545"/>
                  </a:lnTo>
                  <a:lnTo>
                    <a:pt x="1540" y="532"/>
                  </a:lnTo>
                  <a:lnTo>
                    <a:pt x="1548" y="516"/>
                  </a:lnTo>
                  <a:lnTo>
                    <a:pt x="1554" y="499"/>
                  </a:lnTo>
                  <a:lnTo>
                    <a:pt x="1562" y="478"/>
                  </a:lnTo>
                  <a:lnTo>
                    <a:pt x="1569" y="455"/>
                  </a:lnTo>
                  <a:lnTo>
                    <a:pt x="1574" y="432"/>
                  </a:lnTo>
                  <a:lnTo>
                    <a:pt x="1579" y="404"/>
                  </a:lnTo>
                  <a:lnTo>
                    <a:pt x="1583" y="374"/>
                  </a:lnTo>
                  <a:lnTo>
                    <a:pt x="1584" y="341"/>
                  </a:lnTo>
                  <a:lnTo>
                    <a:pt x="1586" y="307"/>
                  </a:lnTo>
                  <a:lnTo>
                    <a:pt x="1584" y="271"/>
                  </a:lnTo>
                  <a:lnTo>
                    <a:pt x="1583" y="238"/>
                  </a:lnTo>
                  <a:lnTo>
                    <a:pt x="1579" y="209"/>
                  </a:lnTo>
                  <a:lnTo>
                    <a:pt x="1574" y="182"/>
                  </a:lnTo>
                  <a:lnTo>
                    <a:pt x="1569" y="157"/>
                  </a:lnTo>
                  <a:lnTo>
                    <a:pt x="1562" y="134"/>
                  </a:lnTo>
                  <a:lnTo>
                    <a:pt x="1555" y="115"/>
                  </a:lnTo>
                  <a:lnTo>
                    <a:pt x="1548" y="97"/>
                  </a:lnTo>
                  <a:lnTo>
                    <a:pt x="1541" y="82"/>
                  </a:lnTo>
                  <a:lnTo>
                    <a:pt x="1533" y="69"/>
                  </a:lnTo>
                  <a:lnTo>
                    <a:pt x="1527" y="57"/>
                  </a:lnTo>
                  <a:lnTo>
                    <a:pt x="1519" y="46"/>
                  </a:lnTo>
                  <a:lnTo>
                    <a:pt x="1507" y="32"/>
                  </a:lnTo>
                  <a:lnTo>
                    <a:pt x="1499" y="24"/>
                  </a:lnTo>
                  <a:lnTo>
                    <a:pt x="112" y="24"/>
                  </a:lnTo>
                  <a:lnTo>
                    <a:pt x="104" y="32"/>
                  </a:lnTo>
                  <a:lnTo>
                    <a:pt x="92" y="46"/>
                  </a:lnTo>
                  <a:lnTo>
                    <a:pt x="85" y="55"/>
                  </a:lnTo>
                  <a:lnTo>
                    <a:pt x="78" y="67"/>
                  </a:lnTo>
                  <a:lnTo>
                    <a:pt x="71" y="80"/>
                  </a:lnTo>
                  <a:lnTo>
                    <a:pt x="63" y="96"/>
                  </a:lnTo>
                  <a:lnTo>
                    <a:pt x="55" y="115"/>
                  </a:lnTo>
                  <a:lnTo>
                    <a:pt x="49" y="134"/>
                  </a:lnTo>
                  <a:lnTo>
                    <a:pt x="42" y="157"/>
                  </a:lnTo>
                  <a:lnTo>
                    <a:pt x="35" y="182"/>
                  </a:lnTo>
                  <a:lnTo>
                    <a:pt x="32" y="208"/>
                  </a:lnTo>
                  <a:lnTo>
                    <a:pt x="28" y="238"/>
                  </a:lnTo>
                  <a:lnTo>
                    <a:pt x="25" y="271"/>
                  </a:lnTo>
                  <a:lnTo>
                    <a:pt x="25" y="307"/>
                  </a:lnTo>
                  <a:lnTo>
                    <a:pt x="25" y="341"/>
                  </a:lnTo>
                  <a:lnTo>
                    <a:pt x="28" y="374"/>
                  </a:lnTo>
                  <a:lnTo>
                    <a:pt x="32" y="403"/>
                  </a:lnTo>
                  <a:lnTo>
                    <a:pt x="35" y="430"/>
                  </a:lnTo>
                  <a:lnTo>
                    <a:pt x="41" y="455"/>
                  </a:lnTo>
                  <a:lnTo>
                    <a:pt x="47" y="478"/>
                  </a:lnTo>
                  <a:lnTo>
                    <a:pt x="55" y="498"/>
                  </a:lnTo>
                  <a:lnTo>
                    <a:pt x="62" y="515"/>
                  </a:lnTo>
                  <a:lnTo>
                    <a:pt x="70" y="530"/>
                  </a:lnTo>
                  <a:lnTo>
                    <a:pt x="76" y="545"/>
                  </a:lnTo>
                  <a:lnTo>
                    <a:pt x="84" y="557"/>
                  </a:lnTo>
                  <a:lnTo>
                    <a:pt x="91" y="566"/>
                  </a:lnTo>
                  <a:lnTo>
                    <a:pt x="103" y="580"/>
                  </a:lnTo>
                  <a:lnTo>
                    <a:pt x="110" y="588"/>
                  </a:lnTo>
                  <a:close/>
                  <a:moveTo>
                    <a:pt x="1504" y="612"/>
                  </a:moveTo>
                  <a:lnTo>
                    <a:pt x="107" y="612"/>
                  </a:lnTo>
                  <a:lnTo>
                    <a:pt x="103" y="612"/>
                  </a:lnTo>
                  <a:lnTo>
                    <a:pt x="100" y="609"/>
                  </a:lnTo>
                  <a:lnTo>
                    <a:pt x="95" y="605"/>
                  </a:lnTo>
                  <a:lnTo>
                    <a:pt x="83" y="594"/>
                  </a:lnTo>
                  <a:lnTo>
                    <a:pt x="75" y="584"/>
                  </a:lnTo>
                  <a:lnTo>
                    <a:pt x="66" y="573"/>
                  </a:lnTo>
                  <a:lnTo>
                    <a:pt x="58" y="559"/>
                  </a:lnTo>
                  <a:lnTo>
                    <a:pt x="49" y="542"/>
                  </a:lnTo>
                  <a:lnTo>
                    <a:pt x="39" y="524"/>
                  </a:lnTo>
                  <a:lnTo>
                    <a:pt x="30" y="501"/>
                  </a:lnTo>
                  <a:lnTo>
                    <a:pt x="22" y="478"/>
                  </a:lnTo>
                  <a:lnTo>
                    <a:pt x="16" y="450"/>
                  </a:lnTo>
                  <a:lnTo>
                    <a:pt x="9" y="419"/>
                  </a:lnTo>
                  <a:lnTo>
                    <a:pt x="4" y="384"/>
                  </a:lnTo>
                  <a:lnTo>
                    <a:pt x="1" y="348"/>
                  </a:lnTo>
                  <a:lnTo>
                    <a:pt x="0" y="307"/>
                  </a:lnTo>
                  <a:lnTo>
                    <a:pt x="1" y="267"/>
                  </a:lnTo>
                  <a:lnTo>
                    <a:pt x="4" y="232"/>
                  </a:lnTo>
                  <a:lnTo>
                    <a:pt x="8" y="200"/>
                  </a:lnTo>
                  <a:lnTo>
                    <a:pt x="13" y="170"/>
                  </a:lnTo>
                  <a:lnTo>
                    <a:pt x="20" y="144"/>
                  </a:lnTo>
                  <a:lnTo>
                    <a:pt x="28" y="120"/>
                  </a:lnTo>
                  <a:lnTo>
                    <a:pt x="35" y="99"/>
                  </a:lnTo>
                  <a:lnTo>
                    <a:pt x="43" y="79"/>
                  </a:lnTo>
                  <a:lnTo>
                    <a:pt x="53" y="63"/>
                  </a:lnTo>
                  <a:lnTo>
                    <a:pt x="60" y="49"/>
                  </a:lnTo>
                  <a:lnTo>
                    <a:pt x="70" y="36"/>
                  </a:lnTo>
                  <a:lnTo>
                    <a:pt x="76" y="26"/>
                  </a:lnTo>
                  <a:lnTo>
                    <a:pt x="89" y="12"/>
                  </a:lnTo>
                  <a:lnTo>
                    <a:pt x="97" y="4"/>
                  </a:lnTo>
                  <a:lnTo>
                    <a:pt x="101" y="1"/>
                  </a:lnTo>
                  <a:lnTo>
                    <a:pt x="107" y="0"/>
                  </a:lnTo>
                  <a:lnTo>
                    <a:pt x="1504" y="0"/>
                  </a:lnTo>
                  <a:lnTo>
                    <a:pt x="1507" y="1"/>
                  </a:lnTo>
                  <a:lnTo>
                    <a:pt x="1511" y="3"/>
                  </a:lnTo>
                  <a:lnTo>
                    <a:pt x="1516" y="7"/>
                  </a:lnTo>
                  <a:lnTo>
                    <a:pt x="1528" y="20"/>
                  </a:lnTo>
                  <a:lnTo>
                    <a:pt x="1536" y="29"/>
                  </a:lnTo>
                  <a:lnTo>
                    <a:pt x="1544" y="40"/>
                  </a:lnTo>
                  <a:lnTo>
                    <a:pt x="1553" y="54"/>
                  </a:lnTo>
                  <a:lnTo>
                    <a:pt x="1562" y="70"/>
                  </a:lnTo>
                  <a:lnTo>
                    <a:pt x="1571" y="88"/>
                  </a:lnTo>
                  <a:lnTo>
                    <a:pt x="1579" y="111"/>
                  </a:lnTo>
                  <a:lnTo>
                    <a:pt x="1587" y="136"/>
                  </a:lnTo>
                  <a:lnTo>
                    <a:pt x="1595" y="163"/>
                  </a:lnTo>
                  <a:lnTo>
                    <a:pt x="1600" y="194"/>
                  </a:lnTo>
                  <a:lnTo>
                    <a:pt x="1605" y="228"/>
                  </a:lnTo>
                  <a:lnTo>
                    <a:pt x="1608" y="265"/>
                  </a:lnTo>
                  <a:lnTo>
                    <a:pt x="1609" y="307"/>
                  </a:lnTo>
                  <a:lnTo>
                    <a:pt x="1608" y="345"/>
                  </a:lnTo>
                  <a:lnTo>
                    <a:pt x="1605" y="380"/>
                  </a:lnTo>
                  <a:lnTo>
                    <a:pt x="1602" y="413"/>
                  </a:lnTo>
                  <a:lnTo>
                    <a:pt x="1596" y="442"/>
                  </a:lnTo>
                  <a:lnTo>
                    <a:pt x="1590" y="469"/>
                  </a:lnTo>
                  <a:lnTo>
                    <a:pt x="1583" y="494"/>
                  </a:lnTo>
                  <a:lnTo>
                    <a:pt x="1574" y="515"/>
                  </a:lnTo>
                  <a:lnTo>
                    <a:pt x="1566" y="533"/>
                  </a:lnTo>
                  <a:lnTo>
                    <a:pt x="1558" y="550"/>
                  </a:lnTo>
                  <a:lnTo>
                    <a:pt x="1549" y="565"/>
                  </a:lnTo>
                  <a:lnTo>
                    <a:pt x="1541" y="577"/>
                  </a:lnTo>
                  <a:lnTo>
                    <a:pt x="1533" y="587"/>
                  </a:lnTo>
                  <a:lnTo>
                    <a:pt x="1520" y="600"/>
                  </a:lnTo>
                  <a:lnTo>
                    <a:pt x="1512" y="608"/>
                  </a:lnTo>
                  <a:lnTo>
                    <a:pt x="1508" y="611"/>
                  </a:lnTo>
                  <a:lnTo>
                    <a:pt x="1504" y="612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67" name="Rectangle 91"/>
            <p:cNvSpPr>
              <a:spLocks noChangeArrowheads="1"/>
            </p:cNvSpPr>
            <p:nvPr/>
          </p:nvSpPr>
          <p:spPr bwMode="auto">
            <a:xfrm>
              <a:off x="539750" y="5543550"/>
              <a:ext cx="73025" cy="19050"/>
            </a:xfrm>
            <a:prstGeom prst="rect">
              <a:avLst/>
            </a:pr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68" name="Freeform 92"/>
            <p:cNvSpPr>
              <a:spLocks noEditPoints="1"/>
            </p:cNvSpPr>
            <p:nvPr/>
          </p:nvSpPr>
          <p:spPr bwMode="auto">
            <a:xfrm>
              <a:off x="534988" y="5538788"/>
              <a:ext cx="82550" cy="28575"/>
            </a:xfrm>
            <a:custGeom>
              <a:avLst/>
              <a:gdLst>
                <a:gd name="T0" fmla="*/ 24 w 210"/>
                <a:gd name="T1" fmla="*/ 50 h 74"/>
                <a:gd name="T2" fmla="*/ 185 w 210"/>
                <a:gd name="T3" fmla="*/ 50 h 74"/>
                <a:gd name="T4" fmla="*/ 185 w 210"/>
                <a:gd name="T5" fmla="*/ 25 h 74"/>
                <a:gd name="T6" fmla="*/ 24 w 210"/>
                <a:gd name="T7" fmla="*/ 25 h 74"/>
                <a:gd name="T8" fmla="*/ 24 w 210"/>
                <a:gd name="T9" fmla="*/ 50 h 74"/>
                <a:gd name="T10" fmla="*/ 198 w 210"/>
                <a:gd name="T11" fmla="*/ 74 h 74"/>
                <a:gd name="T12" fmla="*/ 12 w 210"/>
                <a:gd name="T13" fmla="*/ 74 h 74"/>
                <a:gd name="T14" fmla="*/ 7 w 210"/>
                <a:gd name="T15" fmla="*/ 74 h 74"/>
                <a:gd name="T16" fmla="*/ 3 w 210"/>
                <a:gd name="T17" fmla="*/ 71 h 74"/>
                <a:gd name="T18" fmla="*/ 0 w 210"/>
                <a:gd name="T19" fmla="*/ 67 h 74"/>
                <a:gd name="T20" fmla="*/ 0 w 210"/>
                <a:gd name="T21" fmla="*/ 62 h 74"/>
                <a:gd name="T22" fmla="*/ 0 w 210"/>
                <a:gd name="T23" fmla="*/ 13 h 74"/>
                <a:gd name="T24" fmla="*/ 0 w 210"/>
                <a:gd name="T25" fmla="*/ 8 h 74"/>
                <a:gd name="T26" fmla="*/ 3 w 210"/>
                <a:gd name="T27" fmla="*/ 4 h 74"/>
                <a:gd name="T28" fmla="*/ 7 w 210"/>
                <a:gd name="T29" fmla="*/ 1 h 74"/>
                <a:gd name="T30" fmla="*/ 12 w 210"/>
                <a:gd name="T31" fmla="*/ 0 h 74"/>
                <a:gd name="T32" fmla="*/ 198 w 210"/>
                <a:gd name="T33" fmla="*/ 0 h 74"/>
                <a:gd name="T34" fmla="*/ 202 w 210"/>
                <a:gd name="T35" fmla="*/ 1 h 74"/>
                <a:gd name="T36" fmla="*/ 206 w 210"/>
                <a:gd name="T37" fmla="*/ 4 h 74"/>
                <a:gd name="T38" fmla="*/ 208 w 210"/>
                <a:gd name="T39" fmla="*/ 8 h 74"/>
                <a:gd name="T40" fmla="*/ 210 w 210"/>
                <a:gd name="T41" fmla="*/ 13 h 74"/>
                <a:gd name="T42" fmla="*/ 210 w 210"/>
                <a:gd name="T43" fmla="*/ 62 h 74"/>
                <a:gd name="T44" fmla="*/ 208 w 210"/>
                <a:gd name="T45" fmla="*/ 67 h 74"/>
                <a:gd name="T46" fmla="*/ 206 w 210"/>
                <a:gd name="T47" fmla="*/ 71 h 74"/>
                <a:gd name="T48" fmla="*/ 202 w 210"/>
                <a:gd name="T49" fmla="*/ 74 h 74"/>
                <a:gd name="T50" fmla="*/ 198 w 210"/>
                <a:gd name="T5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0" h="74">
                  <a:moveTo>
                    <a:pt x="24" y="50"/>
                  </a:moveTo>
                  <a:lnTo>
                    <a:pt x="185" y="50"/>
                  </a:lnTo>
                  <a:lnTo>
                    <a:pt x="185" y="25"/>
                  </a:lnTo>
                  <a:lnTo>
                    <a:pt x="24" y="25"/>
                  </a:lnTo>
                  <a:lnTo>
                    <a:pt x="24" y="50"/>
                  </a:lnTo>
                  <a:close/>
                  <a:moveTo>
                    <a:pt x="198" y="74"/>
                  </a:moveTo>
                  <a:lnTo>
                    <a:pt x="12" y="74"/>
                  </a:lnTo>
                  <a:lnTo>
                    <a:pt x="7" y="74"/>
                  </a:lnTo>
                  <a:lnTo>
                    <a:pt x="3" y="71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98" y="0"/>
                  </a:lnTo>
                  <a:lnTo>
                    <a:pt x="202" y="1"/>
                  </a:lnTo>
                  <a:lnTo>
                    <a:pt x="206" y="4"/>
                  </a:lnTo>
                  <a:lnTo>
                    <a:pt x="208" y="8"/>
                  </a:lnTo>
                  <a:lnTo>
                    <a:pt x="210" y="13"/>
                  </a:lnTo>
                  <a:lnTo>
                    <a:pt x="210" y="62"/>
                  </a:lnTo>
                  <a:lnTo>
                    <a:pt x="208" y="67"/>
                  </a:lnTo>
                  <a:lnTo>
                    <a:pt x="206" y="71"/>
                  </a:lnTo>
                  <a:lnTo>
                    <a:pt x="202" y="74"/>
                  </a:lnTo>
                  <a:lnTo>
                    <a:pt x="198" y="7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69" name="Freeform 93"/>
            <p:cNvSpPr>
              <a:spLocks/>
            </p:cNvSpPr>
            <p:nvPr/>
          </p:nvSpPr>
          <p:spPr bwMode="auto">
            <a:xfrm>
              <a:off x="527050" y="5521325"/>
              <a:ext cx="96838" cy="22225"/>
            </a:xfrm>
            <a:custGeom>
              <a:avLst/>
              <a:gdLst>
                <a:gd name="T0" fmla="*/ 231 w 248"/>
                <a:gd name="T1" fmla="*/ 54 h 54"/>
                <a:gd name="T2" fmla="*/ 19 w 248"/>
                <a:gd name="T3" fmla="*/ 54 h 54"/>
                <a:gd name="T4" fmla="*/ 15 w 248"/>
                <a:gd name="T5" fmla="*/ 53 h 54"/>
                <a:gd name="T6" fmla="*/ 11 w 248"/>
                <a:gd name="T7" fmla="*/ 53 h 54"/>
                <a:gd name="T8" fmla="*/ 8 w 248"/>
                <a:gd name="T9" fmla="*/ 50 h 54"/>
                <a:gd name="T10" fmla="*/ 6 w 248"/>
                <a:gd name="T11" fmla="*/ 49 h 54"/>
                <a:gd name="T12" fmla="*/ 4 w 248"/>
                <a:gd name="T13" fmla="*/ 46 h 54"/>
                <a:gd name="T14" fmla="*/ 2 w 248"/>
                <a:gd name="T15" fmla="*/ 42 h 54"/>
                <a:gd name="T16" fmla="*/ 2 w 248"/>
                <a:gd name="T17" fmla="*/ 40 h 54"/>
                <a:gd name="T18" fmla="*/ 0 w 248"/>
                <a:gd name="T19" fmla="*/ 36 h 54"/>
                <a:gd name="T20" fmla="*/ 0 w 248"/>
                <a:gd name="T21" fmla="*/ 19 h 54"/>
                <a:gd name="T22" fmla="*/ 2 w 248"/>
                <a:gd name="T23" fmla="*/ 12 h 54"/>
                <a:gd name="T24" fmla="*/ 6 w 248"/>
                <a:gd name="T25" fmla="*/ 6 h 54"/>
                <a:gd name="T26" fmla="*/ 8 w 248"/>
                <a:gd name="T27" fmla="*/ 4 h 54"/>
                <a:gd name="T28" fmla="*/ 11 w 248"/>
                <a:gd name="T29" fmla="*/ 2 h 54"/>
                <a:gd name="T30" fmla="*/ 15 w 248"/>
                <a:gd name="T31" fmla="*/ 2 h 54"/>
                <a:gd name="T32" fmla="*/ 19 w 248"/>
                <a:gd name="T33" fmla="*/ 0 h 54"/>
                <a:gd name="T34" fmla="*/ 231 w 248"/>
                <a:gd name="T35" fmla="*/ 0 h 54"/>
                <a:gd name="T36" fmla="*/ 233 w 248"/>
                <a:gd name="T37" fmla="*/ 2 h 54"/>
                <a:gd name="T38" fmla="*/ 237 w 248"/>
                <a:gd name="T39" fmla="*/ 2 h 54"/>
                <a:gd name="T40" fmla="*/ 240 w 248"/>
                <a:gd name="T41" fmla="*/ 4 h 54"/>
                <a:gd name="T42" fmla="*/ 242 w 248"/>
                <a:gd name="T43" fmla="*/ 6 h 54"/>
                <a:gd name="T44" fmla="*/ 245 w 248"/>
                <a:gd name="T45" fmla="*/ 8 h 54"/>
                <a:gd name="T46" fmla="*/ 246 w 248"/>
                <a:gd name="T47" fmla="*/ 12 h 54"/>
                <a:gd name="T48" fmla="*/ 248 w 248"/>
                <a:gd name="T49" fmla="*/ 15 h 54"/>
                <a:gd name="T50" fmla="*/ 248 w 248"/>
                <a:gd name="T51" fmla="*/ 19 h 54"/>
                <a:gd name="T52" fmla="*/ 248 w 248"/>
                <a:gd name="T53" fmla="*/ 36 h 54"/>
                <a:gd name="T54" fmla="*/ 248 w 248"/>
                <a:gd name="T55" fmla="*/ 40 h 54"/>
                <a:gd name="T56" fmla="*/ 246 w 248"/>
                <a:gd name="T57" fmla="*/ 42 h 54"/>
                <a:gd name="T58" fmla="*/ 245 w 248"/>
                <a:gd name="T59" fmla="*/ 46 h 54"/>
                <a:gd name="T60" fmla="*/ 242 w 248"/>
                <a:gd name="T61" fmla="*/ 49 h 54"/>
                <a:gd name="T62" fmla="*/ 240 w 248"/>
                <a:gd name="T63" fmla="*/ 50 h 54"/>
                <a:gd name="T64" fmla="*/ 237 w 248"/>
                <a:gd name="T65" fmla="*/ 53 h 54"/>
                <a:gd name="T66" fmla="*/ 233 w 248"/>
                <a:gd name="T67" fmla="*/ 53 h 54"/>
                <a:gd name="T68" fmla="*/ 231 w 248"/>
                <a:gd name="T6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8" h="54">
                  <a:moveTo>
                    <a:pt x="231" y="54"/>
                  </a:moveTo>
                  <a:lnTo>
                    <a:pt x="19" y="54"/>
                  </a:lnTo>
                  <a:lnTo>
                    <a:pt x="15" y="53"/>
                  </a:lnTo>
                  <a:lnTo>
                    <a:pt x="11" y="53"/>
                  </a:lnTo>
                  <a:lnTo>
                    <a:pt x="8" y="50"/>
                  </a:lnTo>
                  <a:lnTo>
                    <a:pt x="6" y="49"/>
                  </a:lnTo>
                  <a:lnTo>
                    <a:pt x="4" y="46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2" y="12"/>
                  </a:lnTo>
                  <a:lnTo>
                    <a:pt x="6" y="6"/>
                  </a:lnTo>
                  <a:lnTo>
                    <a:pt x="8" y="4"/>
                  </a:lnTo>
                  <a:lnTo>
                    <a:pt x="11" y="2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31" y="0"/>
                  </a:lnTo>
                  <a:lnTo>
                    <a:pt x="233" y="2"/>
                  </a:lnTo>
                  <a:lnTo>
                    <a:pt x="237" y="2"/>
                  </a:lnTo>
                  <a:lnTo>
                    <a:pt x="240" y="4"/>
                  </a:lnTo>
                  <a:lnTo>
                    <a:pt x="242" y="6"/>
                  </a:lnTo>
                  <a:lnTo>
                    <a:pt x="245" y="8"/>
                  </a:lnTo>
                  <a:lnTo>
                    <a:pt x="246" y="12"/>
                  </a:lnTo>
                  <a:lnTo>
                    <a:pt x="248" y="15"/>
                  </a:lnTo>
                  <a:lnTo>
                    <a:pt x="248" y="19"/>
                  </a:lnTo>
                  <a:lnTo>
                    <a:pt x="248" y="36"/>
                  </a:lnTo>
                  <a:lnTo>
                    <a:pt x="248" y="40"/>
                  </a:lnTo>
                  <a:lnTo>
                    <a:pt x="246" y="42"/>
                  </a:lnTo>
                  <a:lnTo>
                    <a:pt x="245" y="46"/>
                  </a:lnTo>
                  <a:lnTo>
                    <a:pt x="242" y="49"/>
                  </a:lnTo>
                  <a:lnTo>
                    <a:pt x="240" y="50"/>
                  </a:lnTo>
                  <a:lnTo>
                    <a:pt x="237" y="53"/>
                  </a:lnTo>
                  <a:lnTo>
                    <a:pt x="233" y="53"/>
                  </a:lnTo>
                  <a:lnTo>
                    <a:pt x="231" y="54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70" name="Freeform 94"/>
            <p:cNvSpPr>
              <a:spLocks noEditPoints="1"/>
            </p:cNvSpPr>
            <p:nvPr/>
          </p:nvSpPr>
          <p:spPr bwMode="auto">
            <a:xfrm>
              <a:off x="522288" y="5516563"/>
              <a:ext cx="106363" cy="31750"/>
            </a:xfrm>
            <a:custGeom>
              <a:avLst/>
              <a:gdLst>
                <a:gd name="T0" fmla="*/ 31 w 272"/>
                <a:gd name="T1" fmla="*/ 25 h 78"/>
                <a:gd name="T2" fmla="*/ 28 w 272"/>
                <a:gd name="T3" fmla="*/ 25 h 78"/>
                <a:gd name="T4" fmla="*/ 27 w 272"/>
                <a:gd name="T5" fmla="*/ 27 h 78"/>
                <a:gd name="T6" fmla="*/ 25 w 272"/>
                <a:gd name="T7" fmla="*/ 28 h 78"/>
                <a:gd name="T8" fmla="*/ 24 w 272"/>
                <a:gd name="T9" fmla="*/ 31 h 78"/>
                <a:gd name="T10" fmla="*/ 24 w 272"/>
                <a:gd name="T11" fmla="*/ 48 h 78"/>
                <a:gd name="T12" fmla="*/ 25 w 272"/>
                <a:gd name="T13" fmla="*/ 50 h 78"/>
                <a:gd name="T14" fmla="*/ 27 w 272"/>
                <a:gd name="T15" fmla="*/ 52 h 78"/>
                <a:gd name="T16" fmla="*/ 28 w 272"/>
                <a:gd name="T17" fmla="*/ 53 h 78"/>
                <a:gd name="T18" fmla="*/ 31 w 272"/>
                <a:gd name="T19" fmla="*/ 53 h 78"/>
                <a:gd name="T20" fmla="*/ 243 w 272"/>
                <a:gd name="T21" fmla="*/ 53 h 78"/>
                <a:gd name="T22" fmla="*/ 244 w 272"/>
                <a:gd name="T23" fmla="*/ 53 h 78"/>
                <a:gd name="T24" fmla="*/ 247 w 272"/>
                <a:gd name="T25" fmla="*/ 52 h 78"/>
                <a:gd name="T26" fmla="*/ 248 w 272"/>
                <a:gd name="T27" fmla="*/ 50 h 78"/>
                <a:gd name="T28" fmla="*/ 248 w 272"/>
                <a:gd name="T29" fmla="*/ 48 h 78"/>
                <a:gd name="T30" fmla="*/ 248 w 272"/>
                <a:gd name="T31" fmla="*/ 31 h 78"/>
                <a:gd name="T32" fmla="*/ 248 w 272"/>
                <a:gd name="T33" fmla="*/ 28 h 78"/>
                <a:gd name="T34" fmla="*/ 247 w 272"/>
                <a:gd name="T35" fmla="*/ 27 h 78"/>
                <a:gd name="T36" fmla="*/ 244 w 272"/>
                <a:gd name="T37" fmla="*/ 25 h 78"/>
                <a:gd name="T38" fmla="*/ 243 w 272"/>
                <a:gd name="T39" fmla="*/ 25 h 78"/>
                <a:gd name="T40" fmla="*/ 31 w 272"/>
                <a:gd name="T41" fmla="*/ 25 h 78"/>
                <a:gd name="T42" fmla="*/ 243 w 272"/>
                <a:gd name="T43" fmla="*/ 78 h 78"/>
                <a:gd name="T44" fmla="*/ 31 w 272"/>
                <a:gd name="T45" fmla="*/ 78 h 78"/>
                <a:gd name="T46" fmla="*/ 24 w 272"/>
                <a:gd name="T47" fmla="*/ 77 h 78"/>
                <a:gd name="T48" fmla="*/ 19 w 272"/>
                <a:gd name="T49" fmla="*/ 75 h 78"/>
                <a:gd name="T50" fmla="*/ 14 w 272"/>
                <a:gd name="T51" fmla="*/ 73 h 78"/>
                <a:gd name="T52" fmla="*/ 10 w 272"/>
                <a:gd name="T53" fmla="*/ 69 h 78"/>
                <a:gd name="T54" fmla="*/ 6 w 272"/>
                <a:gd name="T55" fmla="*/ 65 h 78"/>
                <a:gd name="T56" fmla="*/ 3 w 272"/>
                <a:gd name="T57" fmla="*/ 60 h 78"/>
                <a:gd name="T58" fmla="*/ 2 w 272"/>
                <a:gd name="T59" fmla="*/ 54 h 78"/>
                <a:gd name="T60" fmla="*/ 0 w 272"/>
                <a:gd name="T61" fmla="*/ 48 h 78"/>
                <a:gd name="T62" fmla="*/ 0 w 272"/>
                <a:gd name="T63" fmla="*/ 31 h 78"/>
                <a:gd name="T64" fmla="*/ 2 w 272"/>
                <a:gd name="T65" fmla="*/ 24 h 78"/>
                <a:gd name="T66" fmla="*/ 3 w 272"/>
                <a:gd name="T67" fmla="*/ 19 h 78"/>
                <a:gd name="T68" fmla="*/ 6 w 272"/>
                <a:gd name="T69" fmla="*/ 14 h 78"/>
                <a:gd name="T70" fmla="*/ 10 w 272"/>
                <a:gd name="T71" fmla="*/ 10 h 78"/>
                <a:gd name="T72" fmla="*/ 14 w 272"/>
                <a:gd name="T73" fmla="*/ 6 h 78"/>
                <a:gd name="T74" fmla="*/ 19 w 272"/>
                <a:gd name="T75" fmla="*/ 3 h 78"/>
                <a:gd name="T76" fmla="*/ 24 w 272"/>
                <a:gd name="T77" fmla="*/ 2 h 78"/>
                <a:gd name="T78" fmla="*/ 31 w 272"/>
                <a:gd name="T79" fmla="*/ 0 h 78"/>
                <a:gd name="T80" fmla="*/ 243 w 272"/>
                <a:gd name="T81" fmla="*/ 0 h 78"/>
                <a:gd name="T82" fmla="*/ 248 w 272"/>
                <a:gd name="T83" fmla="*/ 2 h 78"/>
                <a:gd name="T84" fmla="*/ 254 w 272"/>
                <a:gd name="T85" fmla="*/ 3 h 78"/>
                <a:gd name="T86" fmla="*/ 258 w 272"/>
                <a:gd name="T87" fmla="*/ 6 h 78"/>
                <a:gd name="T88" fmla="*/ 264 w 272"/>
                <a:gd name="T89" fmla="*/ 10 h 78"/>
                <a:gd name="T90" fmla="*/ 266 w 272"/>
                <a:gd name="T91" fmla="*/ 14 h 78"/>
                <a:gd name="T92" fmla="*/ 269 w 272"/>
                <a:gd name="T93" fmla="*/ 19 h 78"/>
                <a:gd name="T94" fmla="*/ 272 w 272"/>
                <a:gd name="T95" fmla="*/ 24 h 78"/>
                <a:gd name="T96" fmla="*/ 272 w 272"/>
                <a:gd name="T97" fmla="*/ 31 h 78"/>
                <a:gd name="T98" fmla="*/ 272 w 272"/>
                <a:gd name="T99" fmla="*/ 48 h 78"/>
                <a:gd name="T100" fmla="*/ 272 w 272"/>
                <a:gd name="T101" fmla="*/ 54 h 78"/>
                <a:gd name="T102" fmla="*/ 269 w 272"/>
                <a:gd name="T103" fmla="*/ 60 h 78"/>
                <a:gd name="T104" fmla="*/ 266 w 272"/>
                <a:gd name="T105" fmla="*/ 65 h 78"/>
                <a:gd name="T106" fmla="*/ 264 w 272"/>
                <a:gd name="T107" fmla="*/ 69 h 78"/>
                <a:gd name="T108" fmla="*/ 258 w 272"/>
                <a:gd name="T109" fmla="*/ 73 h 78"/>
                <a:gd name="T110" fmla="*/ 254 w 272"/>
                <a:gd name="T111" fmla="*/ 75 h 78"/>
                <a:gd name="T112" fmla="*/ 248 w 272"/>
                <a:gd name="T113" fmla="*/ 77 h 78"/>
                <a:gd name="T114" fmla="*/ 243 w 272"/>
                <a:gd name="T1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2" h="78">
                  <a:moveTo>
                    <a:pt x="31" y="25"/>
                  </a:moveTo>
                  <a:lnTo>
                    <a:pt x="28" y="25"/>
                  </a:lnTo>
                  <a:lnTo>
                    <a:pt x="27" y="27"/>
                  </a:lnTo>
                  <a:lnTo>
                    <a:pt x="25" y="28"/>
                  </a:lnTo>
                  <a:lnTo>
                    <a:pt x="24" y="31"/>
                  </a:lnTo>
                  <a:lnTo>
                    <a:pt x="24" y="48"/>
                  </a:lnTo>
                  <a:lnTo>
                    <a:pt x="25" y="50"/>
                  </a:lnTo>
                  <a:lnTo>
                    <a:pt x="27" y="52"/>
                  </a:lnTo>
                  <a:lnTo>
                    <a:pt x="28" y="53"/>
                  </a:lnTo>
                  <a:lnTo>
                    <a:pt x="31" y="53"/>
                  </a:lnTo>
                  <a:lnTo>
                    <a:pt x="243" y="53"/>
                  </a:lnTo>
                  <a:lnTo>
                    <a:pt x="244" y="53"/>
                  </a:lnTo>
                  <a:lnTo>
                    <a:pt x="247" y="52"/>
                  </a:lnTo>
                  <a:lnTo>
                    <a:pt x="248" y="50"/>
                  </a:lnTo>
                  <a:lnTo>
                    <a:pt x="248" y="48"/>
                  </a:lnTo>
                  <a:lnTo>
                    <a:pt x="248" y="31"/>
                  </a:lnTo>
                  <a:lnTo>
                    <a:pt x="248" y="28"/>
                  </a:lnTo>
                  <a:lnTo>
                    <a:pt x="247" y="27"/>
                  </a:lnTo>
                  <a:lnTo>
                    <a:pt x="244" y="25"/>
                  </a:lnTo>
                  <a:lnTo>
                    <a:pt x="243" y="25"/>
                  </a:lnTo>
                  <a:lnTo>
                    <a:pt x="31" y="25"/>
                  </a:lnTo>
                  <a:close/>
                  <a:moveTo>
                    <a:pt x="243" y="78"/>
                  </a:moveTo>
                  <a:lnTo>
                    <a:pt x="31" y="78"/>
                  </a:lnTo>
                  <a:lnTo>
                    <a:pt x="24" y="77"/>
                  </a:lnTo>
                  <a:lnTo>
                    <a:pt x="19" y="75"/>
                  </a:lnTo>
                  <a:lnTo>
                    <a:pt x="14" y="73"/>
                  </a:lnTo>
                  <a:lnTo>
                    <a:pt x="10" y="69"/>
                  </a:lnTo>
                  <a:lnTo>
                    <a:pt x="6" y="65"/>
                  </a:lnTo>
                  <a:lnTo>
                    <a:pt x="3" y="60"/>
                  </a:lnTo>
                  <a:lnTo>
                    <a:pt x="2" y="54"/>
                  </a:lnTo>
                  <a:lnTo>
                    <a:pt x="0" y="48"/>
                  </a:lnTo>
                  <a:lnTo>
                    <a:pt x="0" y="31"/>
                  </a:lnTo>
                  <a:lnTo>
                    <a:pt x="2" y="24"/>
                  </a:lnTo>
                  <a:lnTo>
                    <a:pt x="3" y="19"/>
                  </a:lnTo>
                  <a:lnTo>
                    <a:pt x="6" y="14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19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243" y="0"/>
                  </a:lnTo>
                  <a:lnTo>
                    <a:pt x="248" y="2"/>
                  </a:lnTo>
                  <a:lnTo>
                    <a:pt x="254" y="3"/>
                  </a:lnTo>
                  <a:lnTo>
                    <a:pt x="258" y="6"/>
                  </a:lnTo>
                  <a:lnTo>
                    <a:pt x="264" y="10"/>
                  </a:lnTo>
                  <a:lnTo>
                    <a:pt x="266" y="14"/>
                  </a:lnTo>
                  <a:lnTo>
                    <a:pt x="269" y="19"/>
                  </a:lnTo>
                  <a:lnTo>
                    <a:pt x="272" y="24"/>
                  </a:lnTo>
                  <a:lnTo>
                    <a:pt x="272" y="31"/>
                  </a:lnTo>
                  <a:lnTo>
                    <a:pt x="272" y="48"/>
                  </a:lnTo>
                  <a:lnTo>
                    <a:pt x="272" y="54"/>
                  </a:lnTo>
                  <a:lnTo>
                    <a:pt x="269" y="60"/>
                  </a:lnTo>
                  <a:lnTo>
                    <a:pt x="266" y="65"/>
                  </a:lnTo>
                  <a:lnTo>
                    <a:pt x="264" y="69"/>
                  </a:lnTo>
                  <a:lnTo>
                    <a:pt x="258" y="73"/>
                  </a:lnTo>
                  <a:lnTo>
                    <a:pt x="254" y="75"/>
                  </a:lnTo>
                  <a:lnTo>
                    <a:pt x="248" y="77"/>
                  </a:lnTo>
                  <a:lnTo>
                    <a:pt x="243" y="78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71" name="Rectangle 95"/>
            <p:cNvSpPr>
              <a:spLocks noChangeArrowheads="1"/>
            </p:cNvSpPr>
            <p:nvPr/>
          </p:nvSpPr>
          <p:spPr bwMode="auto">
            <a:xfrm>
              <a:off x="828675" y="5543550"/>
              <a:ext cx="73025" cy="19050"/>
            </a:xfrm>
            <a:prstGeom prst="rect">
              <a:avLst/>
            </a:pr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72" name="Freeform 96"/>
            <p:cNvSpPr>
              <a:spLocks noEditPoints="1"/>
            </p:cNvSpPr>
            <p:nvPr/>
          </p:nvSpPr>
          <p:spPr bwMode="auto">
            <a:xfrm>
              <a:off x="822325" y="5538788"/>
              <a:ext cx="84138" cy="28575"/>
            </a:xfrm>
            <a:custGeom>
              <a:avLst/>
              <a:gdLst>
                <a:gd name="T0" fmla="*/ 25 w 210"/>
                <a:gd name="T1" fmla="*/ 50 h 74"/>
                <a:gd name="T2" fmla="*/ 187 w 210"/>
                <a:gd name="T3" fmla="*/ 50 h 74"/>
                <a:gd name="T4" fmla="*/ 187 w 210"/>
                <a:gd name="T5" fmla="*/ 25 h 74"/>
                <a:gd name="T6" fmla="*/ 25 w 210"/>
                <a:gd name="T7" fmla="*/ 25 h 74"/>
                <a:gd name="T8" fmla="*/ 25 w 210"/>
                <a:gd name="T9" fmla="*/ 50 h 74"/>
                <a:gd name="T10" fmla="*/ 198 w 210"/>
                <a:gd name="T11" fmla="*/ 74 h 74"/>
                <a:gd name="T12" fmla="*/ 13 w 210"/>
                <a:gd name="T13" fmla="*/ 74 h 74"/>
                <a:gd name="T14" fmla="*/ 8 w 210"/>
                <a:gd name="T15" fmla="*/ 74 h 74"/>
                <a:gd name="T16" fmla="*/ 4 w 210"/>
                <a:gd name="T17" fmla="*/ 71 h 74"/>
                <a:gd name="T18" fmla="*/ 1 w 210"/>
                <a:gd name="T19" fmla="*/ 67 h 74"/>
                <a:gd name="T20" fmla="*/ 0 w 210"/>
                <a:gd name="T21" fmla="*/ 62 h 74"/>
                <a:gd name="T22" fmla="*/ 0 w 210"/>
                <a:gd name="T23" fmla="*/ 13 h 74"/>
                <a:gd name="T24" fmla="*/ 1 w 210"/>
                <a:gd name="T25" fmla="*/ 8 h 74"/>
                <a:gd name="T26" fmla="*/ 4 w 210"/>
                <a:gd name="T27" fmla="*/ 4 h 74"/>
                <a:gd name="T28" fmla="*/ 8 w 210"/>
                <a:gd name="T29" fmla="*/ 1 h 74"/>
                <a:gd name="T30" fmla="*/ 13 w 210"/>
                <a:gd name="T31" fmla="*/ 0 h 74"/>
                <a:gd name="T32" fmla="*/ 198 w 210"/>
                <a:gd name="T33" fmla="*/ 0 h 74"/>
                <a:gd name="T34" fmla="*/ 202 w 210"/>
                <a:gd name="T35" fmla="*/ 1 h 74"/>
                <a:gd name="T36" fmla="*/ 206 w 210"/>
                <a:gd name="T37" fmla="*/ 4 h 74"/>
                <a:gd name="T38" fmla="*/ 209 w 210"/>
                <a:gd name="T39" fmla="*/ 8 h 74"/>
                <a:gd name="T40" fmla="*/ 210 w 210"/>
                <a:gd name="T41" fmla="*/ 13 h 74"/>
                <a:gd name="T42" fmla="*/ 210 w 210"/>
                <a:gd name="T43" fmla="*/ 62 h 74"/>
                <a:gd name="T44" fmla="*/ 209 w 210"/>
                <a:gd name="T45" fmla="*/ 67 h 74"/>
                <a:gd name="T46" fmla="*/ 206 w 210"/>
                <a:gd name="T47" fmla="*/ 71 h 74"/>
                <a:gd name="T48" fmla="*/ 202 w 210"/>
                <a:gd name="T49" fmla="*/ 74 h 74"/>
                <a:gd name="T50" fmla="*/ 198 w 210"/>
                <a:gd name="T5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0" h="74">
                  <a:moveTo>
                    <a:pt x="25" y="50"/>
                  </a:moveTo>
                  <a:lnTo>
                    <a:pt x="187" y="50"/>
                  </a:lnTo>
                  <a:lnTo>
                    <a:pt x="187" y="25"/>
                  </a:lnTo>
                  <a:lnTo>
                    <a:pt x="25" y="25"/>
                  </a:lnTo>
                  <a:lnTo>
                    <a:pt x="25" y="50"/>
                  </a:lnTo>
                  <a:close/>
                  <a:moveTo>
                    <a:pt x="198" y="74"/>
                  </a:moveTo>
                  <a:lnTo>
                    <a:pt x="13" y="74"/>
                  </a:lnTo>
                  <a:lnTo>
                    <a:pt x="8" y="74"/>
                  </a:lnTo>
                  <a:lnTo>
                    <a:pt x="4" y="71"/>
                  </a:lnTo>
                  <a:lnTo>
                    <a:pt x="1" y="67"/>
                  </a:lnTo>
                  <a:lnTo>
                    <a:pt x="0" y="62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98" y="0"/>
                  </a:lnTo>
                  <a:lnTo>
                    <a:pt x="202" y="1"/>
                  </a:lnTo>
                  <a:lnTo>
                    <a:pt x="206" y="4"/>
                  </a:lnTo>
                  <a:lnTo>
                    <a:pt x="209" y="8"/>
                  </a:lnTo>
                  <a:lnTo>
                    <a:pt x="210" y="13"/>
                  </a:lnTo>
                  <a:lnTo>
                    <a:pt x="210" y="62"/>
                  </a:lnTo>
                  <a:lnTo>
                    <a:pt x="209" y="67"/>
                  </a:lnTo>
                  <a:lnTo>
                    <a:pt x="206" y="71"/>
                  </a:lnTo>
                  <a:lnTo>
                    <a:pt x="202" y="74"/>
                  </a:lnTo>
                  <a:lnTo>
                    <a:pt x="198" y="7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73" name="Freeform 97"/>
            <p:cNvSpPr>
              <a:spLocks/>
            </p:cNvSpPr>
            <p:nvPr/>
          </p:nvSpPr>
          <p:spPr bwMode="auto">
            <a:xfrm>
              <a:off x="815975" y="5521325"/>
              <a:ext cx="96838" cy="22225"/>
            </a:xfrm>
            <a:custGeom>
              <a:avLst/>
              <a:gdLst>
                <a:gd name="T0" fmla="*/ 229 w 246"/>
                <a:gd name="T1" fmla="*/ 54 h 54"/>
                <a:gd name="T2" fmla="*/ 17 w 246"/>
                <a:gd name="T3" fmla="*/ 54 h 54"/>
                <a:gd name="T4" fmla="*/ 13 w 246"/>
                <a:gd name="T5" fmla="*/ 53 h 54"/>
                <a:gd name="T6" fmla="*/ 11 w 246"/>
                <a:gd name="T7" fmla="*/ 53 h 54"/>
                <a:gd name="T8" fmla="*/ 7 w 246"/>
                <a:gd name="T9" fmla="*/ 50 h 54"/>
                <a:gd name="T10" fmla="*/ 4 w 246"/>
                <a:gd name="T11" fmla="*/ 49 h 54"/>
                <a:gd name="T12" fmla="*/ 3 w 246"/>
                <a:gd name="T13" fmla="*/ 46 h 54"/>
                <a:gd name="T14" fmla="*/ 2 w 246"/>
                <a:gd name="T15" fmla="*/ 42 h 54"/>
                <a:gd name="T16" fmla="*/ 0 w 246"/>
                <a:gd name="T17" fmla="*/ 40 h 54"/>
                <a:gd name="T18" fmla="*/ 0 w 246"/>
                <a:gd name="T19" fmla="*/ 36 h 54"/>
                <a:gd name="T20" fmla="*/ 0 w 246"/>
                <a:gd name="T21" fmla="*/ 19 h 54"/>
                <a:gd name="T22" fmla="*/ 2 w 246"/>
                <a:gd name="T23" fmla="*/ 12 h 54"/>
                <a:gd name="T24" fmla="*/ 4 w 246"/>
                <a:gd name="T25" fmla="*/ 6 h 54"/>
                <a:gd name="T26" fmla="*/ 7 w 246"/>
                <a:gd name="T27" fmla="*/ 4 h 54"/>
                <a:gd name="T28" fmla="*/ 11 w 246"/>
                <a:gd name="T29" fmla="*/ 2 h 54"/>
                <a:gd name="T30" fmla="*/ 13 w 246"/>
                <a:gd name="T31" fmla="*/ 2 h 54"/>
                <a:gd name="T32" fmla="*/ 17 w 246"/>
                <a:gd name="T33" fmla="*/ 0 h 54"/>
                <a:gd name="T34" fmla="*/ 229 w 246"/>
                <a:gd name="T35" fmla="*/ 0 h 54"/>
                <a:gd name="T36" fmla="*/ 233 w 246"/>
                <a:gd name="T37" fmla="*/ 2 h 54"/>
                <a:gd name="T38" fmla="*/ 236 w 246"/>
                <a:gd name="T39" fmla="*/ 2 h 54"/>
                <a:gd name="T40" fmla="*/ 239 w 246"/>
                <a:gd name="T41" fmla="*/ 4 h 54"/>
                <a:gd name="T42" fmla="*/ 241 w 246"/>
                <a:gd name="T43" fmla="*/ 6 h 54"/>
                <a:gd name="T44" fmla="*/ 244 w 246"/>
                <a:gd name="T45" fmla="*/ 8 h 54"/>
                <a:gd name="T46" fmla="*/ 245 w 246"/>
                <a:gd name="T47" fmla="*/ 12 h 54"/>
                <a:gd name="T48" fmla="*/ 246 w 246"/>
                <a:gd name="T49" fmla="*/ 15 h 54"/>
                <a:gd name="T50" fmla="*/ 246 w 246"/>
                <a:gd name="T51" fmla="*/ 19 h 54"/>
                <a:gd name="T52" fmla="*/ 246 w 246"/>
                <a:gd name="T53" fmla="*/ 36 h 54"/>
                <a:gd name="T54" fmla="*/ 246 w 246"/>
                <a:gd name="T55" fmla="*/ 40 h 54"/>
                <a:gd name="T56" fmla="*/ 245 w 246"/>
                <a:gd name="T57" fmla="*/ 42 h 54"/>
                <a:gd name="T58" fmla="*/ 244 w 246"/>
                <a:gd name="T59" fmla="*/ 46 h 54"/>
                <a:gd name="T60" fmla="*/ 241 w 246"/>
                <a:gd name="T61" fmla="*/ 49 h 54"/>
                <a:gd name="T62" fmla="*/ 239 w 246"/>
                <a:gd name="T63" fmla="*/ 50 h 54"/>
                <a:gd name="T64" fmla="*/ 236 w 246"/>
                <a:gd name="T65" fmla="*/ 53 h 54"/>
                <a:gd name="T66" fmla="*/ 233 w 246"/>
                <a:gd name="T67" fmla="*/ 53 h 54"/>
                <a:gd name="T68" fmla="*/ 229 w 246"/>
                <a:gd name="T6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6" h="54">
                  <a:moveTo>
                    <a:pt x="229" y="54"/>
                  </a:moveTo>
                  <a:lnTo>
                    <a:pt x="17" y="54"/>
                  </a:lnTo>
                  <a:lnTo>
                    <a:pt x="13" y="53"/>
                  </a:lnTo>
                  <a:lnTo>
                    <a:pt x="11" y="53"/>
                  </a:lnTo>
                  <a:lnTo>
                    <a:pt x="7" y="50"/>
                  </a:lnTo>
                  <a:lnTo>
                    <a:pt x="4" y="49"/>
                  </a:lnTo>
                  <a:lnTo>
                    <a:pt x="3" y="46"/>
                  </a:lnTo>
                  <a:lnTo>
                    <a:pt x="2" y="42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2" y="12"/>
                  </a:lnTo>
                  <a:lnTo>
                    <a:pt x="4" y="6"/>
                  </a:lnTo>
                  <a:lnTo>
                    <a:pt x="7" y="4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7" y="0"/>
                  </a:lnTo>
                  <a:lnTo>
                    <a:pt x="229" y="0"/>
                  </a:lnTo>
                  <a:lnTo>
                    <a:pt x="233" y="2"/>
                  </a:lnTo>
                  <a:lnTo>
                    <a:pt x="236" y="2"/>
                  </a:lnTo>
                  <a:lnTo>
                    <a:pt x="239" y="4"/>
                  </a:lnTo>
                  <a:lnTo>
                    <a:pt x="241" y="6"/>
                  </a:lnTo>
                  <a:lnTo>
                    <a:pt x="244" y="8"/>
                  </a:lnTo>
                  <a:lnTo>
                    <a:pt x="245" y="12"/>
                  </a:lnTo>
                  <a:lnTo>
                    <a:pt x="246" y="15"/>
                  </a:lnTo>
                  <a:lnTo>
                    <a:pt x="246" y="19"/>
                  </a:lnTo>
                  <a:lnTo>
                    <a:pt x="246" y="36"/>
                  </a:lnTo>
                  <a:lnTo>
                    <a:pt x="246" y="40"/>
                  </a:lnTo>
                  <a:lnTo>
                    <a:pt x="245" y="42"/>
                  </a:lnTo>
                  <a:lnTo>
                    <a:pt x="244" y="46"/>
                  </a:lnTo>
                  <a:lnTo>
                    <a:pt x="241" y="49"/>
                  </a:lnTo>
                  <a:lnTo>
                    <a:pt x="239" y="50"/>
                  </a:lnTo>
                  <a:lnTo>
                    <a:pt x="236" y="53"/>
                  </a:lnTo>
                  <a:lnTo>
                    <a:pt x="233" y="53"/>
                  </a:lnTo>
                  <a:lnTo>
                    <a:pt x="229" y="54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74" name="Freeform 98"/>
            <p:cNvSpPr>
              <a:spLocks noEditPoints="1"/>
            </p:cNvSpPr>
            <p:nvPr/>
          </p:nvSpPr>
          <p:spPr bwMode="auto">
            <a:xfrm>
              <a:off x="811213" y="5516563"/>
              <a:ext cx="106363" cy="31750"/>
            </a:xfrm>
            <a:custGeom>
              <a:avLst/>
              <a:gdLst>
                <a:gd name="T0" fmla="*/ 30 w 271"/>
                <a:gd name="T1" fmla="*/ 25 h 78"/>
                <a:gd name="T2" fmla="*/ 28 w 271"/>
                <a:gd name="T3" fmla="*/ 25 h 78"/>
                <a:gd name="T4" fmla="*/ 26 w 271"/>
                <a:gd name="T5" fmla="*/ 27 h 78"/>
                <a:gd name="T6" fmla="*/ 25 w 271"/>
                <a:gd name="T7" fmla="*/ 28 h 78"/>
                <a:gd name="T8" fmla="*/ 25 w 271"/>
                <a:gd name="T9" fmla="*/ 31 h 78"/>
                <a:gd name="T10" fmla="*/ 25 w 271"/>
                <a:gd name="T11" fmla="*/ 48 h 78"/>
                <a:gd name="T12" fmla="*/ 25 w 271"/>
                <a:gd name="T13" fmla="*/ 50 h 78"/>
                <a:gd name="T14" fmla="*/ 26 w 271"/>
                <a:gd name="T15" fmla="*/ 52 h 78"/>
                <a:gd name="T16" fmla="*/ 28 w 271"/>
                <a:gd name="T17" fmla="*/ 53 h 78"/>
                <a:gd name="T18" fmla="*/ 30 w 271"/>
                <a:gd name="T19" fmla="*/ 53 h 78"/>
                <a:gd name="T20" fmla="*/ 242 w 271"/>
                <a:gd name="T21" fmla="*/ 53 h 78"/>
                <a:gd name="T22" fmla="*/ 245 w 271"/>
                <a:gd name="T23" fmla="*/ 53 h 78"/>
                <a:gd name="T24" fmla="*/ 246 w 271"/>
                <a:gd name="T25" fmla="*/ 52 h 78"/>
                <a:gd name="T26" fmla="*/ 248 w 271"/>
                <a:gd name="T27" fmla="*/ 50 h 78"/>
                <a:gd name="T28" fmla="*/ 248 w 271"/>
                <a:gd name="T29" fmla="*/ 48 h 78"/>
                <a:gd name="T30" fmla="*/ 248 w 271"/>
                <a:gd name="T31" fmla="*/ 31 h 78"/>
                <a:gd name="T32" fmla="*/ 248 w 271"/>
                <a:gd name="T33" fmla="*/ 28 h 78"/>
                <a:gd name="T34" fmla="*/ 246 w 271"/>
                <a:gd name="T35" fmla="*/ 27 h 78"/>
                <a:gd name="T36" fmla="*/ 245 w 271"/>
                <a:gd name="T37" fmla="*/ 25 h 78"/>
                <a:gd name="T38" fmla="*/ 242 w 271"/>
                <a:gd name="T39" fmla="*/ 25 h 78"/>
                <a:gd name="T40" fmla="*/ 30 w 271"/>
                <a:gd name="T41" fmla="*/ 25 h 78"/>
                <a:gd name="T42" fmla="*/ 242 w 271"/>
                <a:gd name="T43" fmla="*/ 78 h 78"/>
                <a:gd name="T44" fmla="*/ 30 w 271"/>
                <a:gd name="T45" fmla="*/ 78 h 78"/>
                <a:gd name="T46" fmla="*/ 24 w 271"/>
                <a:gd name="T47" fmla="*/ 77 h 78"/>
                <a:gd name="T48" fmla="*/ 19 w 271"/>
                <a:gd name="T49" fmla="*/ 75 h 78"/>
                <a:gd name="T50" fmla="*/ 13 w 271"/>
                <a:gd name="T51" fmla="*/ 73 h 78"/>
                <a:gd name="T52" fmla="*/ 9 w 271"/>
                <a:gd name="T53" fmla="*/ 69 h 78"/>
                <a:gd name="T54" fmla="*/ 5 w 271"/>
                <a:gd name="T55" fmla="*/ 65 h 78"/>
                <a:gd name="T56" fmla="*/ 3 w 271"/>
                <a:gd name="T57" fmla="*/ 60 h 78"/>
                <a:gd name="T58" fmla="*/ 1 w 271"/>
                <a:gd name="T59" fmla="*/ 54 h 78"/>
                <a:gd name="T60" fmla="*/ 0 w 271"/>
                <a:gd name="T61" fmla="*/ 48 h 78"/>
                <a:gd name="T62" fmla="*/ 0 w 271"/>
                <a:gd name="T63" fmla="*/ 31 h 78"/>
                <a:gd name="T64" fmla="*/ 1 w 271"/>
                <a:gd name="T65" fmla="*/ 24 h 78"/>
                <a:gd name="T66" fmla="*/ 3 w 271"/>
                <a:gd name="T67" fmla="*/ 19 h 78"/>
                <a:gd name="T68" fmla="*/ 5 w 271"/>
                <a:gd name="T69" fmla="*/ 14 h 78"/>
                <a:gd name="T70" fmla="*/ 9 w 271"/>
                <a:gd name="T71" fmla="*/ 10 h 78"/>
                <a:gd name="T72" fmla="*/ 13 w 271"/>
                <a:gd name="T73" fmla="*/ 6 h 78"/>
                <a:gd name="T74" fmla="*/ 19 w 271"/>
                <a:gd name="T75" fmla="*/ 3 h 78"/>
                <a:gd name="T76" fmla="*/ 24 w 271"/>
                <a:gd name="T77" fmla="*/ 2 h 78"/>
                <a:gd name="T78" fmla="*/ 30 w 271"/>
                <a:gd name="T79" fmla="*/ 0 h 78"/>
                <a:gd name="T80" fmla="*/ 242 w 271"/>
                <a:gd name="T81" fmla="*/ 0 h 78"/>
                <a:gd name="T82" fmla="*/ 248 w 271"/>
                <a:gd name="T83" fmla="*/ 2 h 78"/>
                <a:gd name="T84" fmla="*/ 254 w 271"/>
                <a:gd name="T85" fmla="*/ 3 h 78"/>
                <a:gd name="T86" fmla="*/ 258 w 271"/>
                <a:gd name="T87" fmla="*/ 6 h 78"/>
                <a:gd name="T88" fmla="*/ 263 w 271"/>
                <a:gd name="T89" fmla="*/ 10 h 78"/>
                <a:gd name="T90" fmla="*/ 266 w 271"/>
                <a:gd name="T91" fmla="*/ 14 h 78"/>
                <a:gd name="T92" fmla="*/ 269 w 271"/>
                <a:gd name="T93" fmla="*/ 19 h 78"/>
                <a:gd name="T94" fmla="*/ 271 w 271"/>
                <a:gd name="T95" fmla="*/ 24 h 78"/>
                <a:gd name="T96" fmla="*/ 271 w 271"/>
                <a:gd name="T97" fmla="*/ 31 h 78"/>
                <a:gd name="T98" fmla="*/ 271 w 271"/>
                <a:gd name="T99" fmla="*/ 48 h 78"/>
                <a:gd name="T100" fmla="*/ 271 w 271"/>
                <a:gd name="T101" fmla="*/ 54 h 78"/>
                <a:gd name="T102" fmla="*/ 269 w 271"/>
                <a:gd name="T103" fmla="*/ 60 h 78"/>
                <a:gd name="T104" fmla="*/ 266 w 271"/>
                <a:gd name="T105" fmla="*/ 65 h 78"/>
                <a:gd name="T106" fmla="*/ 263 w 271"/>
                <a:gd name="T107" fmla="*/ 69 h 78"/>
                <a:gd name="T108" fmla="*/ 258 w 271"/>
                <a:gd name="T109" fmla="*/ 73 h 78"/>
                <a:gd name="T110" fmla="*/ 254 w 271"/>
                <a:gd name="T111" fmla="*/ 75 h 78"/>
                <a:gd name="T112" fmla="*/ 248 w 271"/>
                <a:gd name="T113" fmla="*/ 77 h 78"/>
                <a:gd name="T114" fmla="*/ 242 w 271"/>
                <a:gd name="T1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" h="78">
                  <a:moveTo>
                    <a:pt x="30" y="25"/>
                  </a:moveTo>
                  <a:lnTo>
                    <a:pt x="28" y="25"/>
                  </a:lnTo>
                  <a:lnTo>
                    <a:pt x="26" y="27"/>
                  </a:lnTo>
                  <a:lnTo>
                    <a:pt x="25" y="28"/>
                  </a:lnTo>
                  <a:lnTo>
                    <a:pt x="25" y="31"/>
                  </a:lnTo>
                  <a:lnTo>
                    <a:pt x="25" y="48"/>
                  </a:lnTo>
                  <a:lnTo>
                    <a:pt x="25" y="50"/>
                  </a:lnTo>
                  <a:lnTo>
                    <a:pt x="26" y="52"/>
                  </a:lnTo>
                  <a:lnTo>
                    <a:pt x="28" y="53"/>
                  </a:lnTo>
                  <a:lnTo>
                    <a:pt x="30" y="53"/>
                  </a:lnTo>
                  <a:lnTo>
                    <a:pt x="242" y="53"/>
                  </a:lnTo>
                  <a:lnTo>
                    <a:pt x="245" y="53"/>
                  </a:lnTo>
                  <a:lnTo>
                    <a:pt x="246" y="52"/>
                  </a:lnTo>
                  <a:lnTo>
                    <a:pt x="248" y="50"/>
                  </a:lnTo>
                  <a:lnTo>
                    <a:pt x="248" y="48"/>
                  </a:lnTo>
                  <a:lnTo>
                    <a:pt x="248" y="31"/>
                  </a:lnTo>
                  <a:lnTo>
                    <a:pt x="248" y="28"/>
                  </a:lnTo>
                  <a:lnTo>
                    <a:pt x="246" y="27"/>
                  </a:lnTo>
                  <a:lnTo>
                    <a:pt x="245" y="25"/>
                  </a:lnTo>
                  <a:lnTo>
                    <a:pt x="242" y="25"/>
                  </a:lnTo>
                  <a:lnTo>
                    <a:pt x="30" y="25"/>
                  </a:lnTo>
                  <a:close/>
                  <a:moveTo>
                    <a:pt x="242" y="78"/>
                  </a:moveTo>
                  <a:lnTo>
                    <a:pt x="30" y="78"/>
                  </a:lnTo>
                  <a:lnTo>
                    <a:pt x="24" y="77"/>
                  </a:lnTo>
                  <a:lnTo>
                    <a:pt x="19" y="75"/>
                  </a:lnTo>
                  <a:lnTo>
                    <a:pt x="13" y="73"/>
                  </a:lnTo>
                  <a:lnTo>
                    <a:pt x="9" y="69"/>
                  </a:lnTo>
                  <a:lnTo>
                    <a:pt x="5" y="65"/>
                  </a:lnTo>
                  <a:lnTo>
                    <a:pt x="3" y="60"/>
                  </a:lnTo>
                  <a:lnTo>
                    <a:pt x="1" y="54"/>
                  </a:lnTo>
                  <a:lnTo>
                    <a:pt x="0" y="48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3" y="19"/>
                  </a:lnTo>
                  <a:lnTo>
                    <a:pt x="5" y="14"/>
                  </a:lnTo>
                  <a:lnTo>
                    <a:pt x="9" y="10"/>
                  </a:lnTo>
                  <a:lnTo>
                    <a:pt x="13" y="6"/>
                  </a:lnTo>
                  <a:lnTo>
                    <a:pt x="19" y="3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242" y="0"/>
                  </a:lnTo>
                  <a:lnTo>
                    <a:pt x="248" y="2"/>
                  </a:lnTo>
                  <a:lnTo>
                    <a:pt x="254" y="3"/>
                  </a:lnTo>
                  <a:lnTo>
                    <a:pt x="258" y="6"/>
                  </a:lnTo>
                  <a:lnTo>
                    <a:pt x="263" y="10"/>
                  </a:lnTo>
                  <a:lnTo>
                    <a:pt x="266" y="14"/>
                  </a:lnTo>
                  <a:lnTo>
                    <a:pt x="269" y="19"/>
                  </a:lnTo>
                  <a:lnTo>
                    <a:pt x="271" y="24"/>
                  </a:lnTo>
                  <a:lnTo>
                    <a:pt x="271" y="31"/>
                  </a:lnTo>
                  <a:lnTo>
                    <a:pt x="271" y="48"/>
                  </a:lnTo>
                  <a:lnTo>
                    <a:pt x="271" y="54"/>
                  </a:lnTo>
                  <a:lnTo>
                    <a:pt x="269" y="60"/>
                  </a:lnTo>
                  <a:lnTo>
                    <a:pt x="266" y="65"/>
                  </a:lnTo>
                  <a:lnTo>
                    <a:pt x="263" y="69"/>
                  </a:lnTo>
                  <a:lnTo>
                    <a:pt x="258" y="73"/>
                  </a:lnTo>
                  <a:lnTo>
                    <a:pt x="254" y="75"/>
                  </a:lnTo>
                  <a:lnTo>
                    <a:pt x="248" y="77"/>
                  </a:lnTo>
                  <a:lnTo>
                    <a:pt x="242" y="78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76" name="Rectangle 99"/>
            <p:cNvSpPr>
              <a:spLocks noChangeArrowheads="1"/>
            </p:cNvSpPr>
            <p:nvPr/>
          </p:nvSpPr>
          <p:spPr bwMode="auto">
            <a:xfrm>
              <a:off x="398463" y="5795963"/>
              <a:ext cx="642938" cy="60325"/>
            </a:xfrm>
            <a:prstGeom prst="rect">
              <a:avLst/>
            </a:pr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77" name="Freeform 100"/>
            <p:cNvSpPr>
              <a:spLocks noEditPoints="1"/>
            </p:cNvSpPr>
            <p:nvPr/>
          </p:nvSpPr>
          <p:spPr bwMode="auto">
            <a:xfrm>
              <a:off x="393700" y="5791200"/>
              <a:ext cx="652463" cy="69850"/>
            </a:xfrm>
            <a:custGeom>
              <a:avLst/>
              <a:gdLst>
                <a:gd name="T0" fmla="*/ 24 w 1645"/>
                <a:gd name="T1" fmla="*/ 153 h 177"/>
                <a:gd name="T2" fmla="*/ 1621 w 1645"/>
                <a:gd name="T3" fmla="*/ 153 h 177"/>
                <a:gd name="T4" fmla="*/ 1621 w 1645"/>
                <a:gd name="T5" fmla="*/ 24 h 177"/>
                <a:gd name="T6" fmla="*/ 24 w 1645"/>
                <a:gd name="T7" fmla="*/ 24 h 177"/>
                <a:gd name="T8" fmla="*/ 24 w 1645"/>
                <a:gd name="T9" fmla="*/ 153 h 177"/>
                <a:gd name="T10" fmla="*/ 1633 w 1645"/>
                <a:gd name="T11" fmla="*/ 177 h 177"/>
                <a:gd name="T12" fmla="*/ 12 w 1645"/>
                <a:gd name="T13" fmla="*/ 177 h 177"/>
                <a:gd name="T14" fmla="*/ 7 w 1645"/>
                <a:gd name="T15" fmla="*/ 177 h 177"/>
                <a:gd name="T16" fmla="*/ 4 w 1645"/>
                <a:gd name="T17" fmla="*/ 174 h 177"/>
                <a:gd name="T18" fmla="*/ 1 w 1645"/>
                <a:gd name="T19" fmla="*/ 170 h 177"/>
                <a:gd name="T20" fmla="*/ 0 w 1645"/>
                <a:gd name="T21" fmla="*/ 165 h 177"/>
                <a:gd name="T22" fmla="*/ 0 w 1645"/>
                <a:gd name="T23" fmla="*/ 12 h 177"/>
                <a:gd name="T24" fmla="*/ 1 w 1645"/>
                <a:gd name="T25" fmla="*/ 7 h 177"/>
                <a:gd name="T26" fmla="*/ 4 w 1645"/>
                <a:gd name="T27" fmla="*/ 4 h 177"/>
                <a:gd name="T28" fmla="*/ 7 w 1645"/>
                <a:gd name="T29" fmla="*/ 2 h 177"/>
                <a:gd name="T30" fmla="*/ 12 w 1645"/>
                <a:gd name="T31" fmla="*/ 0 h 177"/>
                <a:gd name="T32" fmla="*/ 1633 w 1645"/>
                <a:gd name="T33" fmla="*/ 0 h 177"/>
                <a:gd name="T34" fmla="*/ 1637 w 1645"/>
                <a:gd name="T35" fmla="*/ 2 h 177"/>
                <a:gd name="T36" fmla="*/ 1641 w 1645"/>
                <a:gd name="T37" fmla="*/ 4 h 177"/>
                <a:gd name="T38" fmla="*/ 1644 w 1645"/>
                <a:gd name="T39" fmla="*/ 7 h 177"/>
                <a:gd name="T40" fmla="*/ 1645 w 1645"/>
                <a:gd name="T41" fmla="*/ 12 h 177"/>
                <a:gd name="T42" fmla="*/ 1645 w 1645"/>
                <a:gd name="T43" fmla="*/ 165 h 177"/>
                <a:gd name="T44" fmla="*/ 1644 w 1645"/>
                <a:gd name="T45" fmla="*/ 170 h 177"/>
                <a:gd name="T46" fmla="*/ 1641 w 1645"/>
                <a:gd name="T47" fmla="*/ 174 h 177"/>
                <a:gd name="T48" fmla="*/ 1637 w 1645"/>
                <a:gd name="T49" fmla="*/ 177 h 177"/>
                <a:gd name="T50" fmla="*/ 1633 w 1645"/>
                <a:gd name="T51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45" h="177">
                  <a:moveTo>
                    <a:pt x="24" y="153"/>
                  </a:moveTo>
                  <a:lnTo>
                    <a:pt x="1621" y="153"/>
                  </a:lnTo>
                  <a:lnTo>
                    <a:pt x="1621" y="24"/>
                  </a:lnTo>
                  <a:lnTo>
                    <a:pt x="24" y="24"/>
                  </a:lnTo>
                  <a:lnTo>
                    <a:pt x="24" y="153"/>
                  </a:lnTo>
                  <a:close/>
                  <a:moveTo>
                    <a:pt x="1633" y="177"/>
                  </a:moveTo>
                  <a:lnTo>
                    <a:pt x="12" y="177"/>
                  </a:lnTo>
                  <a:lnTo>
                    <a:pt x="7" y="177"/>
                  </a:lnTo>
                  <a:lnTo>
                    <a:pt x="4" y="174"/>
                  </a:lnTo>
                  <a:lnTo>
                    <a:pt x="1" y="170"/>
                  </a:lnTo>
                  <a:lnTo>
                    <a:pt x="0" y="165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633" y="0"/>
                  </a:lnTo>
                  <a:lnTo>
                    <a:pt x="1637" y="2"/>
                  </a:lnTo>
                  <a:lnTo>
                    <a:pt x="1641" y="4"/>
                  </a:lnTo>
                  <a:lnTo>
                    <a:pt x="1644" y="7"/>
                  </a:lnTo>
                  <a:lnTo>
                    <a:pt x="1645" y="12"/>
                  </a:lnTo>
                  <a:lnTo>
                    <a:pt x="1645" y="165"/>
                  </a:lnTo>
                  <a:lnTo>
                    <a:pt x="1644" y="170"/>
                  </a:lnTo>
                  <a:lnTo>
                    <a:pt x="1641" y="174"/>
                  </a:lnTo>
                  <a:lnTo>
                    <a:pt x="1637" y="177"/>
                  </a:lnTo>
                  <a:lnTo>
                    <a:pt x="1633" y="177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83" name="Freeform 101"/>
            <p:cNvSpPr>
              <a:spLocks/>
            </p:cNvSpPr>
            <p:nvPr/>
          </p:nvSpPr>
          <p:spPr bwMode="auto">
            <a:xfrm>
              <a:off x="1301750" y="5781675"/>
              <a:ext cx="58738" cy="57150"/>
            </a:xfrm>
            <a:custGeom>
              <a:avLst/>
              <a:gdLst>
                <a:gd name="T0" fmla="*/ 109 w 149"/>
                <a:gd name="T1" fmla="*/ 147 h 147"/>
                <a:gd name="T2" fmla="*/ 40 w 149"/>
                <a:gd name="T3" fmla="*/ 147 h 147"/>
                <a:gd name="T4" fmla="*/ 32 w 149"/>
                <a:gd name="T5" fmla="*/ 146 h 147"/>
                <a:gd name="T6" fmla="*/ 25 w 149"/>
                <a:gd name="T7" fmla="*/ 145 h 147"/>
                <a:gd name="T8" fmla="*/ 19 w 149"/>
                <a:gd name="T9" fmla="*/ 141 h 147"/>
                <a:gd name="T10" fmla="*/ 12 w 149"/>
                <a:gd name="T11" fmla="*/ 136 h 147"/>
                <a:gd name="T12" fmla="*/ 7 w 149"/>
                <a:gd name="T13" fmla="*/ 130 h 147"/>
                <a:gd name="T14" fmla="*/ 4 w 149"/>
                <a:gd name="T15" fmla="*/ 124 h 147"/>
                <a:gd name="T16" fmla="*/ 2 w 149"/>
                <a:gd name="T17" fmla="*/ 116 h 147"/>
                <a:gd name="T18" fmla="*/ 0 w 149"/>
                <a:gd name="T19" fmla="*/ 108 h 147"/>
                <a:gd name="T20" fmla="*/ 0 w 149"/>
                <a:gd name="T21" fmla="*/ 40 h 147"/>
                <a:gd name="T22" fmla="*/ 2 w 149"/>
                <a:gd name="T23" fmla="*/ 32 h 147"/>
                <a:gd name="T24" fmla="*/ 4 w 149"/>
                <a:gd name="T25" fmla="*/ 24 h 147"/>
                <a:gd name="T26" fmla="*/ 7 w 149"/>
                <a:gd name="T27" fmla="*/ 17 h 147"/>
                <a:gd name="T28" fmla="*/ 12 w 149"/>
                <a:gd name="T29" fmla="*/ 12 h 147"/>
                <a:gd name="T30" fmla="*/ 19 w 149"/>
                <a:gd name="T31" fmla="*/ 7 h 147"/>
                <a:gd name="T32" fmla="*/ 25 w 149"/>
                <a:gd name="T33" fmla="*/ 3 h 147"/>
                <a:gd name="T34" fmla="*/ 32 w 149"/>
                <a:gd name="T35" fmla="*/ 0 h 147"/>
                <a:gd name="T36" fmla="*/ 40 w 149"/>
                <a:gd name="T37" fmla="*/ 0 h 147"/>
                <a:gd name="T38" fmla="*/ 109 w 149"/>
                <a:gd name="T39" fmla="*/ 0 h 147"/>
                <a:gd name="T40" fmla="*/ 117 w 149"/>
                <a:gd name="T41" fmla="*/ 0 h 147"/>
                <a:gd name="T42" fmla="*/ 125 w 149"/>
                <a:gd name="T43" fmla="*/ 3 h 147"/>
                <a:gd name="T44" fmla="*/ 132 w 149"/>
                <a:gd name="T45" fmla="*/ 7 h 147"/>
                <a:gd name="T46" fmla="*/ 137 w 149"/>
                <a:gd name="T47" fmla="*/ 12 h 147"/>
                <a:gd name="T48" fmla="*/ 142 w 149"/>
                <a:gd name="T49" fmla="*/ 17 h 147"/>
                <a:gd name="T50" fmla="*/ 146 w 149"/>
                <a:gd name="T51" fmla="*/ 24 h 147"/>
                <a:gd name="T52" fmla="*/ 148 w 149"/>
                <a:gd name="T53" fmla="*/ 32 h 147"/>
                <a:gd name="T54" fmla="*/ 149 w 149"/>
                <a:gd name="T55" fmla="*/ 40 h 147"/>
                <a:gd name="T56" fmla="*/ 149 w 149"/>
                <a:gd name="T57" fmla="*/ 108 h 147"/>
                <a:gd name="T58" fmla="*/ 148 w 149"/>
                <a:gd name="T59" fmla="*/ 116 h 147"/>
                <a:gd name="T60" fmla="*/ 146 w 149"/>
                <a:gd name="T61" fmla="*/ 124 h 147"/>
                <a:gd name="T62" fmla="*/ 142 w 149"/>
                <a:gd name="T63" fmla="*/ 130 h 147"/>
                <a:gd name="T64" fmla="*/ 137 w 149"/>
                <a:gd name="T65" fmla="*/ 136 h 147"/>
                <a:gd name="T66" fmla="*/ 132 w 149"/>
                <a:gd name="T67" fmla="*/ 141 h 147"/>
                <a:gd name="T68" fmla="*/ 125 w 149"/>
                <a:gd name="T69" fmla="*/ 145 h 147"/>
                <a:gd name="T70" fmla="*/ 117 w 149"/>
                <a:gd name="T71" fmla="*/ 146 h 147"/>
                <a:gd name="T72" fmla="*/ 109 w 149"/>
                <a:gd name="T73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9" h="147">
                  <a:moveTo>
                    <a:pt x="109" y="147"/>
                  </a:moveTo>
                  <a:lnTo>
                    <a:pt x="40" y="147"/>
                  </a:lnTo>
                  <a:lnTo>
                    <a:pt x="32" y="146"/>
                  </a:lnTo>
                  <a:lnTo>
                    <a:pt x="25" y="145"/>
                  </a:lnTo>
                  <a:lnTo>
                    <a:pt x="19" y="141"/>
                  </a:lnTo>
                  <a:lnTo>
                    <a:pt x="12" y="136"/>
                  </a:lnTo>
                  <a:lnTo>
                    <a:pt x="7" y="130"/>
                  </a:lnTo>
                  <a:lnTo>
                    <a:pt x="4" y="124"/>
                  </a:lnTo>
                  <a:lnTo>
                    <a:pt x="2" y="116"/>
                  </a:lnTo>
                  <a:lnTo>
                    <a:pt x="0" y="108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7" y="17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5" y="3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09" y="0"/>
                  </a:lnTo>
                  <a:lnTo>
                    <a:pt x="117" y="0"/>
                  </a:lnTo>
                  <a:lnTo>
                    <a:pt x="125" y="3"/>
                  </a:lnTo>
                  <a:lnTo>
                    <a:pt x="132" y="7"/>
                  </a:lnTo>
                  <a:lnTo>
                    <a:pt x="137" y="12"/>
                  </a:lnTo>
                  <a:lnTo>
                    <a:pt x="142" y="17"/>
                  </a:lnTo>
                  <a:lnTo>
                    <a:pt x="146" y="24"/>
                  </a:lnTo>
                  <a:lnTo>
                    <a:pt x="148" y="32"/>
                  </a:lnTo>
                  <a:lnTo>
                    <a:pt x="149" y="40"/>
                  </a:lnTo>
                  <a:lnTo>
                    <a:pt x="149" y="108"/>
                  </a:lnTo>
                  <a:lnTo>
                    <a:pt x="148" y="116"/>
                  </a:lnTo>
                  <a:lnTo>
                    <a:pt x="146" y="124"/>
                  </a:lnTo>
                  <a:lnTo>
                    <a:pt x="142" y="130"/>
                  </a:lnTo>
                  <a:lnTo>
                    <a:pt x="137" y="136"/>
                  </a:lnTo>
                  <a:lnTo>
                    <a:pt x="132" y="141"/>
                  </a:lnTo>
                  <a:lnTo>
                    <a:pt x="125" y="145"/>
                  </a:lnTo>
                  <a:lnTo>
                    <a:pt x="117" y="146"/>
                  </a:lnTo>
                  <a:lnTo>
                    <a:pt x="109" y="147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88" name="Freeform 102"/>
            <p:cNvSpPr>
              <a:spLocks noEditPoints="1"/>
            </p:cNvSpPr>
            <p:nvPr/>
          </p:nvSpPr>
          <p:spPr bwMode="auto">
            <a:xfrm>
              <a:off x="1296988" y="5776913"/>
              <a:ext cx="68263" cy="66675"/>
            </a:xfrm>
            <a:custGeom>
              <a:avLst/>
              <a:gdLst>
                <a:gd name="T0" fmla="*/ 46 w 173"/>
                <a:gd name="T1" fmla="*/ 24 h 171"/>
                <a:gd name="T2" fmla="*/ 37 w 173"/>
                <a:gd name="T3" fmla="*/ 28 h 171"/>
                <a:gd name="T4" fmla="*/ 29 w 173"/>
                <a:gd name="T5" fmla="*/ 36 h 171"/>
                <a:gd name="T6" fmla="*/ 25 w 173"/>
                <a:gd name="T7" fmla="*/ 46 h 171"/>
                <a:gd name="T8" fmla="*/ 25 w 173"/>
                <a:gd name="T9" fmla="*/ 120 h 171"/>
                <a:gd name="T10" fmla="*/ 27 w 173"/>
                <a:gd name="T11" fmla="*/ 130 h 171"/>
                <a:gd name="T12" fmla="*/ 33 w 173"/>
                <a:gd name="T13" fmla="*/ 140 h 171"/>
                <a:gd name="T14" fmla="*/ 41 w 173"/>
                <a:gd name="T15" fmla="*/ 145 h 171"/>
                <a:gd name="T16" fmla="*/ 52 w 173"/>
                <a:gd name="T17" fmla="*/ 148 h 171"/>
                <a:gd name="T18" fmla="*/ 127 w 173"/>
                <a:gd name="T19" fmla="*/ 146 h 171"/>
                <a:gd name="T20" fmla="*/ 137 w 173"/>
                <a:gd name="T21" fmla="*/ 142 h 171"/>
                <a:gd name="T22" fmla="*/ 144 w 173"/>
                <a:gd name="T23" fmla="*/ 136 h 171"/>
                <a:gd name="T24" fmla="*/ 148 w 173"/>
                <a:gd name="T25" fmla="*/ 125 h 171"/>
                <a:gd name="T26" fmla="*/ 149 w 173"/>
                <a:gd name="T27" fmla="*/ 52 h 171"/>
                <a:gd name="T28" fmla="*/ 146 w 173"/>
                <a:gd name="T29" fmla="*/ 41 h 171"/>
                <a:gd name="T30" fmla="*/ 141 w 173"/>
                <a:gd name="T31" fmla="*/ 32 h 171"/>
                <a:gd name="T32" fmla="*/ 132 w 173"/>
                <a:gd name="T33" fmla="*/ 27 h 171"/>
                <a:gd name="T34" fmla="*/ 121 w 173"/>
                <a:gd name="T35" fmla="*/ 24 h 171"/>
                <a:gd name="T36" fmla="*/ 121 w 173"/>
                <a:gd name="T37" fmla="*/ 171 h 171"/>
                <a:gd name="T38" fmla="*/ 41 w 173"/>
                <a:gd name="T39" fmla="*/ 170 h 171"/>
                <a:gd name="T40" fmla="*/ 23 w 173"/>
                <a:gd name="T41" fmla="*/ 162 h 171"/>
                <a:gd name="T42" fmla="*/ 10 w 173"/>
                <a:gd name="T43" fmla="*/ 149 h 171"/>
                <a:gd name="T44" fmla="*/ 2 w 173"/>
                <a:gd name="T45" fmla="*/ 130 h 171"/>
                <a:gd name="T46" fmla="*/ 0 w 173"/>
                <a:gd name="T47" fmla="*/ 52 h 171"/>
                <a:gd name="T48" fmla="*/ 4 w 173"/>
                <a:gd name="T49" fmla="*/ 30 h 171"/>
                <a:gd name="T50" fmla="*/ 16 w 173"/>
                <a:gd name="T51" fmla="*/ 15 h 171"/>
                <a:gd name="T52" fmla="*/ 32 w 173"/>
                <a:gd name="T53" fmla="*/ 4 h 171"/>
                <a:gd name="T54" fmla="*/ 52 w 173"/>
                <a:gd name="T55" fmla="*/ 0 h 171"/>
                <a:gd name="T56" fmla="*/ 132 w 173"/>
                <a:gd name="T57" fmla="*/ 0 h 171"/>
                <a:gd name="T58" fmla="*/ 150 w 173"/>
                <a:gd name="T59" fmla="*/ 8 h 171"/>
                <a:gd name="T60" fmla="*/ 165 w 173"/>
                <a:gd name="T61" fmla="*/ 23 h 171"/>
                <a:gd name="T62" fmla="*/ 171 w 173"/>
                <a:gd name="T63" fmla="*/ 41 h 171"/>
                <a:gd name="T64" fmla="*/ 173 w 173"/>
                <a:gd name="T65" fmla="*/ 120 h 171"/>
                <a:gd name="T66" fmla="*/ 169 w 173"/>
                <a:gd name="T67" fmla="*/ 140 h 171"/>
                <a:gd name="T68" fmla="*/ 158 w 173"/>
                <a:gd name="T69" fmla="*/ 155 h 171"/>
                <a:gd name="T70" fmla="*/ 141 w 173"/>
                <a:gd name="T71" fmla="*/ 167 h 171"/>
                <a:gd name="T72" fmla="*/ 121 w 173"/>
                <a:gd name="T73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3" h="171">
                  <a:moveTo>
                    <a:pt x="52" y="24"/>
                  </a:moveTo>
                  <a:lnTo>
                    <a:pt x="46" y="24"/>
                  </a:lnTo>
                  <a:lnTo>
                    <a:pt x="41" y="27"/>
                  </a:lnTo>
                  <a:lnTo>
                    <a:pt x="37" y="28"/>
                  </a:lnTo>
                  <a:lnTo>
                    <a:pt x="33" y="32"/>
                  </a:lnTo>
                  <a:lnTo>
                    <a:pt x="29" y="36"/>
                  </a:lnTo>
                  <a:lnTo>
                    <a:pt x="27" y="41"/>
                  </a:lnTo>
                  <a:lnTo>
                    <a:pt x="25" y="46"/>
                  </a:lnTo>
                  <a:lnTo>
                    <a:pt x="25" y="52"/>
                  </a:lnTo>
                  <a:lnTo>
                    <a:pt x="25" y="120"/>
                  </a:lnTo>
                  <a:lnTo>
                    <a:pt x="25" y="125"/>
                  </a:lnTo>
                  <a:lnTo>
                    <a:pt x="27" y="130"/>
                  </a:lnTo>
                  <a:lnTo>
                    <a:pt x="29" y="136"/>
                  </a:lnTo>
                  <a:lnTo>
                    <a:pt x="33" y="140"/>
                  </a:lnTo>
                  <a:lnTo>
                    <a:pt x="37" y="142"/>
                  </a:lnTo>
                  <a:lnTo>
                    <a:pt x="41" y="145"/>
                  </a:lnTo>
                  <a:lnTo>
                    <a:pt x="46" y="146"/>
                  </a:lnTo>
                  <a:lnTo>
                    <a:pt x="52" y="148"/>
                  </a:lnTo>
                  <a:lnTo>
                    <a:pt x="121" y="148"/>
                  </a:lnTo>
                  <a:lnTo>
                    <a:pt x="127" y="146"/>
                  </a:lnTo>
                  <a:lnTo>
                    <a:pt x="132" y="145"/>
                  </a:lnTo>
                  <a:lnTo>
                    <a:pt x="137" y="142"/>
                  </a:lnTo>
                  <a:lnTo>
                    <a:pt x="141" y="140"/>
                  </a:lnTo>
                  <a:lnTo>
                    <a:pt x="144" y="136"/>
                  </a:lnTo>
                  <a:lnTo>
                    <a:pt x="146" y="130"/>
                  </a:lnTo>
                  <a:lnTo>
                    <a:pt x="148" y="125"/>
                  </a:lnTo>
                  <a:lnTo>
                    <a:pt x="149" y="120"/>
                  </a:lnTo>
                  <a:lnTo>
                    <a:pt x="149" y="52"/>
                  </a:lnTo>
                  <a:lnTo>
                    <a:pt x="148" y="46"/>
                  </a:lnTo>
                  <a:lnTo>
                    <a:pt x="146" y="41"/>
                  </a:lnTo>
                  <a:lnTo>
                    <a:pt x="144" y="36"/>
                  </a:lnTo>
                  <a:lnTo>
                    <a:pt x="141" y="32"/>
                  </a:lnTo>
                  <a:lnTo>
                    <a:pt x="137" y="28"/>
                  </a:lnTo>
                  <a:lnTo>
                    <a:pt x="132" y="27"/>
                  </a:lnTo>
                  <a:lnTo>
                    <a:pt x="127" y="24"/>
                  </a:lnTo>
                  <a:lnTo>
                    <a:pt x="121" y="24"/>
                  </a:lnTo>
                  <a:lnTo>
                    <a:pt x="52" y="24"/>
                  </a:lnTo>
                  <a:close/>
                  <a:moveTo>
                    <a:pt x="121" y="171"/>
                  </a:moveTo>
                  <a:lnTo>
                    <a:pt x="52" y="171"/>
                  </a:lnTo>
                  <a:lnTo>
                    <a:pt x="41" y="170"/>
                  </a:lnTo>
                  <a:lnTo>
                    <a:pt x="32" y="167"/>
                  </a:lnTo>
                  <a:lnTo>
                    <a:pt x="23" y="162"/>
                  </a:lnTo>
                  <a:lnTo>
                    <a:pt x="16" y="155"/>
                  </a:lnTo>
                  <a:lnTo>
                    <a:pt x="10" y="149"/>
                  </a:lnTo>
                  <a:lnTo>
                    <a:pt x="4" y="140"/>
                  </a:lnTo>
                  <a:lnTo>
                    <a:pt x="2" y="130"/>
                  </a:lnTo>
                  <a:lnTo>
                    <a:pt x="0" y="120"/>
                  </a:lnTo>
                  <a:lnTo>
                    <a:pt x="0" y="52"/>
                  </a:lnTo>
                  <a:lnTo>
                    <a:pt x="2" y="41"/>
                  </a:lnTo>
                  <a:lnTo>
                    <a:pt x="4" y="30"/>
                  </a:lnTo>
                  <a:lnTo>
                    <a:pt x="10" y="23"/>
                  </a:lnTo>
                  <a:lnTo>
                    <a:pt x="16" y="15"/>
                  </a:lnTo>
                  <a:lnTo>
                    <a:pt x="23" y="8"/>
                  </a:lnTo>
                  <a:lnTo>
                    <a:pt x="32" y="4"/>
                  </a:lnTo>
                  <a:lnTo>
                    <a:pt x="41" y="0"/>
                  </a:lnTo>
                  <a:lnTo>
                    <a:pt x="52" y="0"/>
                  </a:lnTo>
                  <a:lnTo>
                    <a:pt x="121" y="0"/>
                  </a:lnTo>
                  <a:lnTo>
                    <a:pt x="132" y="0"/>
                  </a:lnTo>
                  <a:lnTo>
                    <a:pt x="141" y="4"/>
                  </a:lnTo>
                  <a:lnTo>
                    <a:pt x="150" y="8"/>
                  </a:lnTo>
                  <a:lnTo>
                    <a:pt x="158" y="15"/>
                  </a:lnTo>
                  <a:lnTo>
                    <a:pt x="165" y="23"/>
                  </a:lnTo>
                  <a:lnTo>
                    <a:pt x="169" y="30"/>
                  </a:lnTo>
                  <a:lnTo>
                    <a:pt x="171" y="41"/>
                  </a:lnTo>
                  <a:lnTo>
                    <a:pt x="173" y="52"/>
                  </a:lnTo>
                  <a:lnTo>
                    <a:pt x="173" y="120"/>
                  </a:lnTo>
                  <a:lnTo>
                    <a:pt x="171" y="130"/>
                  </a:lnTo>
                  <a:lnTo>
                    <a:pt x="169" y="140"/>
                  </a:lnTo>
                  <a:lnTo>
                    <a:pt x="165" y="149"/>
                  </a:lnTo>
                  <a:lnTo>
                    <a:pt x="158" y="155"/>
                  </a:lnTo>
                  <a:lnTo>
                    <a:pt x="150" y="162"/>
                  </a:lnTo>
                  <a:lnTo>
                    <a:pt x="141" y="167"/>
                  </a:lnTo>
                  <a:lnTo>
                    <a:pt x="132" y="170"/>
                  </a:lnTo>
                  <a:lnTo>
                    <a:pt x="121" y="17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91" name="Freeform 103"/>
            <p:cNvSpPr>
              <a:spLocks/>
            </p:cNvSpPr>
            <p:nvPr/>
          </p:nvSpPr>
          <p:spPr bwMode="auto">
            <a:xfrm>
              <a:off x="1143000" y="5700713"/>
              <a:ext cx="31750" cy="9525"/>
            </a:xfrm>
            <a:custGeom>
              <a:avLst/>
              <a:gdLst>
                <a:gd name="T0" fmla="*/ 66 w 77"/>
                <a:gd name="T1" fmla="*/ 24 h 24"/>
                <a:gd name="T2" fmla="*/ 13 w 77"/>
                <a:gd name="T3" fmla="*/ 24 h 24"/>
                <a:gd name="T4" fmla="*/ 8 w 77"/>
                <a:gd name="T5" fmla="*/ 24 h 24"/>
                <a:gd name="T6" fmla="*/ 4 w 77"/>
                <a:gd name="T7" fmla="*/ 21 h 24"/>
                <a:gd name="T8" fmla="*/ 1 w 77"/>
                <a:gd name="T9" fmla="*/ 17 h 24"/>
                <a:gd name="T10" fmla="*/ 0 w 77"/>
                <a:gd name="T11" fmla="*/ 12 h 24"/>
                <a:gd name="T12" fmla="*/ 1 w 77"/>
                <a:gd name="T13" fmla="*/ 8 h 24"/>
                <a:gd name="T14" fmla="*/ 4 w 77"/>
                <a:gd name="T15" fmla="*/ 4 h 24"/>
                <a:gd name="T16" fmla="*/ 8 w 77"/>
                <a:gd name="T17" fmla="*/ 1 h 24"/>
                <a:gd name="T18" fmla="*/ 13 w 77"/>
                <a:gd name="T19" fmla="*/ 0 h 24"/>
                <a:gd name="T20" fmla="*/ 66 w 77"/>
                <a:gd name="T21" fmla="*/ 0 h 24"/>
                <a:gd name="T22" fmla="*/ 70 w 77"/>
                <a:gd name="T23" fmla="*/ 1 h 24"/>
                <a:gd name="T24" fmla="*/ 73 w 77"/>
                <a:gd name="T25" fmla="*/ 4 h 24"/>
                <a:gd name="T26" fmla="*/ 76 w 77"/>
                <a:gd name="T27" fmla="*/ 8 h 24"/>
                <a:gd name="T28" fmla="*/ 77 w 77"/>
                <a:gd name="T29" fmla="*/ 12 h 24"/>
                <a:gd name="T30" fmla="*/ 76 w 77"/>
                <a:gd name="T31" fmla="*/ 17 h 24"/>
                <a:gd name="T32" fmla="*/ 73 w 77"/>
                <a:gd name="T33" fmla="*/ 21 h 24"/>
                <a:gd name="T34" fmla="*/ 70 w 77"/>
                <a:gd name="T35" fmla="*/ 24 h 24"/>
                <a:gd name="T36" fmla="*/ 66 w 77"/>
                <a:gd name="T3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24">
                  <a:moveTo>
                    <a:pt x="66" y="24"/>
                  </a:moveTo>
                  <a:lnTo>
                    <a:pt x="13" y="24"/>
                  </a:lnTo>
                  <a:lnTo>
                    <a:pt x="8" y="24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66" y="0"/>
                  </a:lnTo>
                  <a:lnTo>
                    <a:pt x="70" y="1"/>
                  </a:lnTo>
                  <a:lnTo>
                    <a:pt x="73" y="4"/>
                  </a:lnTo>
                  <a:lnTo>
                    <a:pt x="76" y="8"/>
                  </a:lnTo>
                  <a:lnTo>
                    <a:pt x="77" y="12"/>
                  </a:lnTo>
                  <a:lnTo>
                    <a:pt x="76" y="17"/>
                  </a:lnTo>
                  <a:lnTo>
                    <a:pt x="73" y="21"/>
                  </a:lnTo>
                  <a:lnTo>
                    <a:pt x="70" y="24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92" name="Freeform 104"/>
            <p:cNvSpPr>
              <a:spLocks/>
            </p:cNvSpPr>
            <p:nvPr/>
          </p:nvSpPr>
          <p:spPr bwMode="auto">
            <a:xfrm>
              <a:off x="1069975" y="5791200"/>
              <a:ext cx="142875" cy="9525"/>
            </a:xfrm>
            <a:custGeom>
              <a:avLst/>
              <a:gdLst>
                <a:gd name="T0" fmla="*/ 346 w 358"/>
                <a:gd name="T1" fmla="*/ 24 h 24"/>
                <a:gd name="T2" fmla="*/ 12 w 358"/>
                <a:gd name="T3" fmla="*/ 24 h 24"/>
                <a:gd name="T4" fmla="*/ 8 w 358"/>
                <a:gd name="T5" fmla="*/ 24 h 24"/>
                <a:gd name="T6" fmla="*/ 4 w 358"/>
                <a:gd name="T7" fmla="*/ 21 h 24"/>
                <a:gd name="T8" fmla="*/ 2 w 358"/>
                <a:gd name="T9" fmla="*/ 17 h 24"/>
                <a:gd name="T10" fmla="*/ 0 w 358"/>
                <a:gd name="T11" fmla="*/ 12 h 24"/>
                <a:gd name="T12" fmla="*/ 2 w 358"/>
                <a:gd name="T13" fmla="*/ 7 h 24"/>
                <a:gd name="T14" fmla="*/ 4 w 358"/>
                <a:gd name="T15" fmla="*/ 4 h 24"/>
                <a:gd name="T16" fmla="*/ 8 w 358"/>
                <a:gd name="T17" fmla="*/ 2 h 24"/>
                <a:gd name="T18" fmla="*/ 12 w 358"/>
                <a:gd name="T19" fmla="*/ 0 h 24"/>
                <a:gd name="T20" fmla="*/ 346 w 358"/>
                <a:gd name="T21" fmla="*/ 0 h 24"/>
                <a:gd name="T22" fmla="*/ 352 w 358"/>
                <a:gd name="T23" fmla="*/ 2 h 24"/>
                <a:gd name="T24" fmla="*/ 356 w 358"/>
                <a:gd name="T25" fmla="*/ 4 h 24"/>
                <a:gd name="T26" fmla="*/ 358 w 358"/>
                <a:gd name="T27" fmla="*/ 7 h 24"/>
                <a:gd name="T28" fmla="*/ 358 w 358"/>
                <a:gd name="T29" fmla="*/ 12 h 24"/>
                <a:gd name="T30" fmla="*/ 358 w 358"/>
                <a:gd name="T31" fmla="*/ 17 h 24"/>
                <a:gd name="T32" fmla="*/ 356 w 358"/>
                <a:gd name="T33" fmla="*/ 21 h 24"/>
                <a:gd name="T34" fmla="*/ 352 w 358"/>
                <a:gd name="T35" fmla="*/ 24 h 24"/>
                <a:gd name="T36" fmla="*/ 346 w 358"/>
                <a:gd name="T3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8" h="24">
                  <a:moveTo>
                    <a:pt x="346" y="24"/>
                  </a:moveTo>
                  <a:lnTo>
                    <a:pt x="12" y="24"/>
                  </a:lnTo>
                  <a:lnTo>
                    <a:pt x="8" y="24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346" y="0"/>
                  </a:lnTo>
                  <a:lnTo>
                    <a:pt x="352" y="2"/>
                  </a:lnTo>
                  <a:lnTo>
                    <a:pt x="356" y="4"/>
                  </a:lnTo>
                  <a:lnTo>
                    <a:pt x="358" y="7"/>
                  </a:lnTo>
                  <a:lnTo>
                    <a:pt x="358" y="12"/>
                  </a:lnTo>
                  <a:lnTo>
                    <a:pt x="358" y="17"/>
                  </a:lnTo>
                  <a:lnTo>
                    <a:pt x="356" y="21"/>
                  </a:lnTo>
                  <a:lnTo>
                    <a:pt x="352" y="24"/>
                  </a:lnTo>
                  <a:lnTo>
                    <a:pt x="346" y="2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93" name="Freeform 105"/>
            <p:cNvSpPr>
              <a:spLocks/>
            </p:cNvSpPr>
            <p:nvPr/>
          </p:nvSpPr>
          <p:spPr bwMode="auto">
            <a:xfrm>
              <a:off x="452438" y="5786438"/>
              <a:ext cx="103188" cy="104775"/>
            </a:xfrm>
            <a:custGeom>
              <a:avLst/>
              <a:gdLst>
                <a:gd name="T0" fmla="*/ 262 w 262"/>
                <a:gd name="T1" fmla="*/ 145 h 262"/>
                <a:gd name="T2" fmla="*/ 257 w 262"/>
                <a:gd name="T3" fmla="*/ 170 h 262"/>
                <a:gd name="T4" fmla="*/ 246 w 262"/>
                <a:gd name="T5" fmla="*/ 193 h 262"/>
                <a:gd name="T6" fmla="*/ 232 w 262"/>
                <a:gd name="T7" fmla="*/ 214 h 262"/>
                <a:gd name="T8" fmla="*/ 215 w 262"/>
                <a:gd name="T9" fmla="*/ 231 h 262"/>
                <a:gd name="T10" fmla="*/ 194 w 262"/>
                <a:gd name="T11" fmla="*/ 246 h 262"/>
                <a:gd name="T12" fmla="*/ 170 w 262"/>
                <a:gd name="T13" fmla="*/ 256 h 262"/>
                <a:gd name="T14" fmla="*/ 145 w 262"/>
                <a:gd name="T15" fmla="*/ 262 h 262"/>
                <a:gd name="T16" fmla="*/ 118 w 262"/>
                <a:gd name="T17" fmla="*/ 262 h 262"/>
                <a:gd name="T18" fmla="*/ 93 w 262"/>
                <a:gd name="T19" fmla="*/ 256 h 262"/>
                <a:gd name="T20" fmla="*/ 69 w 262"/>
                <a:gd name="T21" fmla="*/ 246 h 262"/>
                <a:gd name="T22" fmla="*/ 48 w 262"/>
                <a:gd name="T23" fmla="*/ 231 h 262"/>
                <a:gd name="T24" fmla="*/ 31 w 262"/>
                <a:gd name="T25" fmla="*/ 214 h 262"/>
                <a:gd name="T26" fmla="*/ 16 w 262"/>
                <a:gd name="T27" fmla="*/ 193 h 262"/>
                <a:gd name="T28" fmla="*/ 6 w 262"/>
                <a:gd name="T29" fmla="*/ 170 h 262"/>
                <a:gd name="T30" fmla="*/ 0 w 262"/>
                <a:gd name="T31" fmla="*/ 145 h 262"/>
                <a:gd name="T32" fmla="*/ 0 w 262"/>
                <a:gd name="T33" fmla="*/ 117 h 262"/>
                <a:gd name="T34" fmla="*/ 6 w 262"/>
                <a:gd name="T35" fmla="*/ 92 h 262"/>
                <a:gd name="T36" fmla="*/ 16 w 262"/>
                <a:gd name="T37" fmla="*/ 68 h 262"/>
                <a:gd name="T38" fmla="*/ 31 w 262"/>
                <a:gd name="T39" fmla="*/ 47 h 262"/>
                <a:gd name="T40" fmla="*/ 48 w 262"/>
                <a:gd name="T41" fmla="*/ 30 h 262"/>
                <a:gd name="T42" fmla="*/ 69 w 262"/>
                <a:gd name="T43" fmla="*/ 16 h 262"/>
                <a:gd name="T44" fmla="*/ 93 w 262"/>
                <a:gd name="T45" fmla="*/ 5 h 262"/>
                <a:gd name="T46" fmla="*/ 118 w 262"/>
                <a:gd name="T47" fmla="*/ 0 h 262"/>
                <a:gd name="T48" fmla="*/ 145 w 262"/>
                <a:gd name="T49" fmla="*/ 0 h 262"/>
                <a:gd name="T50" fmla="*/ 170 w 262"/>
                <a:gd name="T51" fmla="*/ 5 h 262"/>
                <a:gd name="T52" fmla="*/ 194 w 262"/>
                <a:gd name="T53" fmla="*/ 16 h 262"/>
                <a:gd name="T54" fmla="*/ 215 w 262"/>
                <a:gd name="T55" fmla="*/ 30 h 262"/>
                <a:gd name="T56" fmla="*/ 232 w 262"/>
                <a:gd name="T57" fmla="*/ 47 h 262"/>
                <a:gd name="T58" fmla="*/ 246 w 262"/>
                <a:gd name="T59" fmla="*/ 68 h 262"/>
                <a:gd name="T60" fmla="*/ 257 w 262"/>
                <a:gd name="T61" fmla="*/ 92 h 262"/>
                <a:gd name="T62" fmla="*/ 262 w 262"/>
                <a:gd name="T63" fmla="*/ 117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2" h="262">
                  <a:moveTo>
                    <a:pt x="262" y="130"/>
                  </a:moveTo>
                  <a:lnTo>
                    <a:pt x="262" y="145"/>
                  </a:lnTo>
                  <a:lnTo>
                    <a:pt x="260" y="158"/>
                  </a:lnTo>
                  <a:lnTo>
                    <a:pt x="257" y="170"/>
                  </a:lnTo>
                  <a:lnTo>
                    <a:pt x="252" y="181"/>
                  </a:lnTo>
                  <a:lnTo>
                    <a:pt x="246" y="193"/>
                  </a:lnTo>
                  <a:lnTo>
                    <a:pt x="240" y="204"/>
                  </a:lnTo>
                  <a:lnTo>
                    <a:pt x="232" y="214"/>
                  </a:lnTo>
                  <a:lnTo>
                    <a:pt x="224" y="224"/>
                  </a:lnTo>
                  <a:lnTo>
                    <a:pt x="215" y="231"/>
                  </a:lnTo>
                  <a:lnTo>
                    <a:pt x="204" y="239"/>
                  </a:lnTo>
                  <a:lnTo>
                    <a:pt x="194" y="246"/>
                  </a:lnTo>
                  <a:lnTo>
                    <a:pt x="182" y="251"/>
                  </a:lnTo>
                  <a:lnTo>
                    <a:pt x="170" y="256"/>
                  </a:lnTo>
                  <a:lnTo>
                    <a:pt x="158" y="259"/>
                  </a:lnTo>
                  <a:lnTo>
                    <a:pt x="145" y="262"/>
                  </a:lnTo>
                  <a:lnTo>
                    <a:pt x="132" y="262"/>
                  </a:lnTo>
                  <a:lnTo>
                    <a:pt x="118" y="262"/>
                  </a:lnTo>
                  <a:lnTo>
                    <a:pt x="104" y="259"/>
                  </a:lnTo>
                  <a:lnTo>
                    <a:pt x="93" y="256"/>
                  </a:lnTo>
                  <a:lnTo>
                    <a:pt x="81" y="251"/>
                  </a:lnTo>
                  <a:lnTo>
                    <a:pt x="69" y="246"/>
                  </a:lnTo>
                  <a:lnTo>
                    <a:pt x="58" y="239"/>
                  </a:lnTo>
                  <a:lnTo>
                    <a:pt x="48" y="231"/>
                  </a:lnTo>
                  <a:lnTo>
                    <a:pt x="39" y="224"/>
                  </a:lnTo>
                  <a:lnTo>
                    <a:pt x="31" y="214"/>
                  </a:lnTo>
                  <a:lnTo>
                    <a:pt x="23" y="204"/>
                  </a:lnTo>
                  <a:lnTo>
                    <a:pt x="16" y="193"/>
                  </a:lnTo>
                  <a:lnTo>
                    <a:pt x="11" y="181"/>
                  </a:lnTo>
                  <a:lnTo>
                    <a:pt x="6" y="170"/>
                  </a:lnTo>
                  <a:lnTo>
                    <a:pt x="3" y="158"/>
                  </a:lnTo>
                  <a:lnTo>
                    <a:pt x="0" y="145"/>
                  </a:lnTo>
                  <a:lnTo>
                    <a:pt x="0" y="130"/>
                  </a:lnTo>
                  <a:lnTo>
                    <a:pt x="0" y="117"/>
                  </a:lnTo>
                  <a:lnTo>
                    <a:pt x="3" y="104"/>
                  </a:lnTo>
                  <a:lnTo>
                    <a:pt x="6" y="92"/>
                  </a:lnTo>
                  <a:lnTo>
                    <a:pt x="11" y="80"/>
                  </a:lnTo>
                  <a:lnTo>
                    <a:pt x="16" y="68"/>
                  </a:lnTo>
                  <a:lnTo>
                    <a:pt x="23" y="58"/>
                  </a:lnTo>
                  <a:lnTo>
                    <a:pt x="31" y="47"/>
                  </a:lnTo>
                  <a:lnTo>
                    <a:pt x="39" y="38"/>
                  </a:lnTo>
                  <a:lnTo>
                    <a:pt x="48" y="30"/>
                  </a:lnTo>
                  <a:lnTo>
                    <a:pt x="58" y="22"/>
                  </a:lnTo>
                  <a:lnTo>
                    <a:pt x="69" y="16"/>
                  </a:lnTo>
                  <a:lnTo>
                    <a:pt x="81" y="10"/>
                  </a:lnTo>
                  <a:lnTo>
                    <a:pt x="93" y="5"/>
                  </a:lnTo>
                  <a:lnTo>
                    <a:pt x="104" y="2"/>
                  </a:lnTo>
                  <a:lnTo>
                    <a:pt x="118" y="0"/>
                  </a:lnTo>
                  <a:lnTo>
                    <a:pt x="132" y="0"/>
                  </a:lnTo>
                  <a:lnTo>
                    <a:pt x="145" y="0"/>
                  </a:lnTo>
                  <a:lnTo>
                    <a:pt x="158" y="2"/>
                  </a:lnTo>
                  <a:lnTo>
                    <a:pt x="170" y="5"/>
                  </a:lnTo>
                  <a:lnTo>
                    <a:pt x="182" y="10"/>
                  </a:lnTo>
                  <a:lnTo>
                    <a:pt x="194" y="16"/>
                  </a:lnTo>
                  <a:lnTo>
                    <a:pt x="204" y="22"/>
                  </a:lnTo>
                  <a:lnTo>
                    <a:pt x="215" y="30"/>
                  </a:lnTo>
                  <a:lnTo>
                    <a:pt x="224" y="38"/>
                  </a:lnTo>
                  <a:lnTo>
                    <a:pt x="232" y="47"/>
                  </a:lnTo>
                  <a:lnTo>
                    <a:pt x="240" y="58"/>
                  </a:lnTo>
                  <a:lnTo>
                    <a:pt x="246" y="68"/>
                  </a:lnTo>
                  <a:lnTo>
                    <a:pt x="252" y="80"/>
                  </a:lnTo>
                  <a:lnTo>
                    <a:pt x="257" y="92"/>
                  </a:lnTo>
                  <a:lnTo>
                    <a:pt x="260" y="104"/>
                  </a:lnTo>
                  <a:lnTo>
                    <a:pt x="262" y="117"/>
                  </a:lnTo>
                  <a:lnTo>
                    <a:pt x="262" y="13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94" name="Freeform 106"/>
            <p:cNvSpPr>
              <a:spLocks noEditPoints="1"/>
            </p:cNvSpPr>
            <p:nvPr/>
          </p:nvSpPr>
          <p:spPr bwMode="auto">
            <a:xfrm>
              <a:off x="447675" y="5781675"/>
              <a:ext cx="112713" cy="114300"/>
            </a:xfrm>
            <a:custGeom>
              <a:avLst/>
              <a:gdLst>
                <a:gd name="T0" fmla="*/ 118 w 285"/>
                <a:gd name="T1" fmla="*/ 26 h 286"/>
                <a:gd name="T2" fmla="*/ 85 w 285"/>
                <a:gd name="T3" fmla="*/ 38 h 286"/>
                <a:gd name="T4" fmla="*/ 57 w 285"/>
                <a:gd name="T5" fmla="*/ 59 h 286"/>
                <a:gd name="T6" fmla="*/ 38 w 285"/>
                <a:gd name="T7" fmla="*/ 86 h 286"/>
                <a:gd name="T8" fmla="*/ 26 w 285"/>
                <a:gd name="T9" fmla="*/ 118 h 286"/>
                <a:gd name="T10" fmla="*/ 23 w 285"/>
                <a:gd name="T11" fmla="*/ 155 h 286"/>
                <a:gd name="T12" fmla="*/ 32 w 285"/>
                <a:gd name="T13" fmla="*/ 189 h 286"/>
                <a:gd name="T14" fmla="*/ 51 w 285"/>
                <a:gd name="T15" fmla="*/ 218 h 286"/>
                <a:gd name="T16" fmla="*/ 76 w 285"/>
                <a:gd name="T17" fmla="*/ 242 h 286"/>
                <a:gd name="T18" fmla="*/ 107 w 285"/>
                <a:gd name="T19" fmla="*/ 257 h 286"/>
                <a:gd name="T20" fmla="*/ 143 w 285"/>
                <a:gd name="T21" fmla="*/ 262 h 286"/>
                <a:gd name="T22" fmla="*/ 177 w 285"/>
                <a:gd name="T23" fmla="*/ 257 h 286"/>
                <a:gd name="T24" fmla="*/ 209 w 285"/>
                <a:gd name="T25" fmla="*/ 242 h 286"/>
                <a:gd name="T26" fmla="*/ 234 w 285"/>
                <a:gd name="T27" fmla="*/ 218 h 286"/>
                <a:gd name="T28" fmla="*/ 252 w 285"/>
                <a:gd name="T29" fmla="*/ 189 h 286"/>
                <a:gd name="T30" fmla="*/ 261 w 285"/>
                <a:gd name="T31" fmla="*/ 155 h 286"/>
                <a:gd name="T32" fmla="*/ 259 w 285"/>
                <a:gd name="T33" fmla="*/ 118 h 286"/>
                <a:gd name="T34" fmla="*/ 247 w 285"/>
                <a:gd name="T35" fmla="*/ 86 h 286"/>
                <a:gd name="T36" fmla="*/ 227 w 285"/>
                <a:gd name="T37" fmla="*/ 59 h 286"/>
                <a:gd name="T38" fmla="*/ 200 w 285"/>
                <a:gd name="T39" fmla="*/ 38 h 286"/>
                <a:gd name="T40" fmla="*/ 167 w 285"/>
                <a:gd name="T41" fmla="*/ 26 h 286"/>
                <a:gd name="T42" fmla="*/ 143 w 285"/>
                <a:gd name="T43" fmla="*/ 286 h 286"/>
                <a:gd name="T44" fmla="*/ 100 w 285"/>
                <a:gd name="T45" fmla="*/ 280 h 286"/>
                <a:gd name="T46" fmla="*/ 63 w 285"/>
                <a:gd name="T47" fmla="*/ 262 h 286"/>
                <a:gd name="T48" fmla="*/ 32 w 285"/>
                <a:gd name="T49" fmla="*/ 234 h 286"/>
                <a:gd name="T50" fmla="*/ 10 w 285"/>
                <a:gd name="T51" fmla="*/ 199 h 286"/>
                <a:gd name="T52" fmla="*/ 0 w 285"/>
                <a:gd name="T53" fmla="*/ 158 h 286"/>
                <a:gd name="T54" fmla="*/ 2 w 285"/>
                <a:gd name="T55" fmla="*/ 114 h 286"/>
                <a:gd name="T56" fmla="*/ 17 w 285"/>
                <a:gd name="T57" fmla="*/ 75 h 286"/>
                <a:gd name="T58" fmla="*/ 42 w 285"/>
                <a:gd name="T59" fmla="*/ 42 h 286"/>
                <a:gd name="T60" fmla="*/ 75 w 285"/>
                <a:gd name="T61" fmla="*/ 17 h 286"/>
                <a:gd name="T62" fmla="*/ 114 w 285"/>
                <a:gd name="T63" fmla="*/ 3 h 286"/>
                <a:gd name="T64" fmla="*/ 157 w 285"/>
                <a:gd name="T65" fmla="*/ 0 h 286"/>
                <a:gd name="T66" fmla="*/ 198 w 285"/>
                <a:gd name="T67" fmla="*/ 11 h 286"/>
                <a:gd name="T68" fmla="*/ 234 w 285"/>
                <a:gd name="T69" fmla="*/ 33 h 286"/>
                <a:gd name="T70" fmla="*/ 261 w 285"/>
                <a:gd name="T71" fmla="*/ 63 h 286"/>
                <a:gd name="T72" fmla="*/ 279 w 285"/>
                <a:gd name="T73" fmla="*/ 100 h 286"/>
                <a:gd name="T74" fmla="*/ 285 w 285"/>
                <a:gd name="T75" fmla="*/ 142 h 286"/>
                <a:gd name="T76" fmla="*/ 279 w 285"/>
                <a:gd name="T77" fmla="*/ 186 h 286"/>
                <a:gd name="T78" fmla="*/ 261 w 285"/>
                <a:gd name="T79" fmla="*/ 222 h 286"/>
                <a:gd name="T80" fmla="*/ 234 w 285"/>
                <a:gd name="T81" fmla="*/ 253 h 286"/>
                <a:gd name="T82" fmla="*/ 198 w 285"/>
                <a:gd name="T83" fmla="*/ 275 h 286"/>
                <a:gd name="T84" fmla="*/ 157 w 285"/>
                <a:gd name="T85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5" h="286">
                  <a:moveTo>
                    <a:pt x="143" y="24"/>
                  </a:moveTo>
                  <a:lnTo>
                    <a:pt x="130" y="24"/>
                  </a:lnTo>
                  <a:lnTo>
                    <a:pt x="118" y="26"/>
                  </a:lnTo>
                  <a:lnTo>
                    <a:pt x="107" y="29"/>
                  </a:lnTo>
                  <a:lnTo>
                    <a:pt x="96" y="33"/>
                  </a:lnTo>
                  <a:lnTo>
                    <a:pt x="85" y="38"/>
                  </a:lnTo>
                  <a:lnTo>
                    <a:pt x="76" y="43"/>
                  </a:lnTo>
                  <a:lnTo>
                    <a:pt x="67" y="51"/>
                  </a:lnTo>
                  <a:lnTo>
                    <a:pt x="57" y="59"/>
                  </a:lnTo>
                  <a:lnTo>
                    <a:pt x="51" y="67"/>
                  </a:lnTo>
                  <a:lnTo>
                    <a:pt x="43" y="76"/>
                  </a:lnTo>
                  <a:lnTo>
                    <a:pt x="38" y="86"/>
                  </a:lnTo>
                  <a:lnTo>
                    <a:pt x="32" y="96"/>
                  </a:lnTo>
                  <a:lnTo>
                    <a:pt x="29" y="108"/>
                  </a:lnTo>
                  <a:lnTo>
                    <a:pt x="26" y="118"/>
                  </a:lnTo>
                  <a:lnTo>
                    <a:pt x="23" y="130"/>
                  </a:lnTo>
                  <a:lnTo>
                    <a:pt x="23" y="142"/>
                  </a:lnTo>
                  <a:lnTo>
                    <a:pt x="23" y="155"/>
                  </a:lnTo>
                  <a:lnTo>
                    <a:pt x="26" y="167"/>
                  </a:lnTo>
                  <a:lnTo>
                    <a:pt x="29" y="178"/>
                  </a:lnTo>
                  <a:lnTo>
                    <a:pt x="32" y="189"/>
                  </a:lnTo>
                  <a:lnTo>
                    <a:pt x="38" y="200"/>
                  </a:lnTo>
                  <a:lnTo>
                    <a:pt x="43" y="209"/>
                  </a:lnTo>
                  <a:lnTo>
                    <a:pt x="51" y="218"/>
                  </a:lnTo>
                  <a:lnTo>
                    <a:pt x="57" y="228"/>
                  </a:lnTo>
                  <a:lnTo>
                    <a:pt x="67" y="234"/>
                  </a:lnTo>
                  <a:lnTo>
                    <a:pt x="76" y="242"/>
                  </a:lnTo>
                  <a:lnTo>
                    <a:pt x="85" y="247"/>
                  </a:lnTo>
                  <a:lnTo>
                    <a:pt x="96" y="253"/>
                  </a:lnTo>
                  <a:lnTo>
                    <a:pt x="107" y="257"/>
                  </a:lnTo>
                  <a:lnTo>
                    <a:pt x="118" y="259"/>
                  </a:lnTo>
                  <a:lnTo>
                    <a:pt x="130" y="262"/>
                  </a:lnTo>
                  <a:lnTo>
                    <a:pt x="143" y="262"/>
                  </a:lnTo>
                  <a:lnTo>
                    <a:pt x="155" y="262"/>
                  </a:lnTo>
                  <a:lnTo>
                    <a:pt x="167" y="259"/>
                  </a:lnTo>
                  <a:lnTo>
                    <a:pt x="177" y="257"/>
                  </a:lnTo>
                  <a:lnTo>
                    <a:pt x="189" y="253"/>
                  </a:lnTo>
                  <a:lnTo>
                    <a:pt x="200" y="247"/>
                  </a:lnTo>
                  <a:lnTo>
                    <a:pt x="209" y="242"/>
                  </a:lnTo>
                  <a:lnTo>
                    <a:pt x="218" y="234"/>
                  </a:lnTo>
                  <a:lnTo>
                    <a:pt x="227" y="228"/>
                  </a:lnTo>
                  <a:lnTo>
                    <a:pt x="234" y="218"/>
                  </a:lnTo>
                  <a:lnTo>
                    <a:pt x="242" y="209"/>
                  </a:lnTo>
                  <a:lnTo>
                    <a:pt x="247" y="200"/>
                  </a:lnTo>
                  <a:lnTo>
                    <a:pt x="252" y="189"/>
                  </a:lnTo>
                  <a:lnTo>
                    <a:pt x="256" y="178"/>
                  </a:lnTo>
                  <a:lnTo>
                    <a:pt x="259" y="167"/>
                  </a:lnTo>
                  <a:lnTo>
                    <a:pt x="261" y="155"/>
                  </a:lnTo>
                  <a:lnTo>
                    <a:pt x="261" y="142"/>
                  </a:lnTo>
                  <a:lnTo>
                    <a:pt x="261" y="130"/>
                  </a:lnTo>
                  <a:lnTo>
                    <a:pt x="259" y="118"/>
                  </a:lnTo>
                  <a:lnTo>
                    <a:pt x="256" y="108"/>
                  </a:lnTo>
                  <a:lnTo>
                    <a:pt x="252" y="96"/>
                  </a:lnTo>
                  <a:lnTo>
                    <a:pt x="247" y="86"/>
                  </a:lnTo>
                  <a:lnTo>
                    <a:pt x="242" y="76"/>
                  </a:lnTo>
                  <a:lnTo>
                    <a:pt x="234" y="67"/>
                  </a:lnTo>
                  <a:lnTo>
                    <a:pt x="227" y="59"/>
                  </a:lnTo>
                  <a:lnTo>
                    <a:pt x="218" y="51"/>
                  </a:lnTo>
                  <a:lnTo>
                    <a:pt x="209" y="43"/>
                  </a:lnTo>
                  <a:lnTo>
                    <a:pt x="200" y="38"/>
                  </a:lnTo>
                  <a:lnTo>
                    <a:pt x="189" y="33"/>
                  </a:lnTo>
                  <a:lnTo>
                    <a:pt x="177" y="29"/>
                  </a:lnTo>
                  <a:lnTo>
                    <a:pt x="167" y="26"/>
                  </a:lnTo>
                  <a:lnTo>
                    <a:pt x="155" y="24"/>
                  </a:lnTo>
                  <a:lnTo>
                    <a:pt x="143" y="24"/>
                  </a:lnTo>
                  <a:close/>
                  <a:moveTo>
                    <a:pt x="143" y="286"/>
                  </a:moveTo>
                  <a:lnTo>
                    <a:pt x="127" y="286"/>
                  </a:lnTo>
                  <a:lnTo>
                    <a:pt x="114" y="283"/>
                  </a:lnTo>
                  <a:lnTo>
                    <a:pt x="100" y="280"/>
                  </a:lnTo>
                  <a:lnTo>
                    <a:pt x="86" y="275"/>
                  </a:lnTo>
                  <a:lnTo>
                    <a:pt x="75" y="268"/>
                  </a:lnTo>
                  <a:lnTo>
                    <a:pt x="63" y="262"/>
                  </a:lnTo>
                  <a:lnTo>
                    <a:pt x="51" y="253"/>
                  </a:lnTo>
                  <a:lnTo>
                    <a:pt x="42" y="243"/>
                  </a:lnTo>
                  <a:lnTo>
                    <a:pt x="32" y="234"/>
                  </a:lnTo>
                  <a:lnTo>
                    <a:pt x="23" y="222"/>
                  </a:lnTo>
                  <a:lnTo>
                    <a:pt x="17" y="211"/>
                  </a:lnTo>
                  <a:lnTo>
                    <a:pt x="10" y="199"/>
                  </a:lnTo>
                  <a:lnTo>
                    <a:pt x="6" y="186"/>
                  </a:lnTo>
                  <a:lnTo>
                    <a:pt x="2" y="171"/>
                  </a:lnTo>
                  <a:lnTo>
                    <a:pt x="0" y="158"/>
                  </a:lnTo>
                  <a:lnTo>
                    <a:pt x="0" y="142"/>
                  </a:lnTo>
                  <a:lnTo>
                    <a:pt x="0" y="128"/>
                  </a:lnTo>
                  <a:lnTo>
                    <a:pt x="2" y="114"/>
                  </a:lnTo>
                  <a:lnTo>
                    <a:pt x="6" y="100"/>
                  </a:lnTo>
                  <a:lnTo>
                    <a:pt x="10" y="87"/>
                  </a:lnTo>
                  <a:lnTo>
                    <a:pt x="17" y="75"/>
                  </a:lnTo>
                  <a:lnTo>
                    <a:pt x="23" y="63"/>
                  </a:lnTo>
                  <a:lnTo>
                    <a:pt x="32" y="51"/>
                  </a:lnTo>
                  <a:lnTo>
                    <a:pt x="42" y="42"/>
                  </a:lnTo>
                  <a:lnTo>
                    <a:pt x="51" y="33"/>
                  </a:lnTo>
                  <a:lnTo>
                    <a:pt x="63" y="24"/>
                  </a:lnTo>
                  <a:lnTo>
                    <a:pt x="75" y="17"/>
                  </a:lnTo>
                  <a:lnTo>
                    <a:pt x="86" y="11"/>
                  </a:lnTo>
                  <a:lnTo>
                    <a:pt x="100" y="7"/>
                  </a:lnTo>
                  <a:lnTo>
                    <a:pt x="114" y="3"/>
                  </a:lnTo>
                  <a:lnTo>
                    <a:pt x="127" y="0"/>
                  </a:lnTo>
                  <a:lnTo>
                    <a:pt x="143" y="0"/>
                  </a:lnTo>
                  <a:lnTo>
                    <a:pt x="157" y="0"/>
                  </a:lnTo>
                  <a:lnTo>
                    <a:pt x="171" y="3"/>
                  </a:lnTo>
                  <a:lnTo>
                    <a:pt x="185" y="7"/>
                  </a:lnTo>
                  <a:lnTo>
                    <a:pt x="198" y="11"/>
                  </a:lnTo>
                  <a:lnTo>
                    <a:pt x="210" y="17"/>
                  </a:lnTo>
                  <a:lnTo>
                    <a:pt x="222" y="24"/>
                  </a:lnTo>
                  <a:lnTo>
                    <a:pt x="234" y="33"/>
                  </a:lnTo>
                  <a:lnTo>
                    <a:pt x="243" y="42"/>
                  </a:lnTo>
                  <a:lnTo>
                    <a:pt x="252" y="51"/>
                  </a:lnTo>
                  <a:lnTo>
                    <a:pt x="261" y="63"/>
                  </a:lnTo>
                  <a:lnTo>
                    <a:pt x="268" y="75"/>
                  </a:lnTo>
                  <a:lnTo>
                    <a:pt x="275" y="87"/>
                  </a:lnTo>
                  <a:lnTo>
                    <a:pt x="279" y="100"/>
                  </a:lnTo>
                  <a:lnTo>
                    <a:pt x="282" y="114"/>
                  </a:lnTo>
                  <a:lnTo>
                    <a:pt x="285" y="128"/>
                  </a:lnTo>
                  <a:lnTo>
                    <a:pt x="285" y="142"/>
                  </a:lnTo>
                  <a:lnTo>
                    <a:pt x="285" y="158"/>
                  </a:lnTo>
                  <a:lnTo>
                    <a:pt x="282" y="171"/>
                  </a:lnTo>
                  <a:lnTo>
                    <a:pt x="279" y="186"/>
                  </a:lnTo>
                  <a:lnTo>
                    <a:pt x="275" y="199"/>
                  </a:lnTo>
                  <a:lnTo>
                    <a:pt x="268" y="211"/>
                  </a:lnTo>
                  <a:lnTo>
                    <a:pt x="261" y="222"/>
                  </a:lnTo>
                  <a:lnTo>
                    <a:pt x="252" y="234"/>
                  </a:lnTo>
                  <a:lnTo>
                    <a:pt x="243" y="243"/>
                  </a:lnTo>
                  <a:lnTo>
                    <a:pt x="234" y="253"/>
                  </a:lnTo>
                  <a:lnTo>
                    <a:pt x="222" y="262"/>
                  </a:lnTo>
                  <a:lnTo>
                    <a:pt x="210" y="268"/>
                  </a:lnTo>
                  <a:lnTo>
                    <a:pt x="198" y="275"/>
                  </a:lnTo>
                  <a:lnTo>
                    <a:pt x="185" y="280"/>
                  </a:lnTo>
                  <a:lnTo>
                    <a:pt x="171" y="283"/>
                  </a:lnTo>
                  <a:lnTo>
                    <a:pt x="157" y="286"/>
                  </a:lnTo>
                  <a:lnTo>
                    <a:pt x="143" y="28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95" name="Freeform 107"/>
            <p:cNvSpPr>
              <a:spLocks/>
            </p:cNvSpPr>
            <p:nvPr/>
          </p:nvSpPr>
          <p:spPr bwMode="auto">
            <a:xfrm>
              <a:off x="481013" y="5816600"/>
              <a:ext cx="46038" cy="46038"/>
            </a:xfrm>
            <a:custGeom>
              <a:avLst/>
              <a:gdLst>
                <a:gd name="T0" fmla="*/ 117 w 117"/>
                <a:gd name="T1" fmla="*/ 58 h 117"/>
                <a:gd name="T2" fmla="*/ 116 w 117"/>
                <a:gd name="T3" fmla="*/ 70 h 117"/>
                <a:gd name="T4" fmla="*/ 112 w 117"/>
                <a:gd name="T5" fmla="*/ 82 h 117"/>
                <a:gd name="T6" fmla="*/ 106 w 117"/>
                <a:gd name="T7" fmla="*/ 91 h 117"/>
                <a:gd name="T8" fmla="*/ 100 w 117"/>
                <a:gd name="T9" fmla="*/ 100 h 117"/>
                <a:gd name="T10" fmla="*/ 91 w 117"/>
                <a:gd name="T11" fmla="*/ 107 h 117"/>
                <a:gd name="T12" fmla="*/ 81 w 117"/>
                <a:gd name="T13" fmla="*/ 112 h 117"/>
                <a:gd name="T14" fmla="*/ 70 w 117"/>
                <a:gd name="T15" fmla="*/ 116 h 117"/>
                <a:gd name="T16" fmla="*/ 59 w 117"/>
                <a:gd name="T17" fmla="*/ 117 h 117"/>
                <a:gd name="T18" fmla="*/ 47 w 117"/>
                <a:gd name="T19" fmla="*/ 116 h 117"/>
                <a:gd name="T20" fmla="*/ 35 w 117"/>
                <a:gd name="T21" fmla="*/ 112 h 117"/>
                <a:gd name="T22" fmla="*/ 26 w 117"/>
                <a:gd name="T23" fmla="*/ 107 h 117"/>
                <a:gd name="T24" fmla="*/ 17 w 117"/>
                <a:gd name="T25" fmla="*/ 100 h 117"/>
                <a:gd name="T26" fmla="*/ 10 w 117"/>
                <a:gd name="T27" fmla="*/ 91 h 117"/>
                <a:gd name="T28" fmla="*/ 5 w 117"/>
                <a:gd name="T29" fmla="*/ 82 h 117"/>
                <a:gd name="T30" fmla="*/ 1 w 117"/>
                <a:gd name="T31" fmla="*/ 70 h 117"/>
                <a:gd name="T32" fmla="*/ 0 w 117"/>
                <a:gd name="T33" fmla="*/ 58 h 117"/>
                <a:gd name="T34" fmla="*/ 1 w 117"/>
                <a:gd name="T35" fmla="*/ 48 h 117"/>
                <a:gd name="T36" fmla="*/ 5 w 117"/>
                <a:gd name="T37" fmla="*/ 36 h 117"/>
                <a:gd name="T38" fmla="*/ 10 w 117"/>
                <a:gd name="T39" fmla="*/ 27 h 117"/>
                <a:gd name="T40" fmla="*/ 17 w 117"/>
                <a:gd name="T41" fmla="*/ 17 h 117"/>
                <a:gd name="T42" fmla="*/ 26 w 117"/>
                <a:gd name="T43" fmla="*/ 11 h 117"/>
                <a:gd name="T44" fmla="*/ 35 w 117"/>
                <a:gd name="T45" fmla="*/ 5 h 117"/>
                <a:gd name="T46" fmla="*/ 47 w 117"/>
                <a:gd name="T47" fmla="*/ 2 h 117"/>
                <a:gd name="T48" fmla="*/ 59 w 117"/>
                <a:gd name="T49" fmla="*/ 0 h 117"/>
                <a:gd name="T50" fmla="*/ 70 w 117"/>
                <a:gd name="T51" fmla="*/ 2 h 117"/>
                <a:gd name="T52" fmla="*/ 81 w 117"/>
                <a:gd name="T53" fmla="*/ 5 h 117"/>
                <a:gd name="T54" fmla="*/ 91 w 117"/>
                <a:gd name="T55" fmla="*/ 11 h 117"/>
                <a:gd name="T56" fmla="*/ 100 w 117"/>
                <a:gd name="T57" fmla="*/ 17 h 117"/>
                <a:gd name="T58" fmla="*/ 106 w 117"/>
                <a:gd name="T59" fmla="*/ 27 h 117"/>
                <a:gd name="T60" fmla="*/ 112 w 117"/>
                <a:gd name="T61" fmla="*/ 36 h 117"/>
                <a:gd name="T62" fmla="*/ 116 w 117"/>
                <a:gd name="T63" fmla="*/ 48 h 117"/>
                <a:gd name="T64" fmla="*/ 117 w 117"/>
                <a:gd name="T65" fmla="*/ 5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117">
                  <a:moveTo>
                    <a:pt x="117" y="58"/>
                  </a:moveTo>
                  <a:lnTo>
                    <a:pt x="116" y="70"/>
                  </a:lnTo>
                  <a:lnTo>
                    <a:pt x="112" y="82"/>
                  </a:lnTo>
                  <a:lnTo>
                    <a:pt x="106" y="91"/>
                  </a:lnTo>
                  <a:lnTo>
                    <a:pt x="100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70" y="116"/>
                  </a:lnTo>
                  <a:lnTo>
                    <a:pt x="59" y="117"/>
                  </a:lnTo>
                  <a:lnTo>
                    <a:pt x="47" y="116"/>
                  </a:lnTo>
                  <a:lnTo>
                    <a:pt x="35" y="112"/>
                  </a:lnTo>
                  <a:lnTo>
                    <a:pt x="26" y="107"/>
                  </a:lnTo>
                  <a:lnTo>
                    <a:pt x="17" y="100"/>
                  </a:lnTo>
                  <a:lnTo>
                    <a:pt x="10" y="91"/>
                  </a:lnTo>
                  <a:lnTo>
                    <a:pt x="5" y="82"/>
                  </a:lnTo>
                  <a:lnTo>
                    <a:pt x="1" y="70"/>
                  </a:lnTo>
                  <a:lnTo>
                    <a:pt x="0" y="58"/>
                  </a:lnTo>
                  <a:lnTo>
                    <a:pt x="1" y="48"/>
                  </a:lnTo>
                  <a:lnTo>
                    <a:pt x="5" y="36"/>
                  </a:lnTo>
                  <a:lnTo>
                    <a:pt x="10" y="27"/>
                  </a:lnTo>
                  <a:lnTo>
                    <a:pt x="17" y="17"/>
                  </a:lnTo>
                  <a:lnTo>
                    <a:pt x="26" y="11"/>
                  </a:lnTo>
                  <a:lnTo>
                    <a:pt x="35" y="5"/>
                  </a:lnTo>
                  <a:lnTo>
                    <a:pt x="47" y="2"/>
                  </a:lnTo>
                  <a:lnTo>
                    <a:pt x="59" y="0"/>
                  </a:lnTo>
                  <a:lnTo>
                    <a:pt x="70" y="2"/>
                  </a:lnTo>
                  <a:lnTo>
                    <a:pt x="81" y="5"/>
                  </a:lnTo>
                  <a:lnTo>
                    <a:pt x="91" y="11"/>
                  </a:lnTo>
                  <a:lnTo>
                    <a:pt x="100" y="17"/>
                  </a:lnTo>
                  <a:lnTo>
                    <a:pt x="106" y="27"/>
                  </a:lnTo>
                  <a:lnTo>
                    <a:pt x="112" y="36"/>
                  </a:lnTo>
                  <a:lnTo>
                    <a:pt x="116" y="48"/>
                  </a:lnTo>
                  <a:lnTo>
                    <a:pt x="117" y="58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96" name="Freeform 108"/>
            <p:cNvSpPr>
              <a:spLocks noEditPoints="1"/>
            </p:cNvSpPr>
            <p:nvPr/>
          </p:nvSpPr>
          <p:spPr bwMode="auto">
            <a:xfrm>
              <a:off x="476250" y="5811838"/>
              <a:ext cx="55563" cy="55563"/>
            </a:xfrm>
            <a:custGeom>
              <a:avLst/>
              <a:gdLst>
                <a:gd name="T0" fmla="*/ 60 w 141"/>
                <a:gd name="T1" fmla="*/ 25 h 141"/>
                <a:gd name="T2" fmla="*/ 45 w 141"/>
                <a:gd name="T3" fmla="*/ 32 h 141"/>
                <a:gd name="T4" fmla="*/ 32 w 141"/>
                <a:gd name="T5" fmla="*/ 45 h 141"/>
                <a:gd name="T6" fmla="*/ 25 w 141"/>
                <a:gd name="T7" fmla="*/ 61 h 141"/>
                <a:gd name="T8" fmla="*/ 25 w 141"/>
                <a:gd name="T9" fmla="*/ 81 h 141"/>
                <a:gd name="T10" fmla="*/ 32 w 141"/>
                <a:gd name="T11" fmla="*/ 96 h 141"/>
                <a:gd name="T12" fmla="*/ 45 w 141"/>
                <a:gd name="T13" fmla="*/ 110 h 141"/>
                <a:gd name="T14" fmla="*/ 60 w 141"/>
                <a:gd name="T15" fmla="*/ 116 h 141"/>
                <a:gd name="T16" fmla="*/ 80 w 141"/>
                <a:gd name="T17" fmla="*/ 116 h 141"/>
                <a:gd name="T18" fmla="*/ 96 w 141"/>
                <a:gd name="T19" fmla="*/ 110 h 141"/>
                <a:gd name="T20" fmla="*/ 109 w 141"/>
                <a:gd name="T21" fmla="*/ 96 h 141"/>
                <a:gd name="T22" fmla="*/ 116 w 141"/>
                <a:gd name="T23" fmla="*/ 81 h 141"/>
                <a:gd name="T24" fmla="*/ 116 w 141"/>
                <a:gd name="T25" fmla="*/ 61 h 141"/>
                <a:gd name="T26" fmla="*/ 109 w 141"/>
                <a:gd name="T27" fmla="*/ 45 h 141"/>
                <a:gd name="T28" fmla="*/ 96 w 141"/>
                <a:gd name="T29" fmla="*/ 32 h 141"/>
                <a:gd name="T30" fmla="*/ 80 w 141"/>
                <a:gd name="T31" fmla="*/ 25 h 141"/>
                <a:gd name="T32" fmla="*/ 71 w 141"/>
                <a:gd name="T33" fmla="*/ 141 h 141"/>
                <a:gd name="T34" fmla="*/ 57 w 141"/>
                <a:gd name="T35" fmla="*/ 140 h 141"/>
                <a:gd name="T36" fmla="*/ 43 w 141"/>
                <a:gd name="T37" fmla="*/ 136 h 141"/>
                <a:gd name="T38" fmla="*/ 21 w 141"/>
                <a:gd name="T39" fmla="*/ 120 h 141"/>
                <a:gd name="T40" fmla="*/ 5 w 141"/>
                <a:gd name="T41" fmla="*/ 98 h 141"/>
                <a:gd name="T42" fmla="*/ 1 w 141"/>
                <a:gd name="T43" fmla="*/ 85 h 141"/>
                <a:gd name="T44" fmla="*/ 0 w 141"/>
                <a:gd name="T45" fmla="*/ 70 h 141"/>
                <a:gd name="T46" fmla="*/ 1 w 141"/>
                <a:gd name="T47" fmla="*/ 57 h 141"/>
                <a:gd name="T48" fmla="*/ 5 w 141"/>
                <a:gd name="T49" fmla="*/ 44 h 141"/>
                <a:gd name="T50" fmla="*/ 21 w 141"/>
                <a:gd name="T51" fmla="*/ 21 h 141"/>
                <a:gd name="T52" fmla="*/ 43 w 141"/>
                <a:gd name="T53" fmla="*/ 6 h 141"/>
                <a:gd name="T54" fmla="*/ 57 w 141"/>
                <a:gd name="T55" fmla="*/ 2 h 141"/>
                <a:gd name="T56" fmla="*/ 71 w 141"/>
                <a:gd name="T57" fmla="*/ 0 h 141"/>
                <a:gd name="T58" fmla="*/ 84 w 141"/>
                <a:gd name="T59" fmla="*/ 2 h 141"/>
                <a:gd name="T60" fmla="*/ 97 w 141"/>
                <a:gd name="T61" fmla="*/ 6 h 141"/>
                <a:gd name="T62" fmla="*/ 120 w 141"/>
                <a:gd name="T63" fmla="*/ 21 h 141"/>
                <a:gd name="T64" fmla="*/ 135 w 141"/>
                <a:gd name="T65" fmla="*/ 44 h 141"/>
                <a:gd name="T66" fmla="*/ 139 w 141"/>
                <a:gd name="T67" fmla="*/ 57 h 141"/>
                <a:gd name="T68" fmla="*/ 141 w 141"/>
                <a:gd name="T69" fmla="*/ 70 h 141"/>
                <a:gd name="T70" fmla="*/ 139 w 141"/>
                <a:gd name="T71" fmla="*/ 85 h 141"/>
                <a:gd name="T72" fmla="*/ 135 w 141"/>
                <a:gd name="T73" fmla="*/ 98 h 141"/>
                <a:gd name="T74" fmla="*/ 120 w 141"/>
                <a:gd name="T75" fmla="*/ 120 h 141"/>
                <a:gd name="T76" fmla="*/ 97 w 141"/>
                <a:gd name="T77" fmla="*/ 136 h 141"/>
                <a:gd name="T78" fmla="*/ 84 w 141"/>
                <a:gd name="T79" fmla="*/ 140 h 141"/>
                <a:gd name="T80" fmla="*/ 71 w 141"/>
                <a:gd name="T8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1">
                  <a:moveTo>
                    <a:pt x="71" y="24"/>
                  </a:moveTo>
                  <a:lnTo>
                    <a:pt x="60" y="25"/>
                  </a:lnTo>
                  <a:lnTo>
                    <a:pt x="53" y="28"/>
                  </a:lnTo>
                  <a:lnTo>
                    <a:pt x="45" y="32"/>
                  </a:lnTo>
                  <a:lnTo>
                    <a:pt x="38" y="37"/>
                  </a:lnTo>
                  <a:lnTo>
                    <a:pt x="32" y="45"/>
                  </a:lnTo>
                  <a:lnTo>
                    <a:pt x="28" y="53"/>
                  </a:lnTo>
                  <a:lnTo>
                    <a:pt x="25" y="61"/>
                  </a:lnTo>
                  <a:lnTo>
                    <a:pt x="24" y="70"/>
                  </a:lnTo>
                  <a:lnTo>
                    <a:pt x="25" y="81"/>
                  </a:lnTo>
                  <a:lnTo>
                    <a:pt x="28" y="89"/>
                  </a:lnTo>
                  <a:lnTo>
                    <a:pt x="32" y="96"/>
                  </a:lnTo>
                  <a:lnTo>
                    <a:pt x="38" y="103"/>
                  </a:lnTo>
                  <a:lnTo>
                    <a:pt x="45" y="110"/>
                  </a:lnTo>
                  <a:lnTo>
                    <a:pt x="53" y="114"/>
                  </a:lnTo>
                  <a:lnTo>
                    <a:pt x="60" y="116"/>
                  </a:lnTo>
                  <a:lnTo>
                    <a:pt x="71" y="117"/>
                  </a:lnTo>
                  <a:lnTo>
                    <a:pt x="80" y="116"/>
                  </a:lnTo>
                  <a:lnTo>
                    <a:pt x="88" y="114"/>
                  </a:lnTo>
                  <a:lnTo>
                    <a:pt x="96" y="110"/>
                  </a:lnTo>
                  <a:lnTo>
                    <a:pt x="103" y="103"/>
                  </a:lnTo>
                  <a:lnTo>
                    <a:pt x="109" y="96"/>
                  </a:lnTo>
                  <a:lnTo>
                    <a:pt x="113" y="89"/>
                  </a:lnTo>
                  <a:lnTo>
                    <a:pt x="116" y="81"/>
                  </a:lnTo>
                  <a:lnTo>
                    <a:pt x="117" y="70"/>
                  </a:lnTo>
                  <a:lnTo>
                    <a:pt x="116" y="61"/>
                  </a:lnTo>
                  <a:lnTo>
                    <a:pt x="113" y="53"/>
                  </a:lnTo>
                  <a:lnTo>
                    <a:pt x="109" y="45"/>
                  </a:lnTo>
                  <a:lnTo>
                    <a:pt x="103" y="37"/>
                  </a:lnTo>
                  <a:lnTo>
                    <a:pt x="96" y="32"/>
                  </a:lnTo>
                  <a:lnTo>
                    <a:pt x="88" y="28"/>
                  </a:lnTo>
                  <a:lnTo>
                    <a:pt x="80" y="25"/>
                  </a:lnTo>
                  <a:lnTo>
                    <a:pt x="71" y="24"/>
                  </a:lnTo>
                  <a:close/>
                  <a:moveTo>
                    <a:pt x="71" y="141"/>
                  </a:moveTo>
                  <a:lnTo>
                    <a:pt x="63" y="141"/>
                  </a:lnTo>
                  <a:lnTo>
                    <a:pt x="57" y="140"/>
                  </a:lnTo>
                  <a:lnTo>
                    <a:pt x="50" y="137"/>
                  </a:lnTo>
                  <a:lnTo>
                    <a:pt x="43" y="136"/>
                  </a:lnTo>
                  <a:lnTo>
                    <a:pt x="32" y="129"/>
                  </a:lnTo>
                  <a:lnTo>
                    <a:pt x="21" y="120"/>
                  </a:lnTo>
                  <a:lnTo>
                    <a:pt x="12" y="110"/>
                  </a:lnTo>
                  <a:lnTo>
                    <a:pt x="5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64"/>
                  </a:lnTo>
                  <a:lnTo>
                    <a:pt x="1" y="57"/>
                  </a:lnTo>
                  <a:lnTo>
                    <a:pt x="3" y="50"/>
                  </a:lnTo>
                  <a:lnTo>
                    <a:pt x="5" y="44"/>
                  </a:lnTo>
                  <a:lnTo>
                    <a:pt x="12" y="32"/>
                  </a:lnTo>
                  <a:lnTo>
                    <a:pt x="21" y="21"/>
                  </a:lnTo>
                  <a:lnTo>
                    <a:pt x="32" y="12"/>
                  </a:lnTo>
                  <a:lnTo>
                    <a:pt x="43" y="6"/>
                  </a:lnTo>
                  <a:lnTo>
                    <a:pt x="50" y="3"/>
                  </a:lnTo>
                  <a:lnTo>
                    <a:pt x="57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8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20" y="21"/>
                  </a:lnTo>
                  <a:lnTo>
                    <a:pt x="129" y="32"/>
                  </a:lnTo>
                  <a:lnTo>
                    <a:pt x="135" y="44"/>
                  </a:lnTo>
                  <a:lnTo>
                    <a:pt x="138" y="50"/>
                  </a:lnTo>
                  <a:lnTo>
                    <a:pt x="139" y="57"/>
                  </a:lnTo>
                  <a:lnTo>
                    <a:pt x="141" y="64"/>
                  </a:lnTo>
                  <a:lnTo>
                    <a:pt x="141" y="70"/>
                  </a:lnTo>
                  <a:lnTo>
                    <a:pt x="141" y="78"/>
                  </a:lnTo>
                  <a:lnTo>
                    <a:pt x="139" y="85"/>
                  </a:lnTo>
                  <a:lnTo>
                    <a:pt x="138" y="91"/>
                  </a:lnTo>
                  <a:lnTo>
                    <a:pt x="135" y="98"/>
                  </a:lnTo>
                  <a:lnTo>
                    <a:pt x="129" y="110"/>
                  </a:lnTo>
                  <a:lnTo>
                    <a:pt x="120" y="120"/>
                  </a:lnTo>
                  <a:lnTo>
                    <a:pt x="109" y="129"/>
                  </a:lnTo>
                  <a:lnTo>
                    <a:pt x="97" y="136"/>
                  </a:lnTo>
                  <a:lnTo>
                    <a:pt x="91" y="137"/>
                  </a:lnTo>
                  <a:lnTo>
                    <a:pt x="84" y="140"/>
                  </a:lnTo>
                  <a:lnTo>
                    <a:pt x="78" y="141"/>
                  </a:lnTo>
                  <a:lnTo>
                    <a:pt x="71" y="14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97" name="Freeform 109"/>
            <p:cNvSpPr>
              <a:spLocks/>
            </p:cNvSpPr>
            <p:nvPr/>
          </p:nvSpPr>
          <p:spPr bwMode="auto">
            <a:xfrm>
              <a:off x="588963" y="5786438"/>
              <a:ext cx="104775" cy="104775"/>
            </a:xfrm>
            <a:custGeom>
              <a:avLst/>
              <a:gdLst>
                <a:gd name="T0" fmla="*/ 261 w 262"/>
                <a:gd name="T1" fmla="*/ 145 h 262"/>
                <a:gd name="T2" fmla="*/ 255 w 262"/>
                <a:gd name="T3" fmla="*/ 170 h 262"/>
                <a:gd name="T4" fmla="*/ 246 w 262"/>
                <a:gd name="T5" fmla="*/ 193 h 262"/>
                <a:gd name="T6" fmla="*/ 232 w 262"/>
                <a:gd name="T7" fmla="*/ 214 h 262"/>
                <a:gd name="T8" fmla="*/ 215 w 262"/>
                <a:gd name="T9" fmla="*/ 231 h 262"/>
                <a:gd name="T10" fmla="*/ 194 w 262"/>
                <a:gd name="T11" fmla="*/ 246 h 262"/>
                <a:gd name="T12" fmla="*/ 170 w 262"/>
                <a:gd name="T13" fmla="*/ 256 h 262"/>
                <a:gd name="T14" fmla="*/ 144 w 262"/>
                <a:gd name="T15" fmla="*/ 262 h 262"/>
                <a:gd name="T16" fmla="*/ 117 w 262"/>
                <a:gd name="T17" fmla="*/ 262 h 262"/>
                <a:gd name="T18" fmla="*/ 92 w 262"/>
                <a:gd name="T19" fmla="*/ 256 h 262"/>
                <a:gd name="T20" fmla="*/ 69 w 262"/>
                <a:gd name="T21" fmla="*/ 246 h 262"/>
                <a:gd name="T22" fmla="*/ 48 w 262"/>
                <a:gd name="T23" fmla="*/ 231 h 262"/>
                <a:gd name="T24" fmla="*/ 29 w 262"/>
                <a:gd name="T25" fmla="*/ 214 h 262"/>
                <a:gd name="T26" fmla="*/ 16 w 262"/>
                <a:gd name="T27" fmla="*/ 193 h 262"/>
                <a:gd name="T28" fmla="*/ 5 w 262"/>
                <a:gd name="T29" fmla="*/ 170 h 262"/>
                <a:gd name="T30" fmla="*/ 0 w 262"/>
                <a:gd name="T31" fmla="*/ 145 h 262"/>
                <a:gd name="T32" fmla="*/ 0 w 262"/>
                <a:gd name="T33" fmla="*/ 117 h 262"/>
                <a:gd name="T34" fmla="*/ 5 w 262"/>
                <a:gd name="T35" fmla="*/ 92 h 262"/>
                <a:gd name="T36" fmla="*/ 16 w 262"/>
                <a:gd name="T37" fmla="*/ 68 h 262"/>
                <a:gd name="T38" fmla="*/ 29 w 262"/>
                <a:gd name="T39" fmla="*/ 47 h 262"/>
                <a:gd name="T40" fmla="*/ 48 w 262"/>
                <a:gd name="T41" fmla="*/ 30 h 262"/>
                <a:gd name="T42" fmla="*/ 69 w 262"/>
                <a:gd name="T43" fmla="*/ 16 h 262"/>
                <a:gd name="T44" fmla="*/ 92 w 262"/>
                <a:gd name="T45" fmla="*/ 5 h 262"/>
                <a:gd name="T46" fmla="*/ 117 w 262"/>
                <a:gd name="T47" fmla="*/ 0 h 262"/>
                <a:gd name="T48" fmla="*/ 144 w 262"/>
                <a:gd name="T49" fmla="*/ 0 h 262"/>
                <a:gd name="T50" fmla="*/ 170 w 262"/>
                <a:gd name="T51" fmla="*/ 5 h 262"/>
                <a:gd name="T52" fmla="*/ 194 w 262"/>
                <a:gd name="T53" fmla="*/ 16 h 262"/>
                <a:gd name="T54" fmla="*/ 215 w 262"/>
                <a:gd name="T55" fmla="*/ 30 h 262"/>
                <a:gd name="T56" fmla="*/ 232 w 262"/>
                <a:gd name="T57" fmla="*/ 47 h 262"/>
                <a:gd name="T58" fmla="*/ 246 w 262"/>
                <a:gd name="T59" fmla="*/ 68 h 262"/>
                <a:gd name="T60" fmla="*/ 255 w 262"/>
                <a:gd name="T61" fmla="*/ 92 h 262"/>
                <a:gd name="T62" fmla="*/ 261 w 262"/>
                <a:gd name="T63" fmla="*/ 117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2" h="262">
                  <a:moveTo>
                    <a:pt x="262" y="130"/>
                  </a:moveTo>
                  <a:lnTo>
                    <a:pt x="261" y="145"/>
                  </a:lnTo>
                  <a:lnTo>
                    <a:pt x="259" y="158"/>
                  </a:lnTo>
                  <a:lnTo>
                    <a:pt x="255" y="170"/>
                  </a:lnTo>
                  <a:lnTo>
                    <a:pt x="252" y="181"/>
                  </a:lnTo>
                  <a:lnTo>
                    <a:pt x="246" y="193"/>
                  </a:lnTo>
                  <a:lnTo>
                    <a:pt x="240" y="204"/>
                  </a:lnTo>
                  <a:lnTo>
                    <a:pt x="232" y="214"/>
                  </a:lnTo>
                  <a:lnTo>
                    <a:pt x="224" y="224"/>
                  </a:lnTo>
                  <a:lnTo>
                    <a:pt x="215" y="231"/>
                  </a:lnTo>
                  <a:lnTo>
                    <a:pt x="204" y="239"/>
                  </a:lnTo>
                  <a:lnTo>
                    <a:pt x="194" y="246"/>
                  </a:lnTo>
                  <a:lnTo>
                    <a:pt x="182" y="251"/>
                  </a:lnTo>
                  <a:lnTo>
                    <a:pt x="170" y="256"/>
                  </a:lnTo>
                  <a:lnTo>
                    <a:pt x="157" y="259"/>
                  </a:lnTo>
                  <a:lnTo>
                    <a:pt x="144" y="262"/>
                  </a:lnTo>
                  <a:lnTo>
                    <a:pt x="130" y="262"/>
                  </a:lnTo>
                  <a:lnTo>
                    <a:pt x="117" y="262"/>
                  </a:lnTo>
                  <a:lnTo>
                    <a:pt x="104" y="259"/>
                  </a:lnTo>
                  <a:lnTo>
                    <a:pt x="92" y="256"/>
                  </a:lnTo>
                  <a:lnTo>
                    <a:pt x="79" y="251"/>
                  </a:lnTo>
                  <a:lnTo>
                    <a:pt x="69" y="246"/>
                  </a:lnTo>
                  <a:lnTo>
                    <a:pt x="57" y="239"/>
                  </a:lnTo>
                  <a:lnTo>
                    <a:pt x="48" y="231"/>
                  </a:lnTo>
                  <a:lnTo>
                    <a:pt x="38" y="224"/>
                  </a:lnTo>
                  <a:lnTo>
                    <a:pt x="29" y="214"/>
                  </a:lnTo>
                  <a:lnTo>
                    <a:pt x="23" y="204"/>
                  </a:lnTo>
                  <a:lnTo>
                    <a:pt x="16" y="193"/>
                  </a:lnTo>
                  <a:lnTo>
                    <a:pt x="9" y="181"/>
                  </a:lnTo>
                  <a:lnTo>
                    <a:pt x="5" y="170"/>
                  </a:lnTo>
                  <a:lnTo>
                    <a:pt x="3" y="158"/>
                  </a:lnTo>
                  <a:lnTo>
                    <a:pt x="0" y="145"/>
                  </a:lnTo>
                  <a:lnTo>
                    <a:pt x="0" y="130"/>
                  </a:lnTo>
                  <a:lnTo>
                    <a:pt x="0" y="117"/>
                  </a:lnTo>
                  <a:lnTo>
                    <a:pt x="3" y="104"/>
                  </a:lnTo>
                  <a:lnTo>
                    <a:pt x="5" y="92"/>
                  </a:lnTo>
                  <a:lnTo>
                    <a:pt x="9" y="80"/>
                  </a:lnTo>
                  <a:lnTo>
                    <a:pt x="16" y="68"/>
                  </a:lnTo>
                  <a:lnTo>
                    <a:pt x="23" y="58"/>
                  </a:lnTo>
                  <a:lnTo>
                    <a:pt x="29" y="47"/>
                  </a:lnTo>
                  <a:lnTo>
                    <a:pt x="38" y="38"/>
                  </a:lnTo>
                  <a:lnTo>
                    <a:pt x="48" y="30"/>
                  </a:lnTo>
                  <a:lnTo>
                    <a:pt x="57" y="22"/>
                  </a:lnTo>
                  <a:lnTo>
                    <a:pt x="69" y="16"/>
                  </a:lnTo>
                  <a:lnTo>
                    <a:pt x="79" y="10"/>
                  </a:lnTo>
                  <a:lnTo>
                    <a:pt x="92" y="5"/>
                  </a:lnTo>
                  <a:lnTo>
                    <a:pt x="104" y="2"/>
                  </a:lnTo>
                  <a:lnTo>
                    <a:pt x="117" y="0"/>
                  </a:lnTo>
                  <a:lnTo>
                    <a:pt x="130" y="0"/>
                  </a:lnTo>
                  <a:lnTo>
                    <a:pt x="144" y="0"/>
                  </a:lnTo>
                  <a:lnTo>
                    <a:pt x="157" y="2"/>
                  </a:lnTo>
                  <a:lnTo>
                    <a:pt x="170" y="5"/>
                  </a:lnTo>
                  <a:lnTo>
                    <a:pt x="182" y="10"/>
                  </a:lnTo>
                  <a:lnTo>
                    <a:pt x="194" y="16"/>
                  </a:lnTo>
                  <a:lnTo>
                    <a:pt x="204" y="22"/>
                  </a:lnTo>
                  <a:lnTo>
                    <a:pt x="215" y="30"/>
                  </a:lnTo>
                  <a:lnTo>
                    <a:pt x="224" y="38"/>
                  </a:lnTo>
                  <a:lnTo>
                    <a:pt x="232" y="47"/>
                  </a:lnTo>
                  <a:lnTo>
                    <a:pt x="240" y="58"/>
                  </a:lnTo>
                  <a:lnTo>
                    <a:pt x="246" y="68"/>
                  </a:lnTo>
                  <a:lnTo>
                    <a:pt x="252" y="80"/>
                  </a:lnTo>
                  <a:lnTo>
                    <a:pt x="255" y="92"/>
                  </a:lnTo>
                  <a:lnTo>
                    <a:pt x="259" y="104"/>
                  </a:lnTo>
                  <a:lnTo>
                    <a:pt x="261" y="117"/>
                  </a:lnTo>
                  <a:lnTo>
                    <a:pt x="262" y="13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98" name="Freeform 110"/>
            <p:cNvSpPr>
              <a:spLocks noEditPoints="1"/>
            </p:cNvSpPr>
            <p:nvPr/>
          </p:nvSpPr>
          <p:spPr bwMode="auto">
            <a:xfrm>
              <a:off x="584200" y="5781675"/>
              <a:ext cx="112713" cy="114300"/>
            </a:xfrm>
            <a:custGeom>
              <a:avLst/>
              <a:gdLst>
                <a:gd name="T0" fmla="*/ 120 w 287"/>
                <a:gd name="T1" fmla="*/ 26 h 286"/>
                <a:gd name="T2" fmla="*/ 87 w 287"/>
                <a:gd name="T3" fmla="*/ 38 h 286"/>
                <a:gd name="T4" fmla="*/ 59 w 287"/>
                <a:gd name="T5" fmla="*/ 59 h 286"/>
                <a:gd name="T6" fmla="*/ 40 w 287"/>
                <a:gd name="T7" fmla="*/ 86 h 286"/>
                <a:gd name="T8" fmla="*/ 28 w 287"/>
                <a:gd name="T9" fmla="*/ 118 h 286"/>
                <a:gd name="T10" fmla="*/ 25 w 287"/>
                <a:gd name="T11" fmla="*/ 155 h 286"/>
                <a:gd name="T12" fmla="*/ 34 w 287"/>
                <a:gd name="T13" fmla="*/ 189 h 286"/>
                <a:gd name="T14" fmla="*/ 51 w 287"/>
                <a:gd name="T15" fmla="*/ 218 h 286"/>
                <a:gd name="T16" fmla="*/ 78 w 287"/>
                <a:gd name="T17" fmla="*/ 242 h 286"/>
                <a:gd name="T18" fmla="*/ 108 w 287"/>
                <a:gd name="T19" fmla="*/ 257 h 286"/>
                <a:gd name="T20" fmla="*/ 143 w 287"/>
                <a:gd name="T21" fmla="*/ 262 h 286"/>
                <a:gd name="T22" fmla="*/ 179 w 287"/>
                <a:gd name="T23" fmla="*/ 257 h 286"/>
                <a:gd name="T24" fmla="*/ 211 w 287"/>
                <a:gd name="T25" fmla="*/ 242 h 286"/>
                <a:gd name="T26" fmla="*/ 236 w 287"/>
                <a:gd name="T27" fmla="*/ 218 h 286"/>
                <a:gd name="T28" fmla="*/ 254 w 287"/>
                <a:gd name="T29" fmla="*/ 189 h 286"/>
                <a:gd name="T30" fmla="*/ 262 w 287"/>
                <a:gd name="T31" fmla="*/ 155 h 286"/>
                <a:gd name="T32" fmla="*/ 261 w 287"/>
                <a:gd name="T33" fmla="*/ 118 h 286"/>
                <a:gd name="T34" fmla="*/ 249 w 287"/>
                <a:gd name="T35" fmla="*/ 86 h 286"/>
                <a:gd name="T36" fmla="*/ 228 w 287"/>
                <a:gd name="T37" fmla="*/ 59 h 286"/>
                <a:gd name="T38" fmla="*/ 200 w 287"/>
                <a:gd name="T39" fmla="*/ 38 h 286"/>
                <a:gd name="T40" fmla="*/ 167 w 287"/>
                <a:gd name="T41" fmla="*/ 26 h 286"/>
                <a:gd name="T42" fmla="*/ 143 w 287"/>
                <a:gd name="T43" fmla="*/ 286 h 286"/>
                <a:gd name="T44" fmla="*/ 101 w 287"/>
                <a:gd name="T45" fmla="*/ 280 h 286"/>
                <a:gd name="T46" fmla="*/ 63 w 287"/>
                <a:gd name="T47" fmla="*/ 262 h 286"/>
                <a:gd name="T48" fmla="*/ 33 w 287"/>
                <a:gd name="T49" fmla="*/ 234 h 286"/>
                <a:gd name="T50" fmla="*/ 12 w 287"/>
                <a:gd name="T51" fmla="*/ 199 h 286"/>
                <a:gd name="T52" fmla="*/ 1 w 287"/>
                <a:gd name="T53" fmla="*/ 158 h 286"/>
                <a:gd name="T54" fmla="*/ 4 w 287"/>
                <a:gd name="T55" fmla="*/ 114 h 286"/>
                <a:gd name="T56" fmla="*/ 18 w 287"/>
                <a:gd name="T57" fmla="*/ 75 h 286"/>
                <a:gd name="T58" fmla="*/ 42 w 287"/>
                <a:gd name="T59" fmla="*/ 42 h 286"/>
                <a:gd name="T60" fmla="*/ 75 w 287"/>
                <a:gd name="T61" fmla="*/ 17 h 286"/>
                <a:gd name="T62" fmla="*/ 115 w 287"/>
                <a:gd name="T63" fmla="*/ 3 h 286"/>
                <a:gd name="T64" fmla="*/ 158 w 287"/>
                <a:gd name="T65" fmla="*/ 0 h 286"/>
                <a:gd name="T66" fmla="*/ 200 w 287"/>
                <a:gd name="T67" fmla="*/ 11 h 286"/>
                <a:gd name="T68" fmla="*/ 236 w 287"/>
                <a:gd name="T69" fmla="*/ 33 h 286"/>
                <a:gd name="T70" fmla="*/ 263 w 287"/>
                <a:gd name="T71" fmla="*/ 63 h 286"/>
                <a:gd name="T72" fmla="*/ 280 w 287"/>
                <a:gd name="T73" fmla="*/ 100 h 286"/>
                <a:gd name="T74" fmla="*/ 287 w 287"/>
                <a:gd name="T75" fmla="*/ 142 h 286"/>
                <a:gd name="T76" fmla="*/ 280 w 287"/>
                <a:gd name="T77" fmla="*/ 186 h 286"/>
                <a:gd name="T78" fmla="*/ 263 w 287"/>
                <a:gd name="T79" fmla="*/ 222 h 286"/>
                <a:gd name="T80" fmla="*/ 236 w 287"/>
                <a:gd name="T81" fmla="*/ 253 h 286"/>
                <a:gd name="T82" fmla="*/ 200 w 287"/>
                <a:gd name="T83" fmla="*/ 275 h 286"/>
                <a:gd name="T84" fmla="*/ 158 w 287"/>
                <a:gd name="T85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7" h="286">
                  <a:moveTo>
                    <a:pt x="143" y="24"/>
                  </a:moveTo>
                  <a:lnTo>
                    <a:pt x="132" y="24"/>
                  </a:lnTo>
                  <a:lnTo>
                    <a:pt x="120" y="26"/>
                  </a:lnTo>
                  <a:lnTo>
                    <a:pt x="108" y="29"/>
                  </a:lnTo>
                  <a:lnTo>
                    <a:pt x="97" y="33"/>
                  </a:lnTo>
                  <a:lnTo>
                    <a:pt x="87" y="38"/>
                  </a:lnTo>
                  <a:lnTo>
                    <a:pt x="78" y="43"/>
                  </a:lnTo>
                  <a:lnTo>
                    <a:pt x="68" y="51"/>
                  </a:lnTo>
                  <a:lnTo>
                    <a:pt x="59" y="59"/>
                  </a:lnTo>
                  <a:lnTo>
                    <a:pt x="51" y="67"/>
                  </a:lnTo>
                  <a:lnTo>
                    <a:pt x="45" y="76"/>
                  </a:lnTo>
                  <a:lnTo>
                    <a:pt x="40" y="86"/>
                  </a:lnTo>
                  <a:lnTo>
                    <a:pt x="34" y="96"/>
                  </a:lnTo>
                  <a:lnTo>
                    <a:pt x="30" y="108"/>
                  </a:lnTo>
                  <a:lnTo>
                    <a:pt x="28" y="118"/>
                  </a:lnTo>
                  <a:lnTo>
                    <a:pt x="25" y="130"/>
                  </a:lnTo>
                  <a:lnTo>
                    <a:pt x="25" y="142"/>
                  </a:lnTo>
                  <a:lnTo>
                    <a:pt x="25" y="155"/>
                  </a:lnTo>
                  <a:lnTo>
                    <a:pt x="28" y="167"/>
                  </a:lnTo>
                  <a:lnTo>
                    <a:pt x="30" y="178"/>
                  </a:lnTo>
                  <a:lnTo>
                    <a:pt x="34" y="189"/>
                  </a:lnTo>
                  <a:lnTo>
                    <a:pt x="40" y="200"/>
                  </a:lnTo>
                  <a:lnTo>
                    <a:pt x="45" y="209"/>
                  </a:lnTo>
                  <a:lnTo>
                    <a:pt x="51" y="218"/>
                  </a:lnTo>
                  <a:lnTo>
                    <a:pt x="59" y="228"/>
                  </a:lnTo>
                  <a:lnTo>
                    <a:pt x="68" y="234"/>
                  </a:lnTo>
                  <a:lnTo>
                    <a:pt x="78" y="242"/>
                  </a:lnTo>
                  <a:lnTo>
                    <a:pt x="87" y="247"/>
                  </a:lnTo>
                  <a:lnTo>
                    <a:pt x="97" y="253"/>
                  </a:lnTo>
                  <a:lnTo>
                    <a:pt x="108" y="257"/>
                  </a:lnTo>
                  <a:lnTo>
                    <a:pt x="120" y="259"/>
                  </a:lnTo>
                  <a:lnTo>
                    <a:pt x="132" y="262"/>
                  </a:lnTo>
                  <a:lnTo>
                    <a:pt x="143" y="262"/>
                  </a:lnTo>
                  <a:lnTo>
                    <a:pt x="157" y="262"/>
                  </a:lnTo>
                  <a:lnTo>
                    <a:pt x="167" y="259"/>
                  </a:lnTo>
                  <a:lnTo>
                    <a:pt x="179" y="257"/>
                  </a:lnTo>
                  <a:lnTo>
                    <a:pt x="190" y="253"/>
                  </a:lnTo>
                  <a:lnTo>
                    <a:pt x="200" y="247"/>
                  </a:lnTo>
                  <a:lnTo>
                    <a:pt x="211" y="242"/>
                  </a:lnTo>
                  <a:lnTo>
                    <a:pt x="220" y="234"/>
                  </a:lnTo>
                  <a:lnTo>
                    <a:pt x="228" y="228"/>
                  </a:lnTo>
                  <a:lnTo>
                    <a:pt x="236" y="218"/>
                  </a:lnTo>
                  <a:lnTo>
                    <a:pt x="242" y="209"/>
                  </a:lnTo>
                  <a:lnTo>
                    <a:pt x="249" y="200"/>
                  </a:lnTo>
                  <a:lnTo>
                    <a:pt x="254" y="189"/>
                  </a:lnTo>
                  <a:lnTo>
                    <a:pt x="258" y="178"/>
                  </a:lnTo>
                  <a:lnTo>
                    <a:pt x="261" y="167"/>
                  </a:lnTo>
                  <a:lnTo>
                    <a:pt x="262" y="155"/>
                  </a:lnTo>
                  <a:lnTo>
                    <a:pt x="263" y="142"/>
                  </a:lnTo>
                  <a:lnTo>
                    <a:pt x="262" y="130"/>
                  </a:lnTo>
                  <a:lnTo>
                    <a:pt x="261" y="118"/>
                  </a:lnTo>
                  <a:lnTo>
                    <a:pt x="258" y="108"/>
                  </a:lnTo>
                  <a:lnTo>
                    <a:pt x="254" y="96"/>
                  </a:lnTo>
                  <a:lnTo>
                    <a:pt x="249" y="86"/>
                  </a:lnTo>
                  <a:lnTo>
                    <a:pt x="242" y="76"/>
                  </a:lnTo>
                  <a:lnTo>
                    <a:pt x="236" y="67"/>
                  </a:lnTo>
                  <a:lnTo>
                    <a:pt x="228" y="59"/>
                  </a:lnTo>
                  <a:lnTo>
                    <a:pt x="220" y="51"/>
                  </a:lnTo>
                  <a:lnTo>
                    <a:pt x="211" y="43"/>
                  </a:lnTo>
                  <a:lnTo>
                    <a:pt x="200" y="38"/>
                  </a:lnTo>
                  <a:lnTo>
                    <a:pt x="190" y="33"/>
                  </a:lnTo>
                  <a:lnTo>
                    <a:pt x="179" y="29"/>
                  </a:lnTo>
                  <a:lnTo>
                    <a:pt x="167" y="26"/>
                  </a:lnTo>
                  <a:lnTo>
                    <a:pt x="157" y="24"/>
                  </a:lnTo>
                  <a:lnTo>
                    <a:pt x="143" y="24"/>
                  </a:lnTo>
                  <a:close/>
                  <a:moveTo>
                    <a:pt x="143" y="286"/>
                  </a:moveTo>
                  <a:lnTo>
                    <a:pt x="129" y="286"/>
                  </a:lnTo>
                  <a:lnTo>
                    <a:pt x="115" y="283"/>
                  </a:lnTo>
                  <a:lnTo>
                    <a:pt x="101" y="280"/>
                  </a:lnTo>
                  <a:lnTo>
                    <a:pt x="88" y="275"/>
                  </a:lnTo>
                  <a:lnTo>
                    <a:pt x="75" y="268"/>
                  </a:lnTo>
                  <a:lnTo>
                    <a:pt x="63" y="262"/>
                  </a:lnTo>
                  <a:lnTo>
                    <a:pt x="53" y="253"/>
                  </a:lnTo>
                  <a:lnTo>
                    <a:pt x="42" y="243"/>
                  </a:lnTo>
                  <a:lnTo>
                    <a:pt x="33" y="234"/>
                  </a:lnTo>
                  <a:lnTo>
                    <a:pt x="25" y="222"/>
                  </a:lnTo>
                  <a:lnTo>
                    <a:pt x="18" y="211"/>
                  </a:lnTo>
                  <a:lnTo>
                    <a:pt x="12" y="199"/>
                  </a:lnTo>
                  <a:lnTo>
                    <a:pt x="7" y="186"/>
                  </a:lnTo>
                  <a:lnTo>
                    <a:pt x="4" y="171"/>
                  </a:lnTo>
                  <a:lnTo>
                    <a:pt x="1" y="158"/>
                  </a:lnTo>
                  <a:lnTo>
                    <a:pt x="0" y="142"/>
                  </a:lnTo>
                  <a:lnTo>
                    <a:pt x="1" y="128"/>
                  </a:lnTo>
                  <a:lnTo>
                    <a:pt x="4" y="114"/>
                  </a:lnTo>
                  <a:lnTo>
                    <a:pt x="7" y="100"/>
                  </a:lnTo>
                  <a:lnTo>
                    <a:pt x="12" y="87"/>
                  </a:lnTo>
                  <a:lnTo>
                    <a:pt x="18" y="75"/>
                  </a:lnTo>
                  <a:lnTo>
                    <a:pt x="25" y="63"/>
                  </a:lnTo>
                  <a:lnTo>
                    <a:pt x="33" y="51"/>
                  </a:lnTo>
                  <a:lnTo>
                    <a:pt x="42" y="42"/>
                  </a:lnTo>
                  <a:lnTo>
                    <a:pt x="53" y="33"/>
                  </a:lnTo>
                  <a:lnTo>
                    <a:pt x="63" y="24"/>
                  </a:lnTo>
                  <a:lnTo>
                    <a:pt x="75" y="17"/>
                  </a:lnTo>
                  <a:lnTo>
                    <a:pt x="88" y="11"/>
                  </a:lnTo>
                  <a:lnTo>
                    <a:pt x="101" y="7"/>
                  </a:lnTo>
                  <a:lnTo>
                    <a:pt x="115" y="3"/>
                  </a:lnTo>
                  <a:lnTo>
                    <a:pt x="129" y="0"/>
                  </a:lnTo>
                  <a:lnTo>
                    <a:pt x="143" y="0"/>
                  </a:lnTo>
                  <a:lnTo>
                    <a:pt x="158" y="0"/>
                  </a:lnTo>
                  <a:lnTo>
                    <a:pt x="172" y="3"/>
                  </a:lnTo>
                  <a:lnTo>
                    <a:pt x="187" y="7"/>
                  </a:lnTo>
                  <a:lnTo>
                    <a:pt x="200" y="11"/>
                  </a:lnTo>
                  <a:lnTo>
                    <a:pt x="212" y="17"/>
                  </a:lnTo>
                  <a:lnTo>
                    <a:pt x="224" y="24"/>
                  </a:lnTo>
                  <a:lnTo>
                    <a:pt x="236" y="33"/>
                  </a:lnTo>
                  <a:lnTo>
                    <a:pt x="245" y="42"/>
                  </a:lnTo>
                  <a:lnTo>
                    <a:pt x="254" y="51"/>
                  </a:lnTo>
                  <a:lnTo>
                    <a:pt x="263" y="63"/>
                  </a:lnTo>
                  <a:lnTo>
                    <a:pt x="270" y="75"/>
                  </a:lnTo>
                  <a:lnTo>
                    <a:pt x="276" y="87"/>
                  </a:lnTo>
                  <a:lnTo>
                    <a:pt x="280" y="100"/>
                  </a:lnTo>
                  <a:lnTo>
                    <a:pt x="284" y="114"/>
                  </a:lnTo>
                  <a:lnTo>
                    <a:pt x="287" y="128"/>
                  </a:lnTo>
                  <a:lnTo>
                    <a:pt x="287" y="142"/>
                  </a:lnTo>
                  <a:lnTo>
                    <a:pt x="287" y="158"/>
                  </a:lnTo>
                  <a:lnTo>
                    <a:pt x="284" y="171"/>
                  </a:lnTo>
                  <a:lnTo>
                    <a:pt x="280" y="186"/>
                  </a:lnTo>
                  <a:lnTo>
                    <a:pt x="276" y="199"/>
                  </a:lnTo>
                  <a:lnTo>
                    <a:pt x="270" y="211"/>
                  </a:lnTo>
                  <a:lnTo>
                    <a:pt x="263" y="222"/>
                  </a:lnTo>
                  <a:lnTo>
                    <a:pt x="254" y="234"/>
                  </a:lnTo>
                  <a:lnTo>
                    <a:pt x="245" y="243"/>
                  </a:lnTo>
                  <a:lnTo>
                    <a:pt x="236" y="253"/>
                  </a:lnTo>
                  <a:lnTo>
                    <a:pt x="224" y="262"/>
                  </a:lnTo>
                  <a:lnTo>
                    <a:pt x="212" y="268"/>
                  </a:lnTo>
                  <a:lnTo>
                    <a:pt x="200" y="275"/>
                  </a:lnTo>
                  <a:lnTo>
                    <a:pt x="187" y="280"/>
                  </a:lnTo>
                  <a:lnTo>
                    <a:pt x="172" y="283"/>
                  </a:lnTo>
                  <a:lnTo>
                    <a:pt x="158" y="286"/>
                  </a:lnTo>
                  <a:lnTo>
                    <a:pt x="143" y="28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99" name="Freeform 111"/>
            <p:cNvSpPr>
              <a:spLocks/>
            </p:cNvSpPr>
            <p:nvPr/>
          </p:nvSpPr>
          <p:spPr bwMode="auto">
            <a:xfrm>
              <a:off x="617538" y="5816600"/>
              <a:ext cx="46038" cy="46038"/>
            </a:xfrm>
            <a:custGeom>
              <a:avLst/>
              <a:gdLst>
                <a:gd name="T0" fmla="*/ 117 w 117"/>
                <a:gd name="T1" fmla="*/ 58 h 117"/>
                <a:gd name="T2" fmla="*/ 115 w 117"/>
                <a:gd name="T3" fmla="*/ 70 h 117"/>
                <a:gd name="T4" fmla="*/ 111 w 117"/>
                <a:gd name="T5" fmla="*/ 82 h 117"/>
                <a:gd name="T6" fmla="*/ 106 w 117"/>
                <a:gd name="T7" fmla="*/ 91 h 117"/>
                <a:gd name="T8" fmla="*/ 100 w 117"/>
                <a:gd name="T9" fmla="*/ 100 h 117"/>
                <a:gd name="T10" fmla="*/ 90 w 117"/>
                <a:gd name="T11" fmla="*/ 107 h 117"/>
                <a:gd name="T12" fmla="*/ 81 w 117"/>
                <a:gd name="T13" fmla="*/ 112 h 117"/>
                <a:gd name="T14" fmla="*/ 69 w 117"/>
                <a:gd name="T15" fmla="*/ 116 h 117"/>
                <a:gd name="T16" fmla="*/ 57 w 117"/>
                <a:gd name="T17" fmla="*/ 117 h 117"/>
                <a:gd name="T18" fmla="*/ 46 w 117"/>
                <a:gd name="T19" fmla="*/ 116 h 117"/>
                <a:gd name="T20" fmla="*/ 35 w 117"/>
                <a:gd name="T21" fmla="*/ 112 h 117"/>
                <a:gd name="T22" fmla="*/ 25 w 117"/>
                <a:gd name="T23" fmla="*/ 107 h 117"/>
                <a:gd name="T24" fmla="*/ 17 w 117"/>
                <a:gd name="T25" fmla="*/ 100 h 117"/>
                <a:gd name="T26" fmla="*/ 9 w 117"/>
                <a:gd name="T27" fmla="*/ 91 h 117"/>
                <a:gd name="T28" fmla="*/ 4 w 117"/>
                <a:gd name="T29" fmla="*/ 82 h 117"/>
                <a:gd name="T30" fmla="*/ 1 w 117"/>
                <a:gd name="T31" fmla="*/ 70 h 117"/>
                <a:gd name="T32" fmla="*/ 0 w 117"/>
                <a:gd name="T33" fmla="*/ 58 h 117"/>
                <a:gd name="T34" fmla="*/ 1 w 117"/>
                <a:gd name="T35" fmla="*/ 48 h 117"/>
                <a:gd name="T36" fmla="*/ 4 w 117"/>
                <a:gd name="T37" fmla="*/ 36 h 117"/>
                <a:gd name="T38" fmla="*/ 9 w 117"/>
                <a:gd name="T39" fmla="*/ 27 h 117"/>
                <a:gd name="T40" fmla="*/ 17 w 117"/>
                <a:gd name="T41" fmla="*/ 17 h 117"/>
                <a:gd name="T42" fmla="*/ 25 w 117"/>
                <a:gd name="T43" fmla="*/ 11 h 117"/>
                <a:gd name="T44" fmla="*/ 35 w 117"/>
                <a:gd name="T45" fmla="*/ 5 h 117"/>
                <a:gd name="T46" fmla="*/ 46 w 117"/>
                <a:gd name="T47" fmla="*/ 2 h 117"/>
                <a:gd name="T48" fmla="*/ 57 w 117"/>
                <a:gd name="T49" fmla="*/ 0 h 117"/>
                <a:gd name="T50" fmla="*/ 69 w 117"/>
                <a:gd name="T51" fmla="*/ 2 h 117"/>
                <a:gd name="T52" fmla="*/ 81 w 117"/>
                <a:gd name="T53" fmla="*/ 5 h 117"/>
                <a:gd name="T54" fmla="*/ 90 w 117"/>
                <a:gd name="T55" fmla="*/ 11 h 117"/>
                <a:gd name="T56" fmla="*/ 100 w 117"/>
                <a:gd name="T57" fmla="*/ 17 h 117"/>
                <a:gd name="T58" fmla="*/ 106 w 117"/>
                <a:gd name="T59" fmla="*/ 27 h 117"/>
                <a:gd name="T60" fmla="*/ 111 w 117"/>
                <a:gd name="T61" fmla="*/ 36 h 117"/>
                <a:gd name="T62" fmla="*/ 115 w 117"/>
                <a:gd name="T63" fmla="*/ 48 h 117"/>
                <a:gd name="T64" fmla="*/ 117 w 117"/>
                <a:gd name="T65" fmla="*/ 5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117">
                  <a:moveTo>
                    <a:pt x="117" y="58"/>
                  </a:moveTo>
                  <a:lnTo>
                    <a:pt x="115" y="70"/>
                  </a:lnTo>
                  <a:lnTo>
                    <a:pt x="111" y="82"/>
                  </a:lnTo>
                  <a:lnTo>
                    <a:pt x="106" y="91"/>
                  </a:lnTo>
                  <a:lnTo>
                    <a:pt x="100" y="100"/>
                  </a:lnTo>
                  <a:lnTo>
                    <a:pt x="90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7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9" y="91"/>
                  </a:lnTo>
                  <a:lnTo>
                    <a:pt x="4" y="82"/>
                  </a:lnTo>
                  <a:lnTo>
                    <a:pt x="1" y="70"/>
                  </a:lnTo>
                  <a:lnTo>
                    <a:pt x="0" y="58"/>
                  </a:lnTo>
                  <a:lnTo>
                    <a:pt x="1" y="48"/>
                  </a:lnTo>
                  <a:lnTo>
                    <a:pt x="4" y="36"/>
                  </a:lnTo>
                  <a:lnTo>
                    <a:pt x="9" y="27"/>
                  </a:lnTo>
                  <a:lnTo>
                    <a:pt x="17" y="17"/>
                  </a:lnTo>
                  <a:lnTo>
                    <a:pt x="25" y="11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7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0" y="11"/>
                  </a:lnTo>
                  <a:lnTo>
                    <a:pt x="100" y="17"/>
                  </a:lnTo>
                  <a:lnTo>
                    <a:pt x="106" y="27"/>
                  </a:lnTo>
                  <a:lnTo>
                    <a:pt x="111" y="36"/>
                  </a:lnTo>
                  <a:lnTo>
                    <a:pt x="115" y="48"/>
                  </a:lnTo>
                  <a:lnTo>
                    <a:pt x="117" y="58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00" name="Freeform 112"/>
            <p:cNvSpPr>
              <a:spLocks noEditPoints="1"/>
            </p:cNvSpPr>
            <p:nvPr/>
          </p:nvSpPr>
          <p:spPr bwMode="auto">
            <a:xfrm>
              <a:off x="612775" y="5811838"/>
              <a:ext cx="55563" cy="55563"/>
            </a:xfrm>
            <a:custGeom>
              <a:avLst/>
              <a:gdLst>
                <a:gd name="T0" fmla="*/ 60 w 141"/>
                <a:gd name="T1" fmla="*/ 25 h 141"/>
                <a:gd name="T2" fmla="*/ 44 w 141"/>
                <a:gd name="T3" fmla="*/ 32 h 141"/>
                <a:gd name="T4" fmla="*/ 31 w 141"/>
                <a:gd name="T5" fmla="*/ 45 h 141"/>
                <a:gd name="T6" fmla="*/ 25 w 141"/>
                <a:gd name="T7" fmla="*/ 61 h 141"/>
                <a:gd name="T8" fmla="*/ 25 w 141"/>
                <a:gd name="T9" fmla="*/ 81 h 141"/>
                <a:gd name="T10" fmla="*/ 31 w 141"/>
                <a:gd name="T11" fmla="*/ 96 h 141"/>
                <a:gd name="T12" fmla="*/ 44 w 141"/>
                <a:gd name="T13" fmla="*/ 110 h 141"/>
                <a:gd name="T14" fmla="*/ 60 w 141"/>
                <a:gd name="T15" fmla="*/ 116 h 141"/>
                <a:gd name="T16" fmla="*/ 79 w 141"/>
                <a:gd name="T17" fmla="*/ 116 h 141"/>
                <a:gd name="T18" fmla="*/ 96 w 141"/>
                <a:gd name="T19" fmla="*/ 110 h 141"/>
                <a:gd name="T20" fmla="*/ 109 w 141"/>
                <a:gd name="T21" fmla="*/ 96 h 141"/>
                <a:gd name="T22" fmla="*/ 116 w 141"/>
                <a:gd name="T23" fmla="*/ 81 h 141"/>
                <a:gd name="T24" fmla="*/ 116 w 141"/>
                <a:gd name="T25" fmla="*/ 61 h 141"/>
                <a:gd name="T26" fmla="*/ 109 w 141"/>
                <a:gd name="T27" fmla="*/ 45 h 141"/>
                <a:gd name="T28" fmla="*/ 96 w 141"/>
                <a:gd name="T29" fmla="*/ 32 h 141"/>
                <a:gd name="T30" fmla="*/ 79 w 141"/>
                <a:gd name="T31" fmla="*/ 25 h 141"/>
                <a:gd name="T32" fmla="*/ 69 w 141"/>
                <a:gd name="T33" fmla="*/ 141 h 141"/>
                <a:gd name="T34" fmla="*/ 56 w 141"/>
                <a:gd name="T35" fmla="*/ 140 h 141"/>
                <a:gd name="T36" fmla="*/ 43 w 141"/>
                <a:gd name="T37" fmla="*/ 136 h 141"/>
                <a:gd name="T38" fmla="*/ 21 w 141"/>
                <a:gd name="T39" fmla="*/ 120 h 141"/>
                <a:gd name="T40" fmla="*/ 5 w 141"/>
                <a:gd name="T41" fmla="*/ 98 h 141"/>
                <a:gd name="T42" fmla="*/ 1 w 141"/>
                <a:gd name="T43" fmla="*/ 85 h 141"/>
                <a:gd name="T44" fmla="*/ 0 w 141"/>
                <a:gd name="T45" fmla="*/ 70 h 141"/>
                <a:gd name="T46" fmla="*/ 1 w 141"/>
                <a:gd name="T47" fmla="*/ 57 h 141"/>
                <a:gd name="T48" fmla="*/ 5 w 141"/>
                <a:gd name="T49" fmla="*/ 44 h 141"/>
                <a:gd name="T50" fmla="*/ 21 w 141"/>
                <a:gd name="T51" fmla="*/ 21 h 141"/>
                <a:gd name="T52" fmla="*/ 43 w 141"/>
                <a:gd name="T53" fmla="*/ 6 h 141"/>
                <a:gd name="T54" fmla="*/ 56 w 141"/>
                <a:gd name="T55" fmla="*/ 2 h 141"/>
                <a:gd name="T56" fmla="*/ 69 w 141"/>
                <a:gd name="T57" fmla="*/ 0 h 141"/>
                <a:gd name="T58" fmla="*/ 84 w 141"/>
                <a:gd name="T59" fmla="*/ 2 h 141"/>
                <a:gd name="T60" fmla="*/ 97 w 141"/>
                <a:gd name="T61" fmla="*/ 6 h 141"/>
                <a:gd name="T62" fmla="*/ 119 w 141"/>
                <a:gd name="T63" fmla="*/ 21 h 141"/>
                <a:gd name="T64" fmla="*/ 135 w 141"/>
                <a:gd name="T65" fmla="*/ 44 h 141"/>
                <a:gd name="T66" fmla="*/ 139 w 141"/>
                <a:gd name="T67" fmla="*/ 57 h 141"/>
                <a:gd name="T68" fmla="*/ 141 w 141"/>
                <a:gd name="T69" fmla="*/ 70 h 141"/>
                <a:gd name="T70" fmla="*/ 139 w 141"/>
                <a:gd name="T71" fmla="*/ 85 h 141"/>
                <a:gd name="T72" fmla="*/ 135 w 141"/>
                <a:gd name="T73" fmla="*/ 98 h 141"/>
                <a:gd name="T74" fmla="*/ 119 w 141"/>
                <a:gd name="T75" fmla="*/ 120 h 141"/>
                <a:gd name="T76" fmla="*/ 97 w 141"/>
                <a:gd name="T77" fmla="*/ 136 h 141"/>
                <a:gd name="T78" fmla="*/ 84 w 141"/>
                <a:gd name="T79" fmla="*/ 140 h 141"/>
                <a:gd name="T80" fmla="*/ 69 w 141"/>
                <a:gd name="T8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1">
                  <a:moveTo>
                    <a:pt x="69" y="24"/>
                  </a:moveTo>
                  <a:lnTo>
                    <a:pt x="60" y="25"/>
                  </a:lnTo>
                  <a:lnTo>
                    <a:pt x="52" y="28"/>
                  </a:lnTo>
                  <a:lnTo>
                    <a:pt x="44" y="32"/>
                  </a:lnTo>
                  <a:lnTo>
                    <a:pt x="37" y="37"/>
                  </a:lnTo>
                  <a:lnTo>
                    <a:pt x="31" y="45"/>
                  </a:lnTo>
                  <a:lnTo>
                    <a:pt x="27" y="53"/>
                  </a:lnTo>
                  <a:lnTo>
                    <a:pt x="25" y="61"/>
                  </a:lnTo>
                  <a:lnTo>
                    <a:pt x="23" y="70"/>
                  </a:lnTo>
                  <a:lnTo>
                    <a:pt x="25" y="81"/>
                  </a:lnTo>
                  <a:lnTo>
                    <a:pt x="27" y="89"/>
                  </a:lnTo>
                  <a:lnTo>
                    <a:pt x="31" y="96"/>
                  </a:lnTo>
                  <a:lnTo>
                    <a:pt x="37" y="103"/>
                  </a:lnTo>
                  <a:lnTo>
                    <a:pt x="44" y="110"/>
                  </a:lnTo>
                  <a:lnTo>
                    <a:pt x="52" y="114"/>
                  </a:lnTo>
                  <a:lnTo>
                    <a:pt x="60" y="116"/>
                  </a:lnTo>
                  <a:lnTo>
                    <a:pt x="69" y="117"/>
                  </a:lnTo>
                  <a:lnTo>
                    <a:pt x="79" y="116"/>
                  </a:lnTo>
                  <a:lnTo>
                    <a:pt x="88" y="114"/>
                  </a:lnTo>
                  <a:lnTo>
                    <a:pt x="96" y="110"/>
                  </a:lnTo>
                  <a:lnTo>
                    <a:pt x="102" y="103"/>
                  </a:lnTo>
                  <a:lnTo>
                    <a:pt x="109" y="96"/>
                  </a:lnTo>
                  <a:lnTo>
                    <a:pt x="113" y="89"/>
                  </a:lnTo>
                  <a:lnTo>
                    <a:pt x="116" y="81"/>
                  </a:lnTo>
                  <a:lnTo>
                    <a:pt x="117" y="70"/>
                  </a:lnTo>
                  <a:lnTo>
                    <a:pt x="116" y="61"/>
                  </a:lnTo>
                  <a:lnTo>
                    <a:pt x="113" y="53"/>
                  </a:lnTo>
                  <a:lnTo>
                    <a:pt x="109" y="45"/>
                  </a:lnTo>
                  <a:lnTo>
                    <a:pt x="102" y="37"/>
                  </a:lnTo>
                  <a:lnTo>
                    <a:pt x="96" y="32"/>
                  </a:lnTo>
                  <a:lnTo>
                    <a:pt x="88" y="28"/>
                  </a:lnTo>
                  <a:lnTo>
                    <a:pt x="79" y="25"/>
                  </a:lnTo>
                  <a:lnTo>
                    <a:pt x="69" y="24"/>
                  </a:lnTo>
                  <a:close/>
                  <a:moveTo>
                    <a:pt x="69" y="141"/>
                  </a:moveTo>
                  <a:lnTo>
                    <a:pt x="63" y="141"/>
                  </a:lnTo>
                  <a:lnTo>
                    <a:pt x="56" y="140"/>
                  </a:lnTo>
                  <a:lnTo>
                    <a:pt x="48" y="137"/>
                  </a:lnTo>
                  <a:lnTo>
                    <a:pt x="43" y="136"/>
                  </a:lnTo>
                  <a:lnTo>
                    <a:pt x="30" y="129"/>
                  </a:lnTo>
                  <a:lnTo>
                    <a:pt x="21" y="120"/>
                  </a:lnTo>
                  <a:lnTo>
                    <a:pt x="12" y="110"/>
                  </a:lnTo>
                  <a:lnTo>
                    <a:pt x="5" y="98"/>
                  </a:lnTo>
                  <a:lnTo>
                    <a:pt x="2" y="91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64"/>
                  </a:lnTo>
                  <a:lnTo>
                    <a:pt x="1" y="57"/>
                  </a:lnTo>
                  <a:lnTo>
                    <a:pt x="2" y="50"/>
                  </a:lnTo>
                  <a:lnTo>
                    <a:pt x="5" y="44"/>
                  </a:lnTo>
                  <a:lnTo>
                    <a:pt x="12" y="32"/>
                  </a:lnTo>
                  <a:lnTo>
                    <a:pt x="21" y="21"/>
                  </a:lnTo>
                  <a:lnTo>
                    <a:pt x="30" y="12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69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9" y="32"/>
                  </a:lnTo>
                  <a:lnTo>
                    <a:pt x="135" y="44"/>
                  </a:lnTo>
                  <a:lnTo>
                    <a:pt x="137" y="50"/>
                  </a:lnTo>
                  <a:lnTo>
                    <a:pt x="139" y="57"/>
                  </a:lnTo>
                  <a:lnTo>
                    <a:pt x="141" y="64"/>
                  </a:lnTo>
                  <a:lnTo>
                    <a:pt x="141" y="70"/>
                  </a:lnTo>
                  <a:lnTo>
                    <a:pt x="141" y="78"/>
                  </a:lnTo>
                  <a:lnTo>
                    <a:pt x="139" y="85"/>
                  </a:lnTo>
                  <a:lnTo>
                    <a:pt x="137" y="91"/>
                  </a:lnTo>
                  <a:lnTo>
                    <a:pt x="135" y="98"/>
                  </a:lnTo>
                  <a:lnTo>
                    <a:pt x="129" y="110"/>
                  </a:lnTo>
                  <a:lnTo>
                    <a:pt x="119" y="120"/>
                  </a:lnTo>
                  <a:lnTo>
                    <a:pt x="109" y="129"/>
                  </a:lnTo>
                  <a:lnTo>
                    <a:pt x="97" y="136"/>
                  </a:lnTo>
                  <a:lnTo>
                    <a:pt x="91" y="137"/>
                  </a:lnTo>
                  <a:lnTo>
                    <a:pt x="84" y="140"/>
                  </a:lnTo>
                  <a:lnTo>
                    <a:pt x="77" y="141"/>
                  </a:lnTo>
                  <a:lnTo>
                    <a:pt x="69" y="14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01" name="Freeform 113"/>
            <p:cNvSpPr>
              <a:spLocks/>
            </p:cNvSpPr>
            <p:nvPr/>
          </p:nvSpPr>
          <p:spPr bwMode="auto">
            <a:xfrm>
              <a:off x="865188" y="5786438"/>
              <a:ext cx="103188" cy="104775"/>
            </a:xfrm>
            <a:custGeom>
              <a:avLst/>
              <a:gdLst>
                <a:gd name="T0" fmla="*/ 262 w 262"/>
                <a:gd name="T1" fmla="*/ 145 h 262"/>
                <a:gd name="T2" fmla="*/ 257 w 262"/>
                <a:gd name="T3" fmla="*/ 170 h 262"/>
                <a:gd name="T4" fmla="*/ 246 w 262"/>
                <a:gd name="T5" fmla="*/ 193 h 262"/>
                <a:gd name="T6" fmla="*/ 233 w 262"/>
                <a:gd name="T7" fmla="*/ 214 h 262"/>
                <a:gd name="T8" fmla="*/ 215 w 262"/>
                <a:gd name="T9" fmla="*/ 231 h 262"/>
                <a:gd name="T10" fmla="*/ 193 w 262"/>
                <a:gd name="T11" fmla="*/ 246 h 262"/>
                <a:gd name="T12" fmla="*/ 170 w 262"/>
                <a:gd name="T13" fmla="*/ 256 h 262"/>
                <a:gd name="T14" fmla="*/ 145 w 262"/>
                <a:gd name="T15" fmla="*/ 262 h 262"/>
                <a:gd name="T16" fmla="*/ 117 w 262"/>
                <a:gd name="T17" fmla="*/ 262 h 262"/>
                <a:gd name="T18" fmla="*/ 92 w 262"/>
                <a:gd name="T19" fmla="*/ 256 h 262"/>
                <a:gd name="T20" fmla="*/ 68 w 262"/>
                <a:gd name="T21" fmla="*/ 246 h 262"/>
                <a:gd name="T22" fmla="*/ 47 w 262"/>
                <a:gd name="T23" fmla="*/ 231 h 262"/>
                <a:gd name="T24" fmla="*/ 30 w 262"/>
                <a:gd name="T25" fmla="*/ 214 h 262"/>
                <a:gd name="T26" fmla="*/ 16 w 262"/>
                <a:gd name="T27" fmla="*/ 193 h 262"/>
                <a:gd name="T28" fmla="*/ 5 w 262"/>
                <a:gd name="T29" fmla="*/ 170 h 262"/>
                <a:gd name="T30" fmla="*/ 0 w 262"/>
                <a:gd name="T31" fmla="*/ 145 h 262"/>
                <a:gd name="T32" fmla="*/ 0 w 262"/>
                <a:gd name="T33" fmla="*/ 117 h 262"/>
                <a:gd name="T34" fmla="*/ 5 w 262"/>
                <a:gd name="T35" fmla="*/ 92 h 262"/>
                <a:gd name="T36" fmla="*/ 16 w 262"/>
                <a:gd name="T37" fmla="*/ 68 h 262"/>
                <a:gd name="T38" fmla="*/ 30 w 262"/>
                <a:gd name="T39" fmla="*/ 47 h 262"/>
                <a:gd name="T40" fmla="*/ 47 w 262"/>
                <a:gd name="T41" fmla="*/ 30 h 262"/>
                <a:gd name="T42" fmla="*/ 68 w 262"/>
                <a:gd name="T43" fmla="*/ 16 h 262"/>
                <a:gd name="T44" fmla="*/ 92 w 262"/>
                <a:gd name="T45" fmla="*/ 5 h 262"/>
                <a:gd name="T46" fmla="*/ 117 w 262"/>
                <a:gd name="T47" fmla="*/ 0 h 262"/>
                <a:gd name="T48" fmla="*/ 145 w 262"/>
                <a:gd name="T49" fmla="*/ 0 h 262"/>
                <a:gd name="T50" fmla="*/ 170 w 262"/>
                <a:gd name="T51" fmla="*/ 5 h 262"/>
                <a:gd name="T52" fmla="*/ 193 w 262"/>
                <a:gd name="T53" fmla="*/ 16 h 262"/>
                <a:gd name="T54" fmla="*/ 215 w 262"/>
                <a:gd name="T55" fmla="*/ 30 h 262"/>
                <a:gd name="T56" fmla="*/ 233 w 262"/>
                <a:gd name="T57" fmla="*/ 47 h 262"/>
                <a:gd name="T58" fmla="*/ 246 w 262"/>
                <a:gd name="T59" fmla="*/ 68 h 262"/>
                <a:gd name="T60" fmla="*/ 257 w 262"/>
                <a:gd name="T61" fmla="*/ 92 h 262"/>
                <a:gd name="T62" fmla="*/ 262 w 262"/>
                <a:gd name="T63" fmla="*/ 117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2" h="262">
                  <a:moveTo>
                    <a:pt x="262" y="130"/>
                  </a:moveTo>
                  <a:lnTo>
                    <a:pt x="262" y="145"/>
                  </a:lnTo>
                  <a:lnTo>
                    <a:pt x="259" y="158"/>
                  </a:lnTo>
                  <a:lnTo>
                    <a:pt x="257" y="170"/>
                  </a:lnTo>
                  <a:lnTo>
                    <a:pt x="253" y="181"/>
                  </a:lnTo>
                  <a:lnTo>
                    <a:pt x="246" y="193"/>
                  </a:lnTo>
                  <a:lnTo>
                    <a:pt x="240" y="204"/>
                  </a:lnTo>
                  <a:lnTo>
                    <a:pt x="233" y="214"/>
                  </a:lnTo>
                  <a:lnTo>
                    <a:pt x="224" y="224"/>
                  </a:lnTo>
                  <a:lnTo>
                    <a:pt x="215" y="231"/>
                  </a:lnTo>
                  <a:lnTo>
                    <a:pt x="204" y="239"/>
                  </a:lnTo>
                  <a:lnTo>
                    <a:pt x="193" y="246"/>
                  </a:lnTo>
                  <a:lnTo>
                    <a:pt x="182" y="251"/>
                  </a:lnTo>
                  <a:lnTo>
                    <a:pt x="170" y="256"/>
                  </a:lnTo>
                  <a:lnTo>
                    <a:pt x="158" y="259"/>
                  </a:lnTo>
                  <a:lnTo>
                    <a:pt x="145" y="262"/>
                  </a:lnTo>
                  <a:lnTo>
                    <a:pt x="132" y="262"/>
                  </a:lnTo>
                  <a:lnTo>
                    <a:pt x="117" y="262"/>
                  </a:lnTo>
                  <a:lnTo>
                    <a:pt x="105" y="259"/>
                  </a:lnTo>
                  <a:lnTo>
                    <a:pt x="92" y="256"/>
                  </a:lnTo>
                  <a:lnTo>
                    <a:pt x="80" y="251"/>
                  </a:lnTo>
                  <a:lnTo>
                    <a:pt x="68" y="246"/>
                  </a:lnTo>
                  <a:lnTo>
                    <a:pt x="58" y="239"/>
                  </a:lnTo>
                  <a:lnTo>
                    <a:pt x="47" y="231"/>
                  </a:lnTo>
                  <a:lnTo>
                    <a:pt x="38" y="224"/>
                  </a:lnTo>
                  <a:lnTo>
                    <a:pt x="30" y="214"/>
                  </a:lnTo>
                  <a:lnTo>
                    <a:pt x="22" y="204"/>
                  </a:lnTo>
                  <a:lnTo>
                    <a:pt x="16" y="193"/>
                  </a:lnTo>
                  <a:lnTo>
                    <a:pt x="11" y="181"/>
                  </a:lnTo>
                  <a:lnTo>
                    <a:pt x="5" y="170"/>
                  </a:lnTo>
                  <a:lnTo>
                    <a:pt x="3" y="158"/>
                  </a:lnTo>
                  <a:lnTo>
                    <a:pt x="0" y="145"/>
                  </a:lnTo>
                  <a:lnTo>
                    <a:pt x="0" y="130"/>
                  </a:lnTo>
                  <a:lnTo>
                    <a:pt x="0" y="117"/>
                  </a:lnTo>
                  <a:lnTo>
                    <a:pt x="3" y="104"/>
                  </a:lnTo>
                  <a:lnTo>
                    <a:pt x="5" y="92"/>
                  </a:lnTo>
                  <a:lnTo>
                    <a:pt x="11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0" y="47"/>
                  </a:lnTo>
                  <a:lnTo>
                    <a:pt x="38" y="38"/>
                  </a:lnTo>
                  <a:lnTo>
                    <a:pt x="47" y="30"/>
                  </a:lnTo>
                  <a:lnTo>
                    <a:pt x="58" y="22"/>
                  </a:lnTo>
                  <a:lnTo>
                    <a:pt x="68" y="16"/>
                  </a:lnTo>
                  <a:lnTo>
                    <a:pt x="80" y="10"/>
                  </a:lnTo>
                  <a:lnTo>
                    <a:pt x="92" y="5"/>
                  </a:lnTo>
                  <a:lnTo>
                    <a:pt x="105" y="2"/>
                  </a:lnTo>
                  <a:lnTo>
                    <a:pt x="117" y="0"/>
                  </a:lnTo>
                  <a:lnTo>
                    <a:pt x="132" y="0"/>
                  </a:lnTo>
                  <a:lnTo>
                    <a:pt x="145" y="0"/>
                  </a:lnTo>
                  <a:lnTo>
                    <a:pt x="158" y="2"/>
                  </a:lnTo>
                  <a:lnTo>
                    <a:pt x="170" y="5"/>
                  </a:lnTo>
                  <a:lnTo>
                    <a:pt x="182" y="10"/>
                  </a:lnTo>
                  <a:lnTo>
                    <a:pt x="193" y="16"/>
                  </a:lnTo>
                  <a:lnTo>
                    <a:pt x="204" y="22"/>
                  </a:lnTo>
                  <a:lnTo>
                    <a:pt x="215" y="30"/>
                  </a:lnTo>
                  <a:lnTo>
                    <a:pt x="224" y="38"/>
                  </a:lnTo>
                  <a:lnTo>
                    <a:pt x="233" y="47"/>
                  </a:lnTo>
                  <a:lnTo>
                    <a:pt x="240" y="58"/>
                  </a:lnTo>
                  <a:lnTo>
                    <a:pt x="246" y="68"/>
                  </a:lnTo>
                  <a:lnTo>
                    <a:pt x="253" y="80"/>
                  </a:lnTo>
                  <a:lnTo>
                    <a:pt x="257" y="92"/>
                  </a:lnTo>
                  <a:lnTo>
                    <a:pt x="259" y="104"/>
                  </a:lnTo>
                  <a:lnTo>
                    <a:pt x="262" y="117"/>
                  </a:lnTo>
                  <a:lnTo>
                    <a:pt x="262" y="13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02" name="Freeform 114"/>
            <p:cNvSpPr>
              <a:spLocks noEditPoints="1"/>
            </p:cNvSpPr>
            <p:nvPr/>
          </p:nvSpPr>
          <p:spPr bwMode="auto">
            <a:xfrm>
              <a:off x="860425" y="5781675"/>
              <a:ext cx="114300" cy="114300"/>
            </a:xfrm>
            <a:custGeom>
              <a:avLst/>
              <a:gdLst>
                <a:gd name="T0" fmla="*/ 119 w 287"/>
                <a:gd name="T1" fmla="*/ 26 h 286"/>
                <a:gd name="T2" fmla="*/ 87 w 287"/>
                <a:gd name="T3" fmla="*/ 38 h 286"/>
                <a:gd name="T4" fmla="*/ 59 w 287"/>
                <a:gd name="T5" fmla="*/ 59 h 286"/>
                <a:gd name="T6" fmla="*/ 38 w 287"/>
                <a:gd name="T7" fmla="*/ 86 h 286"/>
                <a:gd name="T8" fmla="*/ 27 w 287"/>
                <a:gd name="T9" fmla="*/ 118 h 286"/>
                <a:gd name="T10" fmla="*/ 25 w 287"/>
                <a:gd name="T11" fmla="*/ 155 h 286"/>
                <a:gd name="T12" fmla="*/ 33 w 287"/>
                <a:gd name="T13" fmla="*/ 189 h 286"/>
                <a:gd name="T14" fmla="*/ 52 w 287"/>
                <a:gd name="T15" fmla="*/ 218 h 286"/>
                <a:gd name="T16" fmla="*/ 77 w 287"/>
                <a:gd name="T17" fmla="*/ 242 h 286"/>
                <a:gd name="T18" fmla="*/ 108 w 287"/>
                <a:gd name="T19" fmla="*/ 257 h 286"/>
                <a:gd name="T20" fmla="*/ 144 w 287"/>
                <a:gd name="T21" fmla="*/ 262 h 286"/>
                <a:gd name="T22" fmla="*/ 179 w 287"/>
                <a:gd name="T23" fmla="*/ 257 h 286"/>
                <a:gd name="T24" fmla="*/ 209 w 287"/>
                <a:gd name="T25" fmla="*/ 242 h 286"/>
                <a:gd name="T26" fmla="*/ 236 w 287"/>
                <a:gd name="T27" fmla="*/ 218 h 286"/>
                <a:gd name="T28" fmla="*/ 253 w 287"/>
                <a:gd name="T29" fmla="*/ 189 h 286"/>
                <a:gd name="T30" fmla="*/ 262 w 287"/>
                <a:gd name="T31" fmla="*/ 155 h 286"/>
                <a:gd name="T32" fmla="*/ 259 w 287"/>
                <a:gd name="T33" fmla="*/ 118 h 286"/>
                <a:gd name="T34" fmla="*/ 248 w 287"/>
                <a:gd name="T35" fmla="*/ 86 h 286"/>
                <a:gd name="T36" fmla="*/ 228 w 287"/>
                <a:gd name="T37" fmla="*/ 59 h 286"/>
                <a:gd name="T38" fmla="*/ 200 w 287"/>
                <a:gd name="T39" fmla="*/ 38 h 286"/>
                <a:gd name="T40" fmla="*/ 167 w 287"/>
                <a:gd name="T41" fmla="*/ 26 h 286"/>
                <a:gd name="T42" fmla="*/ 144 w 287"/>
                <a:gd name="T43" fmla="*/ 286 h 286"/>
                <a:gd name="T44" fmla="*/ 100 w 287"/>
                <a:gd name="T45" fmla="*/ 280 h 286"/>
                <a:gd name="T46" fmla="*/ 63 w 287"/>
                <a:gd name="T47" fmla="*/ 262 h 286"/>
                <a:gd name="T48" fmla="*/ 33 w 287"/>
                <a:gd name="T49" fmla="*/ 234 h 286"/>
                <a:gd name="T50" fmla="*/ 11 w 287"/>
                <a:gd name="T51" fmla="*/ 199 h 286"/>
                <a:gd name="T52" fmla="*/ 0 w 287"/>
                <a:gd name="T53" fmla="*/ 158 h 286"/>
                <a:gd name="T54" fmla="*/ 3 w 287"/>
                <a:gd name="T55" fmla="*/ 114 h 286"/>
                <a:gd name="T56" fmla="*/ 17 w 287"/>
                <a:gd name="T57" fmla="*/ 75 h 286"/>
                <a:gd name="T58" fmla="*/ 42 w 287"/>
                <a:gd name="T59" fmla="*/ 42 h 286"/>
                <a:gd name="T60" fmla="*/ 75 w 287"/>
                <a:gd name="T61" fmla="*/ 17 h 286"/>
                <a:gd name="T62" fmla="*/ 115 w 287"/>
                <a:gd name="T63" fmla="*/ 3 h 286"/>
                <a:gd name="T64" fmla="*/ 158 w 287"/>
                <a:gd name="T65" fmla="*/ 0 h 286"/>
                <a:gd name="T66" fmla="*/ 199 w 287"/>
                <a:gd name="T67" fmla="*/ 11 h 286"/>
                <a:gd name="T68" fmla="*/ 234 w 287"/>
                <a:gd name="T69" fmla="*/ 33 h 286"/>
                <a:gd name="T70" fmla="*/ 262 w 287"/>
                <a:gd name="T71" fmla="*/ 63 h 286"/>
                <a:gd name="T72" fmla="*/ 280 w 287"/>
                <a:gd name="T73" fmla="*/ 100 h 286"/>
                <a:gd name="T74" fmla="*/ 287 w 287"/>
                <a:gd name="T75" fmla="*/ 142 h 286"/>
                <a:gd name="T76" fmla="*/ 280 w 287"/>
                <a:gd name="T77" fmla="*/ 186 h 286"/>
                <a:gd name="T78" fmla="*/ 262 w 287"/>
                <a:gd name="T79" fmla="*/ 222 h 286"/>
                <a:gd name="T80" fmla="*/ 234 w 287"/>
                <a:gd name="T81" fmla="*/ 253 h 286"/>
                <a:gd name="T82" fmla="*/ 199 w 287"/>
                <a:gd name="T83" fmla="*/ 275 h 286"/>
                <a:gd name="T84" fmla="*/ 158 w 287"/>
                <a:gd name="T85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7" h="286">
                  <a:moveTo>
                    <a:pt x="144" y="24"/>
                  </a:moveTo>
                  <a:lnTo>
                    <a:pt x="130" y="24"/>
                  </a:lnTo>
                  <a:lnTo>
                    <a:pt x="119" y="26"/>
                  </a:lnTo>
                  <a:lnTo>
                    <a:pt x="108" y="29"/>
                  </a:lnTo>
                  <a:lnTo>
                    <a:pt x="96" y="33"/>
                  </a:lnTo>
                  <a:lnTo>
                    <a:pt x="87" y="38"/>
                  </a:lnTo>
                  <a:lnTo>
                    <a:pt x="77" y="43"/>
                  </a:lnTo>
                  <a:lnTo>
                    <a:pt x="67" y="51"/>
                  </a:lnTo>
                  <a:lnTo>
                    <a:pt x="59" y="59"/>
                  </a:lnTo>
                  <a:lnTo>
                    <a:pt x="52" y="67"/>
                  </a:lnTo>
                  <a:lnTo>
                    <a:pt x="45" y="76"/>
                  </a:lnTo>
                  <a:lnTo>
                    <a:pt x="38" y="86"/>
                  </a:lnTo>
                  <a:lnTo>
                    <a:pt x="33" y="96"/>
                  </a:lnTo>
                  <a:lnTo>
                    <a:pt x="29" y="108"/>
                  </a:lnTo>
                  <a:lnTo>
                    <a:pt x="27" y="118"/>
                  </a:lnTo>
                  <a:lnTo>
                    <a:pt x="25" y="130"/>
                  </a:lnTo>
                  <a:lnTo>
                    <a:pt x="24" y="142"/>
                  </a:lnTo>
                  <a:lnTo>
                    <a:pt x="25" y="155"/>
                  </a:lnTo>
                  <a:lnTo>
                    <a:pt x="27" y="167"/>
                  </a:lnTo>
                  <a:lnTo>
                    <a:pt x="29" y="178"/>
                  </a:lnTo>
                  <a:lnTo>
                    <a:pt x="33" y="189"/>
                  </a:lnTo>
                  <a:lnTo>
                    <a:pt x="38" y="200"/>
                  </a:lnTo>
                  <a:lnTo>
                    <a:pt x="45" y="209"/>
                  </a:lnTo>
                  <a:lnTo>
                    <a:pt x="52" y="218"/>
                  </a:lnTo>
                  <a:lnTo>
                    <a:pt x="59" y="228"/>
                  </a:lnTo>
                  <a:lnTo>
                    <a:pt x="67" y="234"/>
                  </a:lnTo>
                  <a:lnTo>
                    <a:pt x="77" y="242"/>
                  </a:lnTo>
                  <a:lnTo>
                    <a:pt x="87" y="247"/>
                  </a:lnTo>
                  <a:lnTo>
                    <a:pt x="96" y="253"/>
                  </a:lnTo>
                  <a:lnTo>
                    <a:pt x="108" y="257"/>
                  </a:lnTo>
                  <a:lnTo>
                    <a:pt x="119" y="259"/>
                  </a:lnTo>
                  <a:lnTo>
                    <a:pt x="130" y="262"/>
                  </a:lnTo>
                  <a:lnTo>
                    <a:pt x="144" y="262"/>
                  </a:lnTo>
                  <a:lnTo>
                    <a:pt x="155" y="262"/>
                  </a:lnTo>
                  <a:lnTo>
                    <a:pt x="167" y="259"/>
                  </a:lnTo>
                  <a:lnTo>
                    <a:pt x="179" y="257"/>
                  </a:lnTo>
                  <a:lnTo>
                    <a:pt x="190" y="253"/>
                  </a:lnTo>
                  <a:lnTo>
                    <a:pt x="200" y="247"/>
                  </a:lnTo>
                  <a:lnTo>
                    <a:pt x="209" y="242"/>
                  </a:lnTo>
                  <a:lnTo>
                    <a:pt x="219" y="234"/>
                  </a:lnTo>
                  <a:lnTo>
                    <a:pt x="228" y="228"/>
                  </a:lnTo>
                  <a:lnTo>
                    <a:pt x="236" y="218"/>
                  </a:lnTo>
                  <a:lnTo>
                    <a:pt x="242" y="209"/>
                  </a:lnTo>
                  <a:lnTo>
                    <a:pt x="248" y="200"/>
                  </a:lnTo>
                  <a:lnTo>
                    <a:pt x="253" y="189"/>
                  </a:lnTo>
                  <a:lnTo>
                    <a:pt x="257" y="178"/>
                  </a:lnTo>
                  <a:lnTo>
                    <a:pt x="259" y="167"/>
                  </a:lnTo>
                  <a:lnTo>
                    <a:pt x="262" y="155"/>
                  </a:lnTo>
                  <a:lnTo>
                    <a:pt x="262" y="142"/>
                  </a:lnTo>
                  <a:lnTo>
                    <a:pt x="262" y="130"/>
                  </a:lnTo>
                  <a:lnTo>
                    <a:pt x="259" y="118"/>
                  </a:lnTo>
                  <a:lnTo>
                    <a:pt x="257" y="108"/>
                  </a:lnTo>
                  <a:lnTo>
                    <a:pt x="253" y="96"/>
                  </a:lnTo>
                  <a:lnTo>
                    <a:pt x="248" y="86"/>
                  </a:lnTo>
                  <a:lnTo>
                    <a:pt x="242" y="76"/>
                  </a:lnTo>
                  <a:lnTo>
                    <a:pt x="236" y="67"/>
                  </a:lnTo>
                  <a:lnTo>
                    <a:pt x="228" y="59"/>
                  </a:lnTo>
                  <a:lnTo>
                    <a:pt x="219" y="51"/>
                  </a:lnTo>
                  <a:lnTo>
                    <a:pt x="209" y="43"/>
                  </a:lnTo>
                  <a:lnTo>
                    <a:pt x="200" y="38"/>
                  </a:lnTo>
                  <a:lnTo>
                    <a:pt x="190" y="33"/>
                  </a:lnTo>
                  <a:lnTo>
                    <a:pt x="179" y="29"/>
                  </a:lnTo>
                  <a:lnTo>
                    <a:pt x="167" y="26"/>
                  </a:lnTo>
                  <a:lnTo>
                    <a:pt x="155" y="24"/>
                  </a:lnTo>
                  <a:lnTo>
                    <a:pt x="144" y="24"/>
                  </a:lnTo>
                  <a:close/>
                  <a:moveTo>
                    <a:pt x="144" y="286"/>
                  </a:moveTo>
                  <a:lnTo>
                    <a:pt x="129" y="286"/>
                  </a:lnTo>
                  <a:lnTo>
                    <a:pt x="115" y="283"/>
                  </a:lnTo>
                  <a:lnTo>
                    <a:pt x="100" y="280"/>
                  </a:lnTo>
                  <a:lnTo>
                    <a:pt x="87" y="275"/>
                  </a:lnTo>
                  <a:lnTo>
                    <a:pt x="75" y="268"/>
                  </a:lnTo>
                  <a:lnTo>
                    <a:pt x="63" y="262"/>
                  </a:lnTo>
                  <a:lnTo>
                    <a:pt x="53" y="253"/>
                  </a:lnTo>
                  <a:lnTo>
                    <a:pt x="42" y="243"/>
                  </a:lnTo>
                  <a:lnTo>
                    <a:pt x="33" y="234"/>
                  </a:lnTo>
                  <a:lnTo>
                    <a:pt x="25" y="222"/>
                  </a:lnTo>
                  <a:lnTo>
                    <a:pt x="17" y="211"/>
                  </a:lnTo>
                  <a:lnTo>
                    <a:pt x="11" y="199"/>
                  </a:lnTo>
                  <a:lnTo>
                    <a:pt x="7" y="186"/>
                  </a:lnTo>
                  <a:lnTo>
                    <a:pt x="3" y="171"/>
                  </a:lnTo>
                  <a:lnTo>
                    <a:pt x="0" y="158"/>
                  </a:lnTo>
                  <a:lnTo>
                    <a:pt x="0" y="142"/>
                  </a:lnTo>
                  <a:lnTo>
                    <a:pt x="0" y="128"/>
                  </a:lnTo>
                  <a:lnTo>
                    <a:pt x="3" y="114"/>
                  </a:lnTo>
                  <a:lnTo>
                    <a:pt x="7" y="100"/>
                  </a:lnTo>
                  <a:lnTo>
                    <a:pt x="11" y="87"/>
                  </a:lnTo>
                  <a:lnTo>
                    <a:pt x="17" y="75"/>
                  </a:lnTo>
                  <a:lnTo>
                    <a:pt x="25" y="63"/>
                  </a:lnTo>
                  <a:lnTo>
                    <a:pt x="33" y="51"/>
                  </a:lnTo>
                  <a:lnTo>
                    <a:pt x="42" y="42"/>
                  </a:lnTo>
                  <a:lnTo>
                    <a:pt x="53" y="33"/>
                  </a:lnTo>
                  <a:lnTo>
                    <a:pt x="63" y="24"/>
                  </a:lnTo>
                  <a:lnTo>
                    <a:pt x="75" y="17"/>
                  </a:lnTo>
                  <a:lnTo>
                    <a:pt x="87" y="11"/>
                  </a:lnTo>
                  <a:lnTo>
                    <a:pt x="100" y="7"/>
                  </a:lnTo>
                  <a:lnTo>
                    <a:pt x="115" y="3"/>
                  </a:lnTo>
                  <a:lnTo>
                    <a:pt x="129" y="0"/>
                  </a:lnTo>
                  <a:lnTo>
                    <a:pt x="144" y="0"/>
                  </a:lnTo>
                  <a:lnTo>
                    <a:pt x="158" y="0"/>
                  </a:lnTo>
                  <a:lnTo>
                    <a:pt x="173" y="3"/>
                  </a:lnTo>
                  <a:lnTo>
                    <a:pt x="186" y="7"/>
                  </a:lnTo>
                  <a:lnTo>
                    <a:pt x="199" y="11"/>
                  </a:lnTo>
                  <a:lnTo>
                    <a:pt x="212" y="17"/>
                  </a:lnTo>
                  <a:lnTo>
                    <a:pt x="224" y="24"/>
                  </a:lnTo>
                  <a:lnTo>
                    <a:pt x="234" y="33"/>
                  </a:lnTo>
                  <a:lnTo>
                    <a:pt x="245" y="42"/>
                  </a:lnTo>
                  <a:lnTo>
                    <a:pt x="254" y="51"/>
                  </a:lnTo>
                  <a:lnTo>
                    <a:pt x="262" y="63"/>
                  </a:lnTo>
                  <a:lnTo>
                    <a:pt x="269" y="75"/>
                  </a:lnTo>
                  <a:lnTo>
                    <a:pt x="275" y="87"/>
                  </a:lnTo>
                  <a:lnTo>
                    <a:pt x="280" y="100"/>
                  </a:lnTo>
                  <a:lnTo>
                    <a:pt x="283" y="114"/>
                  </a:lnTo>
                  <a:lnTo>
                    <a:pt x="286" y="128"/>
                  </a:lnTo>
                  <a:lnTo>
                    <a:pt x="287" y="142"/>
                  </a:lnTo>
                  <a:lnTo>
                    <a:pt x="286" y="158"/>
                  </a:lnTo>
                  <a:lnTo>
                    <a:pt x="283" y="171"/>
                  </a:lnTo>
                  <a:lnTo>
                    <a:pt x="280" y="186"/>
                  </a:lnTo>
                  <a:lnTo>
                    <a:pt x="275" y="199"/>
                  </a:lnTo>
                  <a:lnTo>
                    <a:pt x="269" y="211"/>
                  </a:lnTo>
                  <a:lnTo>
                    <a:pt x="262" y="222"/>
                  </a:lnTo>
                  <a:lnTo>
                    <a:pt x="254" y="234"/>
                  </a:lnTo>
                  <a:lnTo>
                    <a:pt x="245" y="243"/>
                  </a:lnTo>
                  <a:lnTo>
                    <a:pt x="234" y="253"/>
                  </a:lnTo>
                  <a:lnTo>
                    <a:pt x="224" y="262"/>
                  </a:lnTo>
                  <a:lnTo>
                    <a:pt x="212" y="268"/>
                  </a:lnTo>
                  <a:lnTo>
                    <a:pt x="199" y="275"/>
                  </a:lnTo>
                  <a:lnTo>
                    <a:pt x="186" y="280"/>
                  </a:lnTo>
                  <a:lnTo>
                    <a:pt x="173" y="283"/>
                  </a:lnTo>
                  <a:lnTo>
                    <a:pt x="158" y="286"/>
                  </a:lnTo>
                  <a:lnTo>
                    <a:pt x="144" y="28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03" name="Freeform 115"/>
            <p:cNvSpPr>
              <a:spLocks/>
            </p:cNvSpPr>
            <p:nvPr/>
          </p:nvSpPr>
          <p:spPr bwMode="auto">
            <a:xfrm>
              <a:off x="893763" y="5816600"/>
              <a:ext cx="46038" cy="46038"/>
            </a:xfrm>
            <a:custGeom>
              <a:avLst/>
              <a:gdLst>
                <a:gd name="T0" fmla="*/ 118 w 118"/>
                <a:gd name="T1" fmla="*/ 58 h 117"/>
                <a:gd name="T2" fmla="*/ 116 w 118"/>
                <a:gd name="T3" fmla="*/ 70 h 117"/>
                <a:gd name="T4" fmla="*/ 114 w 118"/>
                <a:gd name="T5" fmla="*/ 82 h 117"/>
                <a:gd name="T6" fmla="*/ 108 w 118"/>
                <a:gd name="T7" fmla="*/ 91 h 117"/>
                <a:gd name="T8" fmla="*/ 100 w 118"/>
                <a:gd name="T9" fmla="*/ 100 h 117"/>
                <a:gd name="T10" fmla="*/ 93 w 118"/>
                <a:gd name="T11" fmla="*/ 107 h 117"/>
                <a:gd name="T12" fmla="*/ 82 w 118"/>
                <a:gd name="T13" fmla="*/ 112 h 117"/>
                <a:gd name="T14" fmla="*/ 71 w 118"/>
                <a:gd name="T15" fmla="*/ 116 h 117"/>
                <a:gd name="T16" fmla="*/ 60 w 118"/>
                <a:gd name="T17" fmla="*/ 117 h 117"/>
                <a:gd name="T18" fmla="*/ 48 w 118"/>
                <a:gd name="T19" fmla="*/ 116 h 117"/>
                <a:gd name="T20" fmla="*/ 36 w 118"/>
                <a:gd name="T21" fmla="*/ 112 h 117"/>
                <a:gd name="T22" fmla="*/ 27 w 118"/>
                <a:gd name="T23" fmla="*/ 107 h 117"/>
                <a:gd name="T24" fmla="*/ 18 w 118"/>
                <a:gd name="T25" fmla="*/ 100 h 117"/>
                <a:gd name="T26" fmla="*/ 11 w 118"/>
                <a:gd name="T27" fmla="*/ 91 h 117"/>
                <a:gd name="T28" fmla="*/ 6 w 118"/>
                <a:gd name="T29" fmla="*/ 82 h 117"/>
                <a:gd name="T30" fmla="*/ 2 w 118"/>
                <a:gd name="T31" fmla="*/ 70 h 117"/>
                <a:gd name="T32" fmla="*/ 0 w 118"/>
                <a:gd name="T33" fmla="*/ 58 h 117"/>
                <a:gd name="T34" fmla="*/ 2 w 118"/>
                <a:gd name="T35" fmla="*/ 48 h 117"/>
                <a:gd name="T36" fmla="*/ 6 w 118"/>
                <a:gd name="T37" fmla="*/ 36 h 117"/>
                <a:gd name="T38" fmla="*/ 11 w 118"/>
                <a:gd name="T39" fmla="*/ 27 h 117"/>
                <a:gd name="T40" fmla="*/ 18 w 118"/>
                <a:gd name="T41" fmla="*/ 17 h 117"/>
                <a:gd name="T42" fmla="*/ 27 w 118"/>
                <a:gd name="T43" fmla="*/ 11 h 117"/>
                <a:gd name="T44" fmla="*/ 36 w 118"/>
                <a:gd name="T45" fmla="*/ 5 h 117"/>
                <a:gd name="T46" fmla="*/ 48 w 118"/>
                <a:gd name="T47" fmla="*/ 2 h 117"/>
                <a:gd name="T48" fmla="*/ 60 w 118"/>
                <a:gd name="T49" fmla="*/ 0 h 117"/>
                <a:gd name="T50" fmla="*/ 71 w 118"/>
                <a:gd name="T51" fmla="*/ 2 h 117"/>
                <a:gd name="T52" fmla="*/ 82 w 118"/>
                <a:gd name="T53" fmla="*/ 5 h 117"/>
                <a:gd name="T54" fmla="*/ 93 w 118"/>
                <a:gd name="T55" fmla="*/ 11 h 117"/>
                <a:gd name="T56" fmla="*/ 100 w 118"/>
                <a:gd name="T57" fmla="*/ 17 h 117"/>
                <a:gd name="T58" fmla="*/ 108 w 118"/>
                <a:gd name="T59" fmla="*/ 27 h 117"/>
                <a:gd name="T60" fmla="*/ 114 w 118"/>
                <a:gd name="T61" fmla="*/ 36 h 117"/>
                <a:gd name="T62" fmla="*/ 116 w 118"/>
                <a:gd name="T63" fmla="*/ 48 h 117"/>
                <a:gd name="T64" fmla="*/ 118 w 118"/>
                <a:gd name="T65" fmla="*/ 5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8" h="117">
                  <a:moveTo>
                    <a:pt x="118" y="58"/>
                  </a:moveTo>
                  <a:lnTo>
                    <a:pt x="116" y="70"/>
                  </a:lnTo>
                  <a:lnTo>
                    <a:pt x="114" y="82"/>
                  </a:lnTo>
                  <a:lnTo>
                    <a:pt x="108" y="91"/>
                  </a:lnTo>
                  <a:lnTo>
                    <a:pt x="100" y="100"/>
                  </a:lnTo>
                  <a:lnTo>
                    <a:pt x="93" y="107"/>
                  </a:lnTo>
                  <a:lnTo>
                    <a:pt x="82" y="112"/>
                  </a:lnTo>
                  <a:lnTo>
                    <a:pt x="71" y="116"/>
                  </a:lnTo>
                  <a:lnTo>
                    <a:pt x="60" y="117"/>
                  </a:lnTo>
                  <a:lnTo>
                    <a:pt x="48" y="116"/>
                  </a:lnTo>
                  <a:lnTo>
                    <a:pt x="36" y="112"/>
                  </a:lnTo>
                  <a:lnTo>
                    <a:pt x="27" y="107"/>
                  </a:lnTo>
                  <a:lnTo>
                    <a:pt x="18" y="100"/>
                  </a:lnTo>
                  <a:lnTo>
                    <a:pt x="11" y="91"/>
                  </a:lnTo>
                  <a:lnTo>
                    <a:pt x="6" y="82"/>
                  </a:lnTo>
                  <a:lnTo>
                    <a:pt x="2" y="70"/>
                  </a:lnTo>
                  <a:lnTo>
                    <a:pt x="0" y="58"/>
                  </a:lnTo>
                  <a:lnTo>
                    <a:pt x="2" y="48"/>
                  </a:lnTo>
                  <a:lnTo>
                    <a:pt x="6" y="36"/>
                  </a:lnTo>
                  <a:lnTo>
                    <a:pt x="11" y="27"/>
                  </a:lnTo>
                  <a:lnTo>
                    <a:pt x="18" y="17"/>
                  </a:lnTo>
                  <a:lnTo>
                    <a:pt x="27" y="11"/>
                  </a:lnTo>
                  <a:lnTo>
                    <a:pt x="36" y="5"/>
                  </a:lnTo>
                  <a:lnTo>
                    <a:pt x="48" y="2"/>
                  </a:lnTo>
                  <a:lnTo>
                    <a:pt x="60" y="0"/>
                  </a:lnTo>
                  <a:lnTo>
                    <a:pt x="71" y="2"/>
                  </a:lnTo>
                  <a:lnTo>
                    <a:pt x="82" y="5"/>
                  </a:lnTo>
                  <a:lnTo>
                    <a:pt x="93" y="11"/>
                  </a:lnTo>
                  <a:lnTo>
                    <a:pt x="100" y="17"/>
                  </a:lnTo>
                  <a:lnTo>
                    <a:pt x="108" y="27"/>
                  </a:lnTo>
                  <a:lnTo>
                    <a:pt x="114" y="36"/>
                  </a:lnTo>
                  <a:lnTo>
                    <a:pt x="116" y="48"/>
                  </a:lnTo>
                  <a:lnTo>
                    <a:pt x="118" y="58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04" name="Freeform 116"/>
            <p:cNvSpPr>
              <a:spLocks noEditPoints="1"/>
            </p:cNvSpPr>
            <p:nvPr/>
          </p:nvSpPr>
          <p:spPr bwMode="auto">
            <a:xfrm>
              <a:off x="889000" y="5811838"/>
              <a:ext cx="55563" cy="55563"/>
            </a:xfrm>
            <a:custGeom>
              <a:avLst/>
              <a:gdLst>
                <a:gd name="T0" fmla="*/ 61 w 140"/>
                <a:gd name="T1" fmla="*/ 25 h 141"/>
                <a:gd name="T2" fmla="*/ 44 w 140"/>
                <a:gd name="T3" fmla="*/ 32 h 141"/>
                <a:gd name="T4" fmla="*/ 31 w 140"/>
                <a:gd name="T5" fmla="*/ 45 h 141"/>
                <a:gd name="T6" fmla="*/ 25 w 140"/>
                <a:gd name="T7" fmla="*/ 61 h 141"/>
                <a:gd name="T8" fmla="*/ 25 w 140"/>
                <a:gd name="T9" fmla="*/ 81 h 141"/>
                <a:gd name="T10" fmla="*/ 31 w 140"/>
                <a:gd name="T11" fmla="*/ 96 h 141"/>
                <a:gd name="T12" fmla="*/ 44 w 140"/>
                <a:gd name="T13" fmla="*/ 110 h 141"/>
                <a:gd name="T14" fmla="*/ 61 w 140"/>
                <a:gd name="T15" fmla="*/ 116 h 141"/>
                <a:gd name="T16" fmla="*/ 80 w 140"/>
                <a:gd name="T17" fmla="*/ 116 h 141"/>
                <a:gd name="T18" fmla="*/ 96 w 140"/>
                <a:gd name="T19" fmla="*/ 110 h 141"/>
                <a:gd name="T20" fmla="*/ 109 w 140"/>
                <a:gd name="T21" fmla="*/ 96 h 141"/>
                <a:gd name="T22" fmla="*/ 115 w 140"/>
                <a:gd name="T23" fmla="*/ 81 h 141"/>
                <a:gd name="T24" fmla="*/ 115 w 140"/>
                <a:gd name="T25" fmla="*/ 61 h 141"/>
                <a:gd name="T26" fmla="*/ 109 w 140"/>
                <a:gd name="T27" fmla="*/ 45 h 141"/>
                <a:gd name="T28" fmla="*/ 96 w 140"/>
                <a:gd name="T29" fmla="*/ 32 h 141"/>
                <a:gd name="T30" fmla="*/ 80 w 140"/>
                <a:gd name="T31" fmla="*/ 25 h 141"/>
                <a:gd name="T32" fmla="*/ 71 w 140"/>
                <a:gd name="T33" fmla="*/ 141 h 141"/>
                <a:gd name="T34" fmla="*/ 56 w 140"/>
                <a:gd name="T35" fmla="*/ 140 h 141"/>
                <a:gd name="T36" fmla="*/ 43 w 140"/>
                <a:gd name="T37" fmla="*/ 136 h 141"/>
                <a:gd name="T38" fmla="*/ 21 w 140"/>
                <a:gd name="T39" fmla="*/ 120 h 141"/>
                <a:gd name="T40" fmla="*/ 5 w 140"/>
                <a:gd name="T41" fmla="*/ 98 h 141"/>
                <a:gd name="T42" fmla="*/ 1 w 140"/>
                <a:gd name="T43" fmla="*/ 85 h 141"/>
                <a:gd name="T44" fmla="*/ 0 w 140"/>
                <a:gd name="T45" fmla="*/ 70 h 141"/>
                <a:gd name="T46" fmla="*/ 1 w 140"/>
                <a:gd name="T47" fmla="*/ 57 h 141"/>
                <a:gd name="T48" fmla="*/ 5 w 140"/>
                <a:gd name="T49" fmla="*/ 44 h 141"/>
                <a:gd name="T50" fmla="*/ 21 w 140"/>
                <a:gd name="T51" fmla="*/ 21 h 141"/>
                <a:gd name="T52" fmla="*/ 43 w 140"/>
                <a:gd name="T53" fmla="*/ 6 h 141"/>
                <a:gd name="T54" fmla="*/ 56 w 140"/>
                <a:gd name="T55" fmla="*/ 2 h 141"/>
                <a:gd name="T56" fmla="*/ 71 w 140"/>
                <a:gd name="T57" fmla="*/ 0 h 141"/>
                <a:gd name="T58" fmla="*/ 84 w 140"/>
                <a:gd name="T59" fmla="*/ 2 h 141"/>
                <a:gd name="T60" fmla="*/ 97 w 140"/>
                <a:gd name="T61" fmla="*/ 6 h 141"/>
                <a:gd name="T62" fmla="*/ 119 w 140"/>
                <a:gd name="T63" fmla="*/ 21 h 141"/>
                <a:gd name="T64" fmla="*/ 135 w 140"/>
                <a:gd name="T65" fmla="*/ 44 h 141"/>
                <a:gd name="T66" fmla="*/ 139 w 140"/>
                <a:gd name="T67" fmla="*/ 57 h 141"/>
                <a:gd name="T68" fmla="*/ 140 w 140"/>
                <a:gd name="T69" fmla="*/ 70 h 141"/>
                <a:gd name="T70" fmla="*/ 139 w 140"/>
                <a:gd name="T71" fmla="*/ 85 h 141"/>
                <a:gd name="T72" fmla="*/ 135 w 140"/>
                <a:gd name="T73" fmla="*/ 98 h 141"/>
                <a:gd name="T74" fmla="*/ 119 w 140"/>
                <a:gd name="T75" fmla="*/ 120 h 141"/>
                <a:gd name="T76" fmla="*/ 97 w 140"/>
                <a:gd name="T77" fmla="*/ 136 h 141"/>
                <a:gd name="T78" fmla="*/ 84 w 140"/>
                <a:gd name="T79" fmla="*/ 140 h 141"/>
                <a:gd name="T80" fmla="*/ 71 w 140"/>
                <a:gd name="T8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0" h="141">
                  <a:moveTo>
                    <a:pt x="71" y="24"/>
                  </a:moveTo>
                  <a:lnTo>
                    <a:pt x="61" y="25"/>
                  </a:lnTo>
                  <a:lnTo>
                    <a:pt x="52" y="28"/>
                  </a:lnTo>
                  <a:lnTo>
                    <a:pt x="44" y="32"/>
                  </a:lnTo>
                  <a:lnTo>
                    <a:pt x="38" y="37"/>
                  </a:lnTo>
                  <a:lnTo>
                    <a:pt x="31" y="45"/>
                  </a:lnTo>
                  <a:lnTo>
                    <a:pt x="27" y="53"/>
                  </a:lnTo>
                  <a:lnTo>
                    <a:pt x="25" y="61"/>
                  </a:lnTo>
                  <a:lnTo>
                    <a:pt x="23" y="70"/>
                  </a:lnTo>
                  <a:lnTo>
                    <a:pt x="25" y="81"/>
                  </a:lnTo>
                  <a:lnTo>
                    <a:pt x="27" y="89"/>
                  </a:lnTo>
                  <a:lnTo>
                    <a:pt x="31" y="96"/>
                  </a:lnTo>
                  <a:lnTo>
                    <a:pt x="38" y="103"/>
                  </a:lnTo>
                  <a:lnTo>
                    <a:pt x="44" y="110"/>
                  </a:lnTo>
                  <a:lnTo>
                    <a:pt x="52" y="114"/>
                  </a:lnTo>
                  <a:lnTo>
                    <a:pt x="61" y="116"/>
                  </a:lnTo>
                  <a:lnTo>
                    <a:pt x="71" y="117"/>
                  </a:lnTo>
                  <a:lnTo>
                    <a:pt x="80" y="116"/>
                  </a:lnTo>
                  <a:lnTo>
                    <a:pt x="88" y="114"/>
                  </a:lnTo>
                  <a:lnTo>
                    <a:pt x="96" y="110"/>
                  </a:lnTo>
                  <a:lnTo>
                    <a:pt x="104" y="103"/>
                  </a:lnTo>
                  <a:lnTo>
                    <a:pt x="109" y="96"/>
                  </a:lnTo>
                  <a:lnTo>
                    <a:pt x="113" y="89"/>
                  </a:lnTo>
                  <a:lnTo>
                    <a:pt x="115" y="81"/>
                  </a:lnTo>
                  <a:lnTo>
                    <a:pt x="117" y="70"/>
                  </a:lnTo>
                  <a:lnTo>
                    <a:pt x="115" y="61"/>
                  </a:lnTo>
                  <a:lnTo>
                    <a:pt x="113" y="53"/>
                  </a:lnTo>
                  <a:lnTo>
                    <a:pt x="109" y="45"/>
                  </a:lnTo>
                  <a:lnTo>
                    <a:pt x="104" y="37"/>
                  </a:lnTo>
                  <a:lnTo>
                    <a:pt x="96" y="32"/>
                  </a:lnTo>
                  <a:lnTo>
                    <a:pt x="88" y="28"/>
                  </a:lnTo>
                  <a:lnTo>
                    <a:pt x="80" y="25"/>
                  </a:lnTo>
                  <a:lnTo>
                    <a:pt x="71" y="24"/>
                  </a:lnTo>
                  <a:close/>
                  <a:moveTo>
                    <a:pt x="71" y="141"/>
                  </a:moveTo>
                  <a:lnTo>
                    <a:pt x="63" y="141"/>
                  </a:lnTo>
                  <a:lnTo>
                    <a:pt x="56" y="140"/>
                  </a:lnTo>
                  <a:lnTo>
                    <a:pt x="50" y="137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0"/>
                  </a:lnTo>
                  <a:lnTo>
                    <a:pt x="11" y="110"/>
                  </a:lnTo>
                  <a:lnTo>
                    <a:pt x="5" y="98"/>
                  </a:lnTo>
                  <a:lnTo>
                    <a:pt x="4" y="91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64"/>
                  </a:lnTo>
                  <a:lnTo>
                    <a:pt x="1" y="57"/>
                  </a:lnTo>
                  <a:lnTo>
                    <a:pt x="4" y="50"/>
                  </a:lnTo>
                  <a:lnTo>
                    <a:pt x="5" y="44"/>
                  </a:lnTo>
                  <a:lnTo>
                    <a:pt x="11" y="32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3" y="6"/>
                  </a:lnTo>
                  <a:lnTo>
                    <a:pt x="50" y="3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2" y="3"/>
                  </a:lnTo>
                  <a:lnTo>
                    <a:pt x="97" y="6"/>
                  </a:lnTo>
                  <a:lnTo>
                    <a:pt x="110" y="12"/>
                  </a:lnTo>
                  <a:lnTo>
                    <a:pt x="119" y="21"/>
                  </a:lnTo>
                  <a:lnTo>
                    <a:pt x="129" y="32"/>
                  </a:lnTo>
                  <a:lnTo>
                    <a:pt x="135" y="44"/>
                  </a:lnTo>
                  <a:lnTo>
                    <a:pt x="138" y="50"/>
                  </a:lnTo>
                  <a:lnTo>
                    <a:pt x="139" y="57"/>
                  </a:lnTo>
                  <a:lnTo>
                    <a:pt x="140" y="64"/>
                  </a:lnTo>
                  <a:lnTo>
                    <a:pt x="140" y="70"/>
                  </a:lnTo>
                  <a:lnTo>
                    <a:pt x="140" y="78"/>
                  </a:lnTo>
                  <a:lnTo>
                    <a:pt x="139" y="85"/>
                  </a:lnTo>
                  <a:lnTo>
                    <a:pt x="138" y="91"/>
                  </a:lnTo>
                  <a:lnTo>
                    <a:pt x="135" y="98"/>
                  </a:lnTo>
                  <a:lnTo>
                    <a:pt x="129" y="110"/>
                  </a:lnTo>
                  <a:lnTo>
                    <a:pt x="119" y="120"/>
                  </a:lnTo>
                  <a:lnTo>
                    <a:pt x="110" y="129"/>
                  </a:lnTo>
                  <a:lnTo>
                    <a:pt x="97" y="136"/>
                  </a:lnTo>
                  <a:lnTo>
                    <a:pt x="92" y="137"/>
                  </a:lnTo>
                  <a:lnTo>
                    <a:pt x="84" y="140"/>
                  </a:lnTo>
                  <a:lnTo>
                    <a:pt x="77" y="141"/>
                  </a:lnTo>
                  <a:lnTo>
                    <a:pt x="71" y="14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05" name="Freeform 117"/>
            <p:cNvSpPr>
              <a:spLocks/>
            </p:cNvSpPr>
            <p:nvPr/>
          </p:nvSpPr>
          <p:spPr bwMode="auto">
            <a:xfrm>
              <a:off x="1185863" y="5786438"/>
              <a:ext cx="104775" cy="104775"/>
            </a:xfrm>
            <a:custGeom>
              <a:avLst/>
              <a:gdLst>
                <a:gd name="T0" fmla="*/ 263 w 263"/>
                <a:gd name="T1" fmla="*/ 145 h 262"/>
                <a:gd name="T2" fmla="*/ 258 w 263"/>
                <a:gd name="T3" fmla="*/ 170 h 262"/>
                <a:gd name="T4" fmla="*/ 247 w 263"/>
                <a:gd name="T5" fmla="*/ 193 h 262"/>
                <a:gd name="T6" fmla="*/ 233 w 263"/>
                <a:gd name="T7" fmla="*/ 214 h 262"/>
                <a:gd name="T8" fmla="*/ 216 w 263"/>
                <a:gd name="T9" fmla="*/ 231 h 262"/>
                <a:gd name="T10" fmla="*/ 195 w 263"/>
                <a:gd name="T11" fmla="*/ 246 h 262"/>
                <a:gd name="T12" fmla="*/ 171 w 263"/>
                <a:gd name="T13" fmla="*/ 256 h 262"/>
                <a:gd name="T14" fmla="*/ 145 w 263"/>
                <a:gd name="T15" fmla="*/ 262 h 262"/>
                <a:gd name="T16" fmla="*/ 118 w 263"/>
                <a:gd name="T17" fmla="*/ 262 h 262"/>
                <a:gd name="T18" fmla="*/ 92 w 263"/>
                <a:gd name="T19" fmla="*/ 256 h 262"/>
                <a:gd name="T20" fmla="*/ 70 w 263"/>
                <a:gd name="T21" fmla="*/ 246 h 262"/>
                <a:gd name="T22" fmla="*/ 49 w 263"/>
                <a:gd name="T23" fmla="*/ 231 h 262"/>
                <a:gd name="T24" fmla="*/ 30 w 263"/>
                <a:gd name="T25" fmla="*/ 214 h 262"/>
                <a:gd name="T26" fmla="*/ 16 w 263"/>
                <a:gd name="T27" fmla="*/ 193 h 262"/>
                <a:gd name="T28" fmla="*/ 7 w 263"/>
                <a:gd name="T29" fmla="*/ 170 h 262"/>
                <a:gd name="T30" fmla="*/ 1 w 263"/>
                <a:gd name="T31" fmla="*/ 145 h 262"/>
                <a:gd name="T32" fmla="*/ 1 w 263"/>
                <a:gd name="T33" fmla="*/ 117 h 262"/>
                <a:gd name="T34" fmla="*/ 7 w 263"/>
                <a:gd name="T35" fmla="*/ 92 h 262"/>
                <a:gd name="T36" fmla="*/ 16 w 263"/>
                <a:gd name="T37" fmla="*/ 68 h 262"/>
                <a:gd name="T38" fmla="*/ 30 w 263"/>
                <a:gd name="T39" fmla="*/ 47 h 262"/>
                <a:gd name="T40" fmla="*/ 49 w 263"/>
                <a:gd name="T41" fmla="*/ 30 h 262"/>
                <a:gd name="T42" fmla="*/ 70 w 263"/>
                <a:gd name="T43" fmla="*/ 16 h 262"/>
                <a:gd name="T44" fmla="*/ 92 w 263"/>
                <a:gd name="T45" fmla="*/ 5 h 262"/>
                <a:gd name="T46" fmla="*/ 118 w 263"/>
                <a:gd name="T47" fmla="*/ 0 h 262"/>
                <a:gd name="T48" fmla="*/ 145 w 263"/>
                <a:gd name="T49" fmla="*/ 0 h 262"/>
                <a:gd name="T50" fmla="*/ 171 w 263"/>
                <a:gd name="T51" fmla="*/ 5 h 262"/>
                <a:gd name="T52" fmla="*/ 195 w 263"/>
                <a:gd name="T53" fmla="*/ 16 h 262"/>
                <a:gd name="T54" fmla="*/ 216 w 263"/>
                <a:gd name="T55" fmla="*/ 30 h 262"/>
                <a:gd name="T56" fmla="*/ 233 w 263"/>
                <a:gd name="T57" fmla="*/ 47 h 262"/>
                <a:gd name="T58" fmla="*/ 247 w 263"/>
                <a:gd name="T59" fmla="*/ 68 h 262"/>
                <a:gd name="T60" fmla="*/ 258 w 263"/>
                <a:gd name="T61" fmla="*/ 92 h 262"/>
                <a:gd name="T62" fmla="*/ 263 w 263"/>
                <a:gd name="T63" fmla="*/ 117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3" h="262">
                  <a:moveTo>
                    <a:pt x="263" y="130"/>
                  </a:moveTo>
                  <a:lnTo>
                    <a:pt x="263" y="145"/>
                  </a:lnTo>
                  <a:lnTo>
                    <a:pt x="261" y="158"/>
                  </a:lnTo>
                  <a:lnTo>
                    <a:pt x="258" y="170"/>
                  </a:lnTo>
                  <a:lnTo>
                    <a:pt x="253" y="181"/>
                  </a:lnTo>
                  <a:lnTo>
                    <a:pt x="247" y="193"/>
                  </a:lnTo>
                  <a:lnTo>
                    <a:pt x="241" y="204"/>
                  </a:lnTo>
                  <a:lnTo>
                    <a:pt x="233" y="214"/>
                  </a:lnTo>
                  <a:lnTo>
                    <a:pt x="225" y="224"/>
                  </a:lnTo>
                  <a:lnTo>
                    <a:pt x="216" y="231"/>
                  </a:lnTo>
                  <a:lnTo>
                    <a:pt x="205" y="239"/>
                  </a:lnTo>
                  <a:lnTo>
                    <a:pt x="195" y="246"/>
                  </a:lnTo>
                  <a:lnTo>
                    <a:pt x="183" y="251"/>
                  </a:lnTo>
                  <a:lnTo>
                    <a:pt x="171" y="256"/>
                  </a:lnTo>
                  <a:lnTo>
                    <a:pt x="158" y="259"/>
                  </a:lnTo>
                  <a:lnTo>
                    <a:pt x="145" y="262"/>
                  </a:lnTo>
                  <a:lnTo>
                    <a:pt x="132" y="262"/>
                  </a:lnTo>
                  <a:lnTo>
                    <a:pt x="118" y="262"/>
                  </a:lnTo>
                  <a:lnTo>
                    <a:pt x="105" y="259"/>
                  </a:lnTo>
                  <a:lnTo>
                    <a:pt x="92" y="256"/>
                  </a:lnTo>
                  <a:lnTo>
                    <a:pt x="80" y="251"/>
                  </a:lnTo>
                  <a:lnTo>
                    <a:pt x="70" y="246"/>
                  </a:lnTo>
                  <a:lnTo>
                    <a:pt x="58" y="239"/>
                  </a:lnTo>
                  <a:lnTo>
                    <a:pt x="49" y="231"/>
                  </a:lnTo>
                  <a:lnTo>
                    <a:pt x="40" y="224"/>
                  </a:lnTo>
                  <a:lnTo>
                    <a:pt x="30" y="214"/>
                  </a:lnTo>
                  <a:lnTo>
                    <a:pt x="22" y="204"/>
                  </a:lnTo>
                  <a:lnTo>
                    <a:pt x="16" y="193"/>
                  </a:lnTo>
                  <a:lnTo>
                    <a:pt x="11" y="181"/>
                  </a:lnTo>
                  <a:lnTo>
                    <a:pt x="7" y="170"/>
                  </a:lnTo>
                  <a:lnTo>
                    <a:pt x="3" y="158"/>
                  </a:lnTo>
                  <a:lnTo>
                    <a:pt x="1" y="145"/>
                  </a:lnTo>
                  <a:lnTo>
                    <a:pt x="0" y="130"/>
                  </a:lnTo>
                  <a:lnTo>
                    <a:pt x="1" y="117"/>
                  </a:lnTo>
                  <a:lnTo>
                    <a:pt x="3" y="104"/>
                  </a:lnTo>
                  <a:lnTo>
                    <a:pt x="7" y="92"/>
                  </a:lnTo>
                  <a:lnTo>
                    <a:pt x="11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0" y="47"/>
                  </a:lnTo>
                  <a:lnTo>
                    <a:pt x="40" y="38"/>
                  </a:lnTo>
                  <a:lnTo>
                    <a:pt x="49" y="30"/>
                  </a:lnTo>
                  <a:lnTo>
                    <a:pt x="58" y="22"/>
                  </a:lnTo>
                  <a:lnTo>
                    <a:pt x="70" y="16"/>
                  </a:lnTo>
                  <a:lnTo>
                    <a:pt x="80" y="10"/>
                  </a:lnTo>
                  <a:lnTo>
                    <a:pt x="92" y="5"/>
                  </a:lnTo>
                  <a:lnTo>
                    <a:pt x="105" y="2"/>
                  </a:lnTo>
                  <a:lnTo>
                    <a:pt x="118" y="0"/>
                  </a:lnTo>
                  <a:lnTo>
                    <a:pt x="132" y="0"/>
                  </a:lnTo>
                  <a:lnTo>
                    <a:pt x="145" y="0"/>
                  </a:lnTo>
                  <a:lnTo>
                    <a:pt x="158" y="2"/>
                  </a:lnTo>
                  <a:lnTo>
                    <a:pt x="171" y="5"/>
                  </a:lnTo>
                  <a:lnTo>
                    <a:pt x="183" y="10"/>
                  </a:lnTo>
                  <a:lnTo>
                    <a:pt x="195" y="16"/>
                  </a:lnTo>
                  <a:lnTo>
                    <a:pt x="205" y="22"/>
                  </a:lnTo>
                  <a:lnTo>
                    <a:pt x="216" y="30"/>
                  </a:lnTo>
                  <a:lnTo>
                    <a:pt x="225" y="38"/>
                  </a:lnTo>
                  <a:lnTo>
                    <a:pt x="233" y="47"/>
                  </a:lnTo>
                  <a:lnTo>
                    <a:pt x="241" y="58"/>
                  </a:lnTo>
                  <a:lnTo>
                    <a:pt x="247" y="68"/>
                  </a:lnTo>
                  <a:lnTo>
                    <a:pt x="253" y="80"/>
                  </a:lnTo>
                  <a:lnTo>
                    <a:pt x="258" y="92"/>
                  </a:lnTo>
                  <a:lnTo>
                    <a:pt x="261" y="104"/>
                  </a:lnTo>
                  <a:lnTo>
                    <a:pt x="263" y="117"/>
                  </a:lnTo>
                  <a:lnTo>
                    <a:pt x="263" y="13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06" name="Freeform 118"/>
            <p:cNvSpPr>
              <a:spLocks noEditPoints="1"/>
            </p:cNvSpPr>
            <p:nvPr/>
          </p:nvSpPr>
          <p:spPr bwMode="auto">
            <a:xfrm>
              <a:off x="1181100" y="5781675"/>
              <a:ext cx="114300" cy="114300"/>
            </a:xfrm>
            <a:custGeom>
              <a:avLst/>
              <a:gdLst>
                <a:gd name="T0" fmla="*/ 120 w 287"/>
                <a:gd name="T1" fmla="*/ 26 h 286"/>
                <a:gd name="T2" fmla="*/ 87 w 287"/>
                <a:gd name="T3" fmla="*/ 38 h 286"/>
                <a:gd name="T4" fmla="*/ 59 w 287"/>
                <a:gd name="T5" fmla="*/ 59 h 286"/>
                <a:gd name="T6" fmla="*/ 40 w 287"/>
                <a:gd name="T7" fmla="*/ 86 h 286"/>
                <a:gd name="T8" fmla="*/ 27 w 287"/>
                <a:gd name="T9" fmla="*/ 118 h 286"/>
                <a:gd name="T10" fmla="*/ 25 w 287"/>
                <a:gd name="T11" fmla="*/ 155 h 286"/>
                <a:gd name="T12" fmla="*/ 34 w 287"/>
                <a:gd name="T13" fmla="*/ 189 h 286"/>
                <a:gd name="T14" fmla="*/ 52 w 287"/>
                <a:gd name="T15" fmla="*/ 218 h 286"/>
                <a:gd name="T16" fmla="*/ 77 w 287"/>
                <a:gd name="T17" fmla="*/ 242 h 286"/>
                <a:gd name="T18" fmla="*/ 108 w 287"/>
                <a:gd name="T19" fmla="*/ 257 h 286"/>
                <a:gd name="T20" fmla="*/ 144 w 287"/>
                <a:gd name="T21" fmla="*/ 262 h 286"/>
                <a:gd name="T22" fmla="*/ 179 w 287"/>
                <a:gd name="T23" fmla="*/ 257 h 286"/>
                <a:gd name="T24" fmla="*/ 211 w 287"/>
                <a:gd name="T25" fmla="*/ 242 h 286"/>
                <a:gd name="T26" fmla="*/ 236 w 287"/>
                <a:gd name="T27" fmla="*/ 218 h 286"/>
                <a:gd name="T28" fmla="*/ 254 w 287"/>
                <a:gd name="T29" fmla="*/ 189 h 286"/>
                <a:gd name="T30" fmla="*/ 262 w 287"/>
                <a:gd name="T31" fmla="*/ 155 h 286"/>
                <a:gd name="T32" fmla="*/ 261 w 287"/>
                <a:gd name="T33" fmla="*/ 118 h 286"/>
                <a:gd name="T34" fmla="*/ 249 w 287"/>
                <a:gd name="T35" fmla="*/ 86 h 286"/>
                <a:gd name="T36" fmla="*/ 228 w 287"/>
                <a:gd name="T37" fmla="*/ 59 h 286"/>
                <a:gd name="T38" fmla="*/ 200 w 287"/>
                <a:gd name="T39" fmla="*/ 38 h 286"/>
                <a:gd name="T40" fmla="*/ 167 w 287"/>
                <a:gd name="T41" fmla="*/ 26 h 286"/>
                <a:gd name="T42" fmla="*/ 144 w 287"/>
                <a:gd name="T43" fmla="*/ 286 h 286"/>
                <a:gd name="T44" fmla="*/ 102 w 287"/>
                <a:gd name="T45" fmla="*/ 280 h 286"/>
                <a:gd name="T46" fmla="*/ 63 w 287"/>
                <a:gd name="T47" fmla="*/ 262 h 286"/>
                <a:gd name="T48" fmla="*/ 33 w 287"/>
                <a:gd name="T49" fmla="*/ 234 h 286"/>
                <a:gd name="T50" fmla="*/ 12 w 287"/>
                <a:gd name="T51" fmla="*/ 199 h 286"/>
                <a:gd name="T52" fmla="*/ 2 w 287"/>
                <a:gd name="T53" fmla="*/ 158 h 286"/>
                <a:gd name="T54" fmla="*/ 4 w 287"/>
                <a:gd name="T55" fmla="*/ 114 h 286"/>
                <a:gd name="T56" fmla="*/ 19 w 287"/>
                <a:gd name="T57" fmla="*/ 75 h 286"/>
                <a:gd name="T58" fmla="*/ 42 w 287"/>
                <a:gd name="T59" fmla="*/ 42 h 286"/>
                <a:gd name="T60" fmla="*/ 75 w 287"/>
                <a:gd name="T61" fmla="*/ 17 h 286"/>
                <a:gd name="T62" fmla="*/ 115 w 287"/>
                <a:gd name="T63" fmla="*/ 3 h 286"/>
                <a:gd name="T64" fmla="*/ 158 w 287"/>
                <a:gd name="T65" fmla="*/ 0 h 286"/>
                <a:gd name="T66" fmla="*/ 199 w 287"/>
                <a:gd name="T67" fmla="*/ 11 h 286"/>
                <a:gd name="T68" fmla="*/ 234 w 287"/>
                <a:gd name="T69" fmla="*/ 33 h 286"/>
                <a:gd name="T70" fmla="*/ 262 w 287"/>
                <a:gd name="T71" fmla="*/ 63 h 286"/>
                <a:gd name="T72" fmla="*/ 281 w 287"/>
                <a:gd name="T73" fmla="*/ 100 h 286"/>
                <a:gd name="T74" fmla="*/ 287 w 287"/>
                <a:gd name="T75" fmla="*/ 142 h 286"/>
                <a:gd name="T76" fmla="*/ 281 w 287"/>
                <a:gd name="T77" fmla="*/ 186 h 286"/>
                <a:gd name="T78" fmla="*/ 262 w 287"/>
                <a:gd name="T79" fmla="*/ 222 h 286"/>
                <a:gd name="T80" fmla="*/ 234 w 287"/>
                <a:gd name="T81" fmla="*/ 253 h 286"/>
                <a:gd name="T82" fmla="*/ 199 w 287"/>
                <a:gd name="T83" fmla="*/ 275 h 286"/>
                <a:gd name="T84" fmla="*/ 158 w 287"/>
                <a:gd name="T85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7" h="286">
                  <a:moveTo>
                    <a:pt x="144" y="24"/>
                  </a:moveTo>
                  <a:lnTo>
                    <a:pt x="132" y="24"/>
                  </a:lnTo>
                  <a:lnTo>
                    <a:pt x="120" y="26"/>
                  </a:lnTo>
                  <a:lnTo>
                    <a:pt x="108" y="29"/>
                  </a:lnTo>
                  <a:lnTo>
                    <a:pt x="98" y="33"/>
                  </a:lnTo>
                  <a:lnTo>
                    <a:pt x="87" y="38"/>
                  </a:lnTo>
                  <a:lnTo>
                    <a:pt x="77" y="43"/>
                  </a:lnTo>
                  <a:lnTo>
                    <a:pt x="69" y="51"/>
                  </a:lnTo>
                  <a:lnTo>
                    <a:pt x="59" y="59"/>
                  </a:lnTo>
                  <a:lnTo>
                    <a:pt x="52" y="67"/>
                  </a:lnTo>
                  <a:lnTo>
                    <a:pt x="45" y="76"/>
                  </a:lnTo>
                  <a:lnTo>
                    <a:pt x="40" y="86"/>
                  </a:lnTo>
                  <a:lnTo>
                    <a:pt x="34" y="96"/>
                  </a:lnTo>
                  <a:lnTo>
                    <a:pt x="30" y="108"/>
                  </a:lnTo>
                  <a:lnTo>
                    <a:pt x="27" y="118"/>
                  </a:lnTo>
                  <a:lnTo>
                    <a:pt x="25" y="130"/>
                  </a:lnTo>
                  <a:lnTo>
                    <a:pt x="25" y="142"/>
                  </a:lnTo>
                  <a:lnTo>
                    <a:pt x="25" y="155"/>
                  </a:lnTo>
                  <a:lnTo>
                    <a:pt x="27" y="167"/>
                  </a:lnTo>
                  <a:lnTo>
                    <a:pt x="30" y="178"/>
                  </a:lnTo>
                  <a:lnTo>
                    <a:pt x="34" y="189"/>
                  </a:lnTo>
                  <a:lnTo>
                    <a:pt x="40" y="200"/>
                  </a:lnTo>
                  <a:lnTo>
                    <a:pt x="45" y="209"/>
                  </a:lnTo>
                  <a:lnTo>
                    <a:pt x="52" y="218"/>
                  </a:lnTo>
                  <a:lnTo>
                    <a:pt x="59" y="228"/>
                  </a:lnTo>
                  <a:lnTo>
                    <a:pt x="69" y="234"/>
                  </a:lnTo>
                  <a:lnTo>
                    <a:pt x="77" y="242"/>
                  </a:lnTo>
                  <a:lnTo>
                    <a:pt x="87" y="247"/>
                  </a:lnTo>
                  <a:lnTo>
                    <a:pt x="98" y="253"/>
                  </a:lnTo>
                  <a:lnTo>
                    <a:pt x="108" y="257"/>
                  </a:lnTo>
                  <a:lnTo>
                    <a:pt x="120" y="259"/>
                  </a:lnTo>
                  <a:lnTo>
                    <a:pt x="132" y="262"/>
                  </a:lnTo>
                  <a:lnTo>
                    <a:pt x="144" y="262"/>
                  </a:lnTo>
                  <a:lnTo>
                    <a:pt x="156" y="262"/>
                  </a:lnTo>
                  <a:lnTo>
                    <a:pt x="167" y="259"/>
                  </a:lnTo>
                  <a:lnTo>
                    <a:pt x="179" y="257"/>
                  </a:lnTo>
                  <a:lnTo>
                    <a:pt x="190" y="253"/>
                  </a:lnTo>
                  <a:lnTo>
                    <a:pt x="200" y="247"/>
                  </a:lnTo>
                  <a:lnTo>
                    <a:pt x="211" y="242"/>
                  </a:lnTo>
                  <a:lnTo>
                    <a:pt x="220" y="234"/>
                  </a:lnTo>
                  <a:lnTo>
                    <a:pt x="228" y="228"/>
                  </a:lnTo>
                  <a:lnTo>
                    <a:pt x="236" y="218"/>
                  </a:lnTo>
                  <a:lnTo>
                    <a:pt x="242" y="209"/>
                  </a:lnTo>
                  <a:lnTo>
                    <a:pt x="249" y="200"/>
                  </a:lnTo>
                  <a:lnTo>
                    <a:pt x="254" y="189"/>
                  </a:lnTo>
                  <a:lnTo>
                    <a:pt x="258" y="178"/>
                  </a:lnTo>
                  <a:lnTo>
                    <a:pt x="261" y="167"/>
                  </a:lnTo>
                  <a:lnTo>
                    <a:pt x="262" y="155"/>
                  </a:lnTo>
                  <a:lnTo>
                    <a:pt x="263" y="142"/>
                  </a:lnTo>
                  <a:lnTo>
                    <a:pt x="262" y="130"/>
                  </a:lnTo>
                  <a:lnTo>
                    <a:pt x="261" y="118"/>
                  </a:lnTo>
                  <a:lnTo>
                    <a:pt x="258" y="108"/>
                  </a:lnTo>
                  <a:lnTo>
                    <a:pt x="254" y="96"/>
                  </a:lnTo>
                  <a:lnTo>
                    <a:pt x="249" y="86"/>
                  </a:lnTo>
                  <a:lnTo>
                    <a:pt x="242" y="76"/>
                  </a:lnTo>
                  <a:lnTo>
                    <a:pt x="236" y="67"/>
                  </a:lnTo>
                  <a:lnTo>
                    <a:pt x="228" y="59"/>
                  </a:lnTo>
                  <a:lnTo>
                    <a:pt x="220" y="51"/>
                  </a:lnTo>
                  <a:lnTo>
                    <a:pt x="211" y="43"/>
                  </a:lnTo>
                  <a:lnTo>
                    <a:pt x="200" y="38"/>
                  </a:lnTo>
                  <a:lnTo>
                    <a:pt x="190" y="33"/>
                  </a:lnTo>
                  <a:lnTo>
                    <a:pt x="179" y="29"/>
                  </a:lnTo>
                  <a:lnTo>
                    <a:pt x="167" y="26"/>
                  </a:lnTo>
                  <a:lnTo>
                    <a:pt x="156" y="24"/>
                  </a:lnTo>
                  <a:lnTo>
                    <a:pt x="144" y="24"/>
                  </a:lnTo>
                  <a:close/>
                  <a:moveTo>
                    <a:pt x="144" y="286"/>
                  </a:moveTo>
                  <a:lnTo>
                    <a:pt x="129" y="286"/>
                  </a:lnTo>
                  <a:lnTo>
                    <a:pt x="115" y="283"/>
                  </a:lnTo>
                  <a:lnTo>
                    <a:pt x="102" y="280"/>
                  </a:lnTo>
                  <a:lnTo>
                    <a:pt x="88" y="275"/>
                  </a:lnTo>
                  <a:lnTo>
                    <a:pt x="75" y="268"/>
                  </a:lnTo>
                  <a:lnTo>
                    <a:pt x="63" y="262"/>
                  </a:lnTo>
                  <a:lnTo>
                    <a:pt x="53" y="253"/>
                  </a:lnTo>
                  <a:lnTo>
                    <a:pt x="42" y="243"/>
                  </a:lnTo>
                  <a:lnTo>
                    <a:pt x="33" y="234"/>
                  </a:lnTo>
                  <a:lnTo>
                    <a:pt x="25" y="222"/>
                  </a:lnTo>
                  <a:lnTo>
                    <a:pt x="19" y="211"/>
                  </a:lnTo>
                  <a:lnTo>
                    <a:pt x="12" y="199"/>
                  </a:lnTo>
                  <a:lnTo>
                    <a:pt x="7" y="186"/>
                  </a:lnTo>
                  <a:lnTo>
                    <a:pt x="4" y="171"/>
                  </a:lnTo>
                  <a:lnTo>
                    <a:pt x="2" y="158"/>
                  </a:lnTo>
                  <a:lnTo>
                    <a:pt x="0" y="142"/>
                  </a:lnTo>
                  <a:lnTo>
                    <a:pt x="2" y="128"/>
                  </a:lnTo>
                  <a:lnTo>
                    <a:pt x="4" y="114"/>
                  </a:lnTo>
                  <a:lnTo>
                    <a:pt x="7" y="100"/>
                  </a:lnTo>
                  <a:lnTo>
                    <a:pt x="12" y="87"/>
                  </a:lnTo>
                  <a:lnTo>
                    <a:pt x="19" y="75"/>
                  </a:lnTo>
                  <a:lnTo>
                    <a:pt x="25" y="63"/>
                  </a:lnTo>
                  <a:lnTo>
                    <a:pt x="33" y="51"/>
                  </a:lnTo>
                  <a:lnTo>
                    <a:pt x="42" y="42"/>
                  </a:lnTo>
                  <a:lnTo>
                    <a:pt x="53" y="33"/>
                  </a:lnTo>
                  <a:lnTo>
                    <a:pt x="63" y="24"/>
                  </a:lnTo>
                  <a:lnTo>
                    <a:pt x="75" y="17"/>
                  </a:lnTo>
                  <a:lnTo>
                    <a:pt x="88" y="11"/>
                  </a:lnTo>
                  <a:lnTo>
                    <a:pt x="102" y="7"/>
                  </a:lnTo>
                  <a:lnTo>
                    <a:pt x="115" y="3"/>
                  </a:lnTo>
                  <a:lnTo>
                    <a:pt x="129" y="0"/>
                  </a:lnTo>
                  <a:lnTo>
                    <a:pt x="144" y="0"/>
                  </a:lnTo>
                  <a:lnTo>
                    <a:pt x="158" y="0"/>
                  </a:lnTo>
                  <a:lnTo>
                    <a:pt x="173" y="3"/>
                  </a:lnTo>
                  <a:lnTo>
                    <a:pt x="186" y="7"/>
                  </a:lnTo>
                  <a:lnTo>
                    <a:pt x="199" y="11"/>
                  </a:lnTo>
                  <a:lnTo>
                    <a:pt x="212" y="17"/>
                  </a:lnTo>
                  <a:lnTo>
                    <a:pt x="224" y="24"/>
                  </a:lnTo>
                  <a:lnTo>
                    <a:pt x="234" y="33"/>
                  </a:lnTo>
                  <a:lnTo>
                    <a:pt x="245" y="42"/>
                  </a:lnTo>
                  <a:lnTo>
                    <a:pt x="254" y="51"/>
                  </a:lnTo>
                  <a:lnTo>
                    <a:pt x="262" y="63"/>
                  </a:lnTo>
                  <a:lnTo>
                    <a:pt x="270" y="75"/>
                  </a:lnTo>
                  <a:lnTo>
                    <a:pt x="275" y="87"/>
                  </a:lnTo>
                  <a:lnTo>
                    <a:pt x="281" y="100"/>
                  </a:lnTo>
                  <a:lnTo>
                    <a:pt x="284" y="114"/>
                  </a:lnTo>
                  <a:lnTo>
                    <a:pt x="286" y="128"/>
                  </a:lnTo>
                  <a:lnTo>
                    <a:pt x="287" y="142"/>
                  </a:lnTo>
                  <a:lnTo>
                    <a:pt x="286" y="158"/>
                  </a:lnTo>
                  <a:lnTo>
                    <a:pt x="284" y="171"/>
                  </a:lnTo>
                  <a:lnTo>
                    <a:pt x="281" y="186"/>
                  </a:lnTo>
                  <a:lnTo>
                    <a:pt x="275" y="199"/>
                  </a:lnTo>
                  <a:lnTo>
                    <a:pt x="270" y="211"/>
                  </a:lnTo>
                  <a:lnTo>
                    <a:pt x="262" y="222"/>
                  </a:lnTo>
                  <a:lnTo>
                    <a:pt x="254" y="234"/>
                  </a:lnTo>
                  <a:lnTo>
                    <a:pt x="245" y="243"/>
                  </a:lnTo>
                  <a:lnTo>
                    <a:pt x="234" y="253"/>
                  </a:lnTo>
                  <a:lnTo>
                    <a:pt x="224" y="262"/>
                  </a:lnTo>
                  <a:lnTo>
                    <a:pt x="212" y="268"/>
                  </a:lnTo>
                  <a:lnTo>
                    <a:pt x="199" y="275"/>
                  </a:lnTo>
                  <a:lnTo>
                    <a:pt x="186" y="280"/>
                  </a:lnTo>
                  <a:lnTo>
                    <a:pt x="173" y="283"/>
                  </a:lnTo>
                  <a:lnTo>
                    <a:pt x="158" y="286"/>
                  </a:lnTo>
                  <a:lnTo>
                    <a:pt x="144" y="28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07" name="Freeform 119"/>
            <p:cNvSpPr>
              <a:spLocks/>
            </p:cNvSpPr>
            <p:nvPr/>
          </p:nvSpPr>
          <p:spPr bwMode="auto">
            <a:xfrm>
              <a:off x="1214438" y="5816600"/>
              <a:ext cx="46038" cy="46038"/>
            </a:xfrm>
            <a:custGeom>
              <a:avLst/>
              <a:gdLst>
                <a:gd name="T0" fmla="*/ 116 w 116"/>
                <a:gd name="T1" fmla="*/ 58 h 117"/>
                <a:gd name="T2" fmla="*/ 116 w 116"/>
                <a:gd name="T3" fmla="*/ 70 h 117"/>
                <a:gd name="T4" fmla="*/ 112 w 116"/>
                <a:gd name="T5" fmla="*/ 82 h 117"/>
                <a:gd name="T6" fmla="*/ 106 w 116"/>
                <a:gd name="T7" fmla="*/ 91 h 117"/>
                <a:gd name="T8" fmla="*/ 98 w 116"/>
                <a:gd name="T9" fmla="*/ 100 h 117"/>
                <a:gd name="T10" fmla="*/ 91 w 116"/>
                <a:gd name="T11" fmla="*/ 107 h 117"/>
                <a:gd name="T12" fmla="*/ 80 w 116"/>
                <a:gd name="T13" fmla="*/ 112 h 117"/>
                <a:gd name="T14" fmla="*/ 70 w 116"/>
                <a:gd name="T15" fmla="*/ 116 h 117"/>
                <a:gd name="T16" fmla="*/ 58 w 116"/>
                <a:gd name="T17" fmla="*/ 117 h 117"/>
                <a:gd name="T18" fmla="*/ 46 w 116"/>
                <a:gd name="T19" fmla="*/ 116 h 117"/>
                <a:gd name="T20" fmla="*/ 35 w 116"/>
                <a:gd name="T21" fmla="*/ 112 h 117"/>
                <a:gd name="T22" fmla="*/ 25 w 116"/>
                <a:gd name="T23" fmla="*/ 107 h 117"/>
                <a:gd name="T24" fmla="*/ 17 w 116"/>
                <a:gd name="T25" fmla="*/ 100 h 117"/>
                <a:gd name="T26" fmla="*/ 9 w 116"/>
                <a:gd name="T27" fmla="*/ 91 h 117"/>
                <a:gd name="T28" fmla="*/ 4 w 116"/>
                <a:gd name="T29" fmla="*/ 82 h 117"/>
                <a:gd name="T30" fmla="*/ 1 w 116"/>
                <a:gd name="T31" fmla="*/ 70 h 117"/>
                <a:gd name="T32" fmla="*/ 0 w 116"/>
                <a:gd name="T33" fmla="*/ 58 h 117"/>
                <a:gd name="T34" fmla="*/ 1 w 116"/>
                <a:gd name="T35" fmla="*/ 48 h 117"/>
                <a:gd name="T36" fmla="*/ 4 w 116"/>
                <a:gd name="T37" fmla="*/ 36 h 117"/>
                <a:gd name="T38" fmla="*/ 9 w 116"/>
                <a:gd name="T39" fmla="*/ 27 h 117"/>
                <a:gd name="T40" fmla="*/ 17 w 116"/>
                <a:gd name="T41" fmla="*/ 17 h 117"/>
                <a:gd name="T42" fmla="*/ 25 w 116"/>
                <a:gd name="T43" fmla="*/ 11 h 117"/>
                <a:gd name="T44" fmla="*/ 35 w 116"/>
                <a:gd name="T45" fmla="*/ 5 h 117"/>
                <a:gd name="T46" fmla="*/ 46 w 116"/>
                <a:gd name="T47" fmla="*/ 2 h 117"/>
                <a:gd name="T48" fmla="*/ 58 w 116"/>
                <a:gd name="T49" fmla="*/ 0 h 117"/>
                <a:gd name="T50" fmla="*/ 70 w 116"/>
                <a:gd name="T51" fmla="*/ 2 h 117"/>
                <a:gd name="T52" fmla="*/ 80 w 116"/>
                <a:gd name="T53" fmla="*/ 5 h 117"/>
                <a:gd name="T54" fmla="*/ 91 w 116"/>
                <a:gd name="T55" fmla="*/ 11 h 117"/>
                <a:gd name="T56" fmla="*/ 98 w 116"/>
                <a:gd name="T57" fmla="*/ 17 h 117"/>
                <a:gd name="T58" fmla="*/ 106 w 116"/>
                <a:gd name="T59" fmla="*/ 27 h 117"/>
                <a:gd name="T60" fmla="*/ 112 w 116"/>
                <a:gd name="T61" fmla="*/ 36 h 117"/>
                <a:gd name="T62" fmla="*/ 116 w 116"/>
                <a:gd name="T63" fmla="*/ 48 h 117"/>
                <a:gd name="T64" fmla="*/ 116 w 116"/>
                <a:gd name="T65" fmla="*/ 5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6" h="117">
                  <a:moveTo>
                    <a:pt x="116" y="58"/>
                  </a:moveTo>
                  <a:lnTo>
                    <a:pt x="116" y="70"/>
                  </a:lnTo>
                  <a:lnTo>
                    <a:pt x="112" y="82"/>
                  </a:lnTo>
                  <a:lnTo>
                    <a:pt x="106" y="91"/>
                  </a:lnTo>
                  <a:lnTo>
                    <a:pt x="98" y="100"/>
                  </a:lnTo>
                  <a:lnTo>
                    <a:pt x="91" y="107"/>
                  </a:lnTo>
                  <a:lnTo>
                    <a:pt x="80" y="112"/>
                  </a:lnTo>
                  <a:lnTo>
                    <a:pt x="70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9" y="91"/>
                  </a:lnTo>
                  <a:lnTo>
                    <a:pt x="4" y="82"/>
                  </a:lnTo>
                  <a:lnTo>
                    <a:pt x="1" y="70"/>
                  </a:lnTo>
                  <a:lnTo>
                    <a:pt x="0" y="58"/>
                  </a:lnTo>
                  <a:lnTo>
                    <a:pt x="1" y="48"/>
                  </a:lnTo>
                  <a:lnTo>
                    <a:pt x="4" y="36"/>
                  </a:lnTo>
                  <a:lnTo>
                    <a:pt x="9" y="27"/>
                  </a:lnTo>
                  <a:lnTo>
                    <a:pt x="17" y="17"/>
                  </a:lnTo>
                  <a:lnTo>
                    <a:pt x="25" y="11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70" y="2"/>
                  </a:lnTo>
                  <a:lnTo>
                    <a:pt x="80" y="5"/>
                  </a:lnTo>
                  <a:lnTo>
                    <a:pt x="91" y="11"/>
                  </a:lnTo>
                  <a:lnTo>
                    <a:pt x="98" y="17"/>
                  </a:lnTo>
                  <a:lnTo>
                    <a:pt x="106" y="27"/>
                  </a:lnTo>
                  <a:lnTo>
                    <a:pt x="112" y="36"/>
                  </a:lnTo>
                  <a:lnTo>
                    <a:pt x="116" y="48"/>
                  </a:lnTo>
                  <a:lnTo>
                    <a:pt x="116" y="58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08" name="Freeform 120"/>
            <p:cNvSpPr>
              <a:spLocks noEditPoints="1"/>
            </p:cNvSpPr>
            <p:nvPr/>
          </p:nvSpPr>
          <p:spPr bwMode="auto">
            <a:xfrm>
              <a:off x="1209675" y="5811838"/>
              <a:ext cx="55563" cy="55563"/>
            </a:xfrm>
            <a:custGeom>
              <a:avLst/>
              <a:gdLst>
                <a:gd name="T0" fmla="*/ 60 w 141"/>
                <a:gd name="T1" fmla="*/ 25 h 141"/>
                <a:gd name="T2" fmla="*/ 43 w 141"/>
                <a:gd name="T3" fmla="*/ 32 h 141"/>
                <a:gd name="T4" fmla="*/ 31 w 141"/>
                <a:gd name="T5" fmla="*/ 45 h 141"/>
                <a:gd name="T6" fmla="*/ 25 w 141"/>
                <a:gd name="T7" fmla="*/ 61 h 141"/>
                <a:gd name="T8" fmla="*/ 25 w 141"/>
                <a:gd name="T9" fmla="*/ 81 h 141"/>
                <a:gd name="T10" fmla="*/ 31 w 141"/>
                <a:gd name="T11" fmla="*/ 96 h 141"/>
                <a:gd name="T12" fmla="*/ 43 w 141"/>
                <a:gd name="T13" fmla="*/ 110 h 141"/>
                <a:gd name="T14" fmla="*/ 60 w 141"/>
                <a:gd name="T15" fmla="*/ 116 h 141"/>
                <a:gd name="T16" fmla="*/ 79 w 141"/>
                <a:gd name="T17" fmla="*/ 116 h 141"/>
                <a:gd name="T18" fmla="*/ 96 w 141"/>
                <a:gd name="T19" fmla="*/ 110 h 141"/>
                <a:gd name="T20" fmla="*/ 108 w 141"/>
                <a:gd name="T21" fmla="*/ 96 h 141"/>
                <a:gd name="T22" fmla="*/ 116 w 141"/>
                <a:gd name="T23" fmla="*/ 81 h 141"/>
                <a:gd name="T24" fmla="*/ 116 w 141"/>
                <a:gd name="T25" fmla="*/ 61 h 141"/>
                <a:gd name="T26" fmla="*/ 108 w 141"/>
                <a:gd name="T27" fmla="*/ 45 h 141"/>
                <a:gd name="T28" fmla="*/ 96 w 141"/>
                <a:gd name="T29" fmla="*/ 32 h 141"/>
                <a:gd name="T30" fmla="*/ 79 w 141"/>
                <a:gd name="T31" fmla="*/ 25 h 141"/>
                <a:gd name="T32" fmla="*/ 70 w 141"/>
                <a:gd name="T33" fmla="*/ 141 h 141"/>
                <a:gd name="T34" fmla="*/ 55 w 141"/>
                <a:gd name="T35" fmla="*/ 140 h 141"/>
                <a:gd name="T36" fmla="*/ 42 w 141"/>
                <a:gd name="T37" fmla="*/ 136 h 141"/>
                <a:gd name="T38" fmla="*/ 20 w 141"/>
                <a:gd name="T39" fmla="*/ 120 h 141"/>
                <a:gd name="T40" fmla="*/ 5 w 141"/>
                <a:gd name="T41" fmla="*/ 98 h 141"/>
                <a:gd name="T42" fmla="*/ 1 w 141"/>
                <a:gd name="T43" fmla="*/ 85 h 141"/>
                <a:gd name="T44" fmla="*/ 0 w 141"/>
                <a:gd name="T45" fmla="*/ 70 h 141"/>
                <a:gd name="T46" fmla="*/ 1 w 141"/>
                <a:gd name="T47" fmla="*/ 57 h 141"/>
                <a:gd name="T48" fmla="*/ 5 w 141"/>
                <a:gd name="T49" fmla="*/ 44 h 141"/>
                <a:gd name="T50" fmla="*/ 20 w 141"/>
                <a:gd name="T51" fmla="*/ 21 h 141"/>
                <a:gd name="T52" fmla="*/ 42 w 141"/>
                <a:gd name="T53" fmla="*/ 6 h 141"/>
                <a:gd name="T54" fmla="*/ 55 w 141"/>
                <a:gd name="T55" fmla="*/ 2 h 141"/>
                <a:gd name="T56" fmla="*/ 70 w 141"/>
                <a:gd name="T57" fmla="*/ 0 h 141"/>
                <a:gd name="T58" fmla="*/ 84 w 141"/>
                <a:gd name="T59" fmla="*/ 2 h 141"/>
                <a:gd name="T60" fmla="*/ 97 w 141"/>
                <a:gd name="T61" fmla="*/ 6 h 141"/>
                <a:gd name="T62" fmla="*/ 120 w 141"/>
                <a:gd name="T63" fmla="*/ 21 h 141"/>
                <a:gd name="T64" fmla="*/ 135 w 141"/>
                <a:gd name="T65" fmla="*/ 44 h 141"/>
                <a:gd name="T66" fmla="*/ 139 w 141"/>
                <a:gd name="T67" fmla="*/ 57 h 141"/>
                <a:gd name="T68" fmla="*/ 141 w 141"/>
                <a:gd name="T69" fmla="*/ 70 h 141"/>
                <a:gd name="T70" fmla="*/ 139 w 141"/>
                <a:gd name="T71" fmla="*/ 85 h 141"/>
                <a:gd name="T72" fmla="*/ 135 w 141"/>
                <a:gd name="T73" fmla="*/ 98 h 141"/>
                <a:gd name="T74" fmla="*/ 120 w 141"/>
                <a:gd name="T75" fmla="*/ 120 h 141"/>
                <a:gd name="T76" fmla="*/ 97 w 141"/>
                <a:gd name="T77" fmla="*/ 136 h 141"/>
                <a:gd name="T78" fmla="*/ 84 w 141"/>
                <a:gd name="T79" fmla="*/ 140 h 141"/>
                <a:gd name="T80" fmla="*/ 70 w 141"/>
                <a:gd name="T81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1">
                  <a:moveTo>
                    <a:pt x="70" y="24"/>
                  </a:moveTo>
                  <a:lnTo>
                    <a:pt x="60" y="25"/>
                  </a:lnTo>
                  <a:lnTo>
                    <a:pt x="51" y="28"/>
                  </a:lnTo>
                  <a:lnTo>
                    <a:pt x="43" y="32"/>
                  </a:lnTo>
                  <a:lnTo>
                    <a:pt x="37" y="37"/>
                  </a:lnTo>
                  <a:lnTo>
                    <a:pt x="31" y="45"/>
                  </a:lnTo>
                  <a:lnTo>
                    <a:pt x="28" y="53"/>
                  </a:lnTo>
                  <a:lnTo>
                    <a:pt x="25" y="61"/>
                  </a:lnTo>
                  <a:lnTo>
                    <a:pt x="24" y="70"/>
                  </a:lnTo>
                  <a:lnTo>
                    <a:pt x="25" y="81"/>
                  </a:lnTo>
                  <a:lnTo>
                    <a:pt x="28" y="89"/>
                  </a:lnTo>
                  <a:lnTo>
                    <a:pt x="31" y="96"/>
                  </a:lnTo>
                  <a:lnTo>
                    <a:pt x="37" y="103"/>
                  </a:lnTo>
                  <a:lnTo>
                    <a:pt x="43" y="110"/>
                  </a:lnTo>
                  <a:lnTo>
                    <a:pt x="51" y="114"/>
                  </a:lnTo>
                  <a:lnTo>
                    <a:pt x="60" y="116"/>
                  </a:lnTo>
                  <a:lnTo>
                    <a:pt x="70" y="117"/>
                  </a:lnTo>
                  <a:lnTo>
                    <a:pt x="79" y="116"/>
                  </a:lnTo>
                  <a:lnTo>
                    <a:pt x="88" y="114"/>
                  </a:lnTo>
                  <a:lnTo>
                    <a:pt x="96" y="110"/>
                  </a:lnTo>
                  <a:lnTo>
                    <a:pt x="103" y="103"/>
                  </a:lnTo>
                  <a:lnTo>
                    <a:pt x="108" y="96"/>
                  </a:lnTo>
                  <a:lnTo>
                    <a:pt x="113" y="89"/>
                  </a:lnTo>
                  <a:lnTo>
                    <a:pt x="116" y="81"/>
                  </a:lnTo>
                  <a:lnTo>
                    <a:pt x="117" y="70"/>
                  </a:lnTo>
                  <a:lnTo>
                    <a:pt x="116" y="61"/>
                  </a:lnTo>
                  <a:lnTo>
                    <a:pt x="113" y="53"/>
                  </a:lnTo>
                  <a:lnTo>
                    <a:pt x="108" y="45"/>
                  </a:lnTo>
                  <a:lnTo>
                    <a:pt x="103" y="37"/>
                  </a:lnTo>
                  <a:lnTo>
                    <a:pt x="96" y="32"/>
                  </a:lnTo>
                  <a:lnTo>
                    <a:pt x="88" y="28"/>
                  </a:lnTo>
                  <a:lnTo>
                    <a:pt x="79" y="25"/>
                  </a:lnTo>
                  <a:lnTo>
                    <a:pt x="70" y="24"/>
                  </a:lnTo>
                  <a:close/>
                  <a:moveTo>
                    <a:pt x="70" y="141"/>
                  </a:moveTo>
                  <a:lnTo>
                    <a:pt x="63" y="141"/>
                  </a:lnTo>
                  <a:lnTo>
                    <a:pt x="55" y="140"/>
                  </a:lnTo>
                  <a:lnTo>
                    <a:pt x="49" y="137"/>
                  </a:lnTo>
                  <a:lnTo>
                    <a:pt x="42" y="136"/>
                  </a:lnTo>
                  <a:lnTo>
                    <a:pt x="30" y="129"/>
                  </a:lnTo>
                  <a:lnTo>
                    <a:pt x="20" y="120"/>
                  </a:lnTo>
                  <a:lnTo>
                    <a:pt x="12" y="110"/>
                  </a:lnTo>
                  <a:lnTo>
                    <a:pt x="5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64"/>
                  </a:lnTo>
                  <a:lnTo>
                    <a:pt x="1" y="57"/>
                  </a:lnTo>
                  <a:lnTo>
                    <a:pt x="3" y="50"/>
                  </a:lnTo>
                  <a:lnTo>
                    <a:pt x="5" y="44"/>
                  </a:lnTo>
                  <a:lnTo>
                    <a:pt x="12" y="32"/>
                  </a:lnTo>
                  <a:lnTo>
                    <a:pt x="20" y="21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49" y="3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4" y="2"/>
                  </a:lnTo>
                  <a:lnTo>
                    <a:pt x="91" y="3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20" y="21"/>
                  </a:lnTo>
                  <a:lnTo>
                    <a:pt x="129" y="32"/>
                  </a:lnTo>
                  <a:lnTo>
                    <a:pt x="135" y="44"/>
                  </a:lnTo>
                  <a:lnTo>
                    <a:pt x="137" y="50"/>
                  </a:lnTo>
                  <a:lnTo>
                    <a:pt x="139" y="57"/>
                  </a:lnTo>
                  <a:lnTo>
                    <a:pt x="139" y="64"/>
                  </a:lnTo>
                  <a:lnTo>
                    <a:pt x="141" y="70"/>
                  </a:lnTo>
                  <a:lnTo>
                    <a:pt x="139" y="78"/>
                  </a:lnTo>
                  <a:lnTo>
                    <a:pt x="139" y="85"/>
                  </a:lnTo>
                  <a:lnTo>
                    <a:pt x="137" y="91"/>
                  </a:lnTo>
                  <a:lnTo>
                    <a:pt x="135" y="98"/>
                  </a:lnTo>
                  <a:lnTo>
                    <a:pt x="129" y="110"/>
                  </a:lnTo>
                  <a:lnTo>
                    <a:pt x="120" y="120"/>
                  </a:lnTo>
                  <a:lnTo>
                    <a:pt x="109" y="129"/>
                  </a:lnTo>
                  <a:lnTo>
                    <a:pt x="97" y="136"/>
                  </a:lnTo>
                  <a:lnTo>
                    <a:pt x="91" y="137"/>
                  </a:lnTo>
                  <a:lnTo>
                    <a:pt x="84" y="140"/>
                  </a:lnTo>
                  <a:lnTo>
                    <a:pt x="78" y="141"/>
                  </a:lnTo>
                  <a:lnTo>
                    <a:pt x="70" y="14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209" name="knot_z"/>
          <p:cNvGrpSpPr>
            <a:grpSpLocks noChangeAspect="1"/>
          </p:cNvGrpSpPr>
          <p:nvPr/>
        </p:nvGrpSpPr>
        <p:grpSpPr>
          <a:xfrm>
            <a:off x="5970203" y="1938453"/>
            <a:ext cx="231295" cy="184435"/>
            <a:chOff x="5645151" y="4616451"/>
            <a:chExt cx="854075" cy="681038"/>
          </a:xfrm>
        </p:grpSpPr>
        <p:sp>
          <p:nvSpPr>
            <p:cNvPr id="210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11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12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13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14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15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16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17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18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19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0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1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2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3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4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5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6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7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8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29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230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231" name="Прямоугольник 230"/>
          <p:cNvSpPr/>
          <p:nvPr/>
        </p:nvSpPr>
        <p:spPr>
          <a:xfrm>
            <a:off x="5388944" y="2374486"/>
            <a:ext cx="1548172" cy="479972"/>
          </a:xfrm>
          <a:prstGeom prst="rect">
            <a:avLst/>
          </a:prstGeom>
          <a:solidFill>
            <a:schemeClr val="bg1">
              <a:alpha val="37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ru-RU" sz="600" b="1" dirty="0" smtClean="0">
                <a:solidFill>
                  <a:schemeClr val="bg1">
                    <a:lumMod val="95000"/>
                  </a:schemeClr>
                </a:solidFill>
              </a:rPr>
              <a:t>Предел </a:t>
            </a:r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погрешности: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Масса – 0,25%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Объем – 0,25%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Плотность </a:t>
            </a: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ср–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0,5 кг/м</a:t>
            </a:r>
            <a:r>
              <a:rPr lang="ru-RU" sz="600" baseline="30000" dirty="0">
                <a:solidFill>
                  <a:schemeClr val="bg1">
                    <a:lumMod val="95000"/>
                  </a:schemeClr>
                </a:solidFill>
              </a:rPr>
              <a:t>3</a:t>
            </a:r>
            <a:endParaRPr lang="ru-RU" sz="600" dirty="0">
              <a:solidFill>
                <a:schemeClr val="bg1">
                  <a:lumMod val="95000"/>
                </a:schemeClr>
              </a:solidFill>
            </a:endParaRP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Температура ср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– 0,5 С</a:t>
            </a:r>
          </a:p>
        </p:txBody>
      </p:sp>
      <p:sp>
        <p:nvSpPr>
          <p:cNvPr id="330" name="Овал 329"/>
          <p:cNvSpPr/>
          <p:nvPr/>
        </p:nvSpPr>
        <p:spPr>
          <a:xfrm>
            <a:off x="6048232" y="1781983"/>
            <a:ext cx="81009" cy="810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31" name="Прямоугольник 330"/>
          <p:cNvSpPr/>
          <p:nvPr/>
        </p:nvSpPr>
        <p:spPr>
          <a:xfrm>
            <a:off x="5488497" y="4443958"/>
            <a:ext cx="1349066" cy="10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900" b="1" i="1" dirty="0" smtClean="0">
                <a:solidFill>
                  <a:schemeClr val="bg1">
                    <a:lumMod val="50000"/>
                  </a:schemeClr>
                </a:solidFill>
              </a:rPr>
              <a:t>Коммерческий учет</a:t>
            </a:r>
            <a:endParaRPr lang="ru-RU" sz="900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464" name="sur_2_z"/>
          <p:cNvGrpSpPr>
            <a:grpSpLocks noChangeAspect="1"/>
          </p:cNvGrpSpPr>
          <p:nvPr/>
        </p:nvGrpSpPr>
        <p:grpSpPr>
          <a:xfrm>
            <a:off x="6033688" y="3223578"/>
            <a:ext cx="110660" cy="252445"/>
            <a:chOff x="3252788" y="5476875"/>
            <a:chExt cx="304800" cy="695325"/>
          </a:xfrm>
        </p:grpSpPr>
        <p:sp>
          <p:nvSpPr>
            <p:cNvPr id="465" name="Freeform 262"/>
            <p:cNvSpPr>
              <a:spLocks/>
            </p:cNvSpPr>
            <p:nvPr/>
          </p:nvSpPr>
          <p:spPr bwMode="auto">
            <a:xfrm>
              <a:off x="3257550" y="5632450"/>
              <a:ext cx="293688" cy="190500"/>
            </a:xfrm>
            <a:custGeom>
              <a:avLst/>
              <a:gdLst>
                <a:gd name="T0" fmla="*/ 624 w 741"/>
                <a:gd name="T1" fmla="*/ 70 h 479"/>
                <a:gd name="T2" fmla="*/ 624 w 741"/>
                <a:gd name="T3" fmla="*/ 70 h 479"/>
                <a:gd name="T4" fmla="*/ 613 w 741"/>
                <a:gd name="T5" fmla="*/ 60 h 479"/>
                <a:gd name="T6" fmla="*/ 601 w 741"/>
                <a:gd name="T7" fmla="*/ 51 h 479"/>
                <a:gd name="T8" fmla="*/ 588 w 741"/>
                <a:gd name="T9" fmla="*/ 43 h 479"/>
                <a:gd name="T10" fmla="*/ 573 w 741"/>
                <a:gd name="T11" fmla="*/ 36 h 479"/>
                <a:gd name="T12" fmla="*/ 558 w 741"/>
                <a:gd name="T13" fmla="*/ 29 h 479"/>
                <a:gd name="T14" fmla="*/ 544 w 741"/>
                <a:gd name="T15" fmla="*/ 24 h 479"/>
                <a:gd name="T16" fmla="*/ 529 w 741"/>
                <a:gd name="T17" fmla="*/ 19 h 479"/>
                <a:gd name="T18" fmla="*/ 515 w 741"/>
                <a:gd name="T19" fmla="*/ 14 h 479"/>
                <a:gd name="T20" fmla="*/ 468 w 741"/>
                <a:gd name="T21" fmla="*/ 3 h 479"/>
                <a:gd name="T22" fmla="*/ 447 w 741"/>
                <a:gd name="T23" fmla="*/ 0 h 479"/>
                <a:gd name="T24" fmla="*/ 370 w 741"/>
                <a:gd name="T25" fmla="*/ 95 h 479"/>
                <a:gd name="T26" fmla="*/ 287 w 741"/>
                <a:gd name="T27" fmla="*/ 0 h 479"/>
                <a:gd name="T28" fmla="*/ 267 w 741"/>
                <a:gd name="T29" fmla="*/ 4 h 479"/>
                <a:gd name="T30" fmla="*/ 219 w 741"/>
                <a:gd name="T31" fmla="*/ 16 h 479"/>
                <a:gd name="T32" fmla="*/ 205 w 741"/>
                <a:gd name="T33" fmla="*/ 20 h 479"/>
                <a:gd name="T34" fmla="*/ 191 w 741"/>
                <a:gd name="T35" fmla="*/ 25 h 479"/>
                <a:gd name="T36" fmla="*/ 177 w 741"/>
                <a:gd name="T37" fmla="*/ 31 h 479"/>
                <a:gd name="T38" fmla="*/ 163 w 741"/>
                <a:gd name="T39" fmla="*/ 37 h 479"/>
                <a:gd name="T40" fmla="*/ 149 w 741"/>
                <a:gd name="T41" fmla="*/ 44 h 479"/>
                <a:gd name="T42" fmla="*/ 137 w 741"/>
                <a:gd name="T43" fmla="*/ 52 h 479"/>
                <a:gd name="T44" fmla="*/ 126 w 741"/>
                <a:gd name="T45" fmla="*/ 60 h 479"/>
                <a:gd name="T46" fmla="*/ 116 w 741"/>
                <a:gd name="T47" fmla="*/ 70 h 479"/>
                <a:gd name="T48" fmla="*/ 112 w 741"/>
                <a:gd name="T49" fmla="*/ 76 h 479"/>
                <a:gd name="T50" fmla="*/ 103 w 741"/>
                <a:gd name="T51" fmla="*/ 95 h 479"/>
                <a:gd name="T52" fmla="*/ 88 w 741"/>
                <a:gd name="T53" fmla="*/ 123 h 479"/>
                <a:gd name="T54" fmla="*/ 69 w 741"/>
                <a:gd name="T55" fmla="*/ 162 h 479"/>
                <a:gd name="T56" fmla="*/ 60 w 741"/>
                <a:gd name="T57" fmla="*/ 185 h 479"/>
                <a:gd name="T58" fmla="*/ 50 w 741"/>
                <a:gd name="T59" fmla="*/ 210 h 479"/>
                <a:gd name="T60" fmla="*/ 40 w 741"/>
                <a:gd name="T61" fmla="*/ 238 h 479"/>
                <a:gd name="T62" fmla="*/ 31 w 741"/>
                <a:gd name="T63" fmla="*/ 266 h 479"/>
                <a:gd name="T64" fmla="*/ 22 w 741"/>
                <a:gd name="T65" fmla="*/ 298 h 479"/>
                <a:gd name="T66" fmla="*/ 13 w 741"/>
                <a:gd name="T67" fmla="*/ 331 h 479"/>
                <a:gd name="T68" fmla="*/ 6 w 741"/>
                <a:gd name="T69" fmla="*/ 365 h 479"/>
                <a:gd name="T70" fmla="*/ 0 w 741"/>
                <a:gd name="T71" fmla="*/ 401 h 479"/>
                <a:gd name="T72" fmla="*/ 189 w 741"/>
                <a:gd name="T73" fmla="*/ 401 h 479"/>
                <a:gd name="T74" fmla="*/ 189 w 741"/>
                <a:gd name="T75" fmla="*/ 479 h 479"/>
                <a:gd name="T76" fmla="*/ 548 w 741"/>
                <a:gd name="T77" fmla="*/ 479 h 479"/>
                <a:gd name="T78" fmla="*/ 548 w 741"/>
                <a:gd name="T79" fmla="*/ 401 h 479"/>
                <a:gd name="T80" fmla="*/ 741 w 741"/>
                <a:gd name="T81" fmla="*/ 401 h 479"/>
                <a:gd name="T82" fmla="*/ 735 w 741"/>
                <a:gd name="T83" fmla="*/ 365 h 479"/>
                <a:gd name="T84" fmla="*/ 727 w 741"/>
                <a:gd name="T85" fmla="*/ 331 h 479"/>
                <a:gd name="T86" fmla="*/ 719 w 741"/>
                <a:gd name="T87" fmla="*/ 298 h 479"/>
                <a:gd name="T88" fmla="*/ 709 w 741"/>
                <a:gd name="T89" fmla="*/ 266 h 479"/>
                <a:gd name="T90" fmla="*/ 700 w 741"/>
                <a:gd name="T91" fmla="*/ 238 h 479"/>
                <a:gd name="T92" fmla="*/ 691 w 741"/>
                <a:gd name="T93" fmla="*/ 210 h 479"/>
                <a:gd name="T94" fmla="*/ 681 w 741"/>
                <a:gd name="T95" fmla="*/ 185 h 479"/>
                <a:gd name="T96" fmla="*/ 671 w 741"/>
                <a:gd name="T97" fmla="*/ 162 h 479"/>
                <a:gd name="T98" fmla="*/ 653 w 741"/>
                <a:gd name="T99" fmla="*/ 123 h 479"/>
                <a:gd name="T100" fmla="*/ 638 w 741"/>
                <a:gd name="T101" fmla="*/ 95 h 479"/>
                <a:gd name="T102" fmla="*/ 628 w 741"/>
                <a:gd name="T103" fmla="*/ 76 h 479"/>
                <a:gd name="T104" fmla="*/ 624 w 741"/>
                <a:gd name="T105" fmla="*/ 7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1" h="479">
                  <a:moveTo>
                    <a:pt x="624" y="70"/>
                  </a:moveTo>
                  <a:lnTo>
                    <a:pt x="624" y="70"/>
                  </a:lnTo>
                  <a:lnTo>
                    <a:pt x="613" y="60"/>
                  </a:lnTo>
                  <a:lnTo>
                    <a:pt x="601" y="51"/>
                  </a:lnTo>
                  <a:lnTo>
                    <a:pt x="588" y="43"/>
                  </a:lnTo>
                  <a:lnTo>
                    <a:pt x="573" y="36"/>
                  </a:lnTo>
                  <a:lnTo>
                    <a:pt x="558" y="29"/>
                  </a:lnTo>
                  <a:lnTo>
                    <a:pt x="544" y="24"/>
                  </a:lnTo>
                  <a:lnTo>
                    <a:pt x="529" y="19"/>
                  </a:lnTo>
                  <a:lnTo>
                    <a:pt x="515" y="14"/>
                  </a:lnTo>
                  <a:lnTo>
                    <a:pt x="468" y="3"/>
                  </a:lnTo>
                  <a:lnTo>
                    <a:pt x="447" y="0"/>
                  </a:lnTo>
                  <a:lnTo>
                    <a:pt x="370" y="95"/>
                  </a:lnTo>
                  <a:lnTo>
                    <a:pt x="287" y="0"/>
                  </a:lnTo>
                  <a:lnTo>
                    <a:pt x="267" y="4"/>
                  </a:lnTo>
                  <a:lnTo>
                    <a:pt x="219" y="16"/>
                  </a:lnTo>
                  <a:lnTo>
                    <a:pt x="205" y="20"/>
                  </a:lnTo>
                  <a:lnTo>
                    <a:pt x="191" y="25"/>
                  </a:lnTo>
                  <a:lnTo>
                    <a:pt x="177" y="31"/>
                  </a:lnTo>
                  <a:lnTo>
                    <a:pt x="163" y="37"/>
                  </a:lnTo>
                  <a:lnTo>
                    <a:pt x="149" y="44"/>
                  </a:lnTo>
                  <a:lnTo>
                    <a:pt x="137" y="52"/>
                  </a:lnTo>
                  <a:lnTo>
                    <a:pt x="126" y="60"/>
                  </a:lnTo>
                  <a:lnTo>
                    <a:pt x="116" y="70"/>
                  </a:lnTo>
                  <a:lnTo>
                    <a:pt x="112" y="76"/>
                  </a:lnTo>
                  <a:lnTo>
                    <a:pt x="103" y="95"/>
                  </a:lnTo>
                  <a:lnTo>
                    <a:pt x="88" y="123"/>
                  </a:lnTo>
                  <a:lnTo>
                    <a:pt x="69" y="162"/>
                  </a:lnTo>
                  <a:lnTo>
                    <a:pt x="60" y="185"/>
                  </a:lnTo>
                  <a:lnTo>
                    <a:pt x="50" y="210"/>
                  </a:lnTo>
                  <a:lnTo>
                    <a:pt x="40" y="238"/>
                  </a:lnTo>
                  <a:lnTo>
                    <a:pt x="31" y="266"/>
                  </a:lnTo>
                  <a:lnTo>
                    <a:pt x="22" y="298"/>
                  </a:lnTo>
                  <a:lnTo>
                    <a:pt x="13" y="331"/>
                  </a:lnTo>
                  <a:lnTo>
                    <a:pt x="6" y="365"/>
                  </a:lnTo>
                  <a:lnTo>
                    <a:pt x="0" y="401"/>
                  </a:lnTo>
                  <a:lnTo>
                    <a:pt x="189" y="401"/>
                  </a:lnTo>
                  <a:lnTo>
                    <a:pt x="189" y="479"/>
                  </a:lnTo>
                  <a:lnTo>
                    <a:pt x="548" y="479"/>
                  </a:lnTo>
                  <a:lnTo>
                    <a:pt x="548" y="401"/>
                  </a:lnTo>
                  <a:lnTo>
                    <a:pt x="741" y="401"/>
                  </a:lnTo>
                  <a:lnTo>
                    <a:pt x="735" y="365"/>
                  </a:lnTo>
                  <a:lnTo>
                    <a:pt x="727" y="331"/>
                  </a:lnTo>
                  <a:lnTo>
                    <a:pt x="719" y="298"/>
                  </a:lnTo>
                  <a:lnTo>
                    <a:pt x="709" y="266"/>
                  </a:lnTo>
                  <a:lnTo>
                    <a:pt x="700" y="238"/>
                  </a:lnTo>
                  <a:lnTo>
                    <a:pt x="691" y="210"/>
                  </a:lnTo>
                  <a:lnTo>
                    <a:pt x="681" y="185"/>
                  </a:lnTo>
                  <a:lnTo>
                    <a:pt x="671" y="162"/>
                  </a:lnTo>
                  <a:lnTo>
                    <a:pt x="653" y="123"/>
                  </a:lnTo>
                  <a:lnTo>
                    <a:pt x="638" y="95"/>
                  </a:lnTo>
                  <a:lnTo>
                    <a:pt x="628" y="76"/>
                  </a:lnTo>
                  <a:lnTo>
                    <a:pt x="624" y="7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66" name="Freeform 263"/>
            <p:cNvSpPr>
              <a:spLocks/>
            </p:cNvSpPr>
            <p:nvPr/>
          </p:nvSpPr>
          <p:spPr bwMode="auto">
            <a:xfrm>
              <a:off x="3351213" y="5546725"/>
              <a:ext cx="101600" cy="84138"/>
            </a:xfrm>
            <a:custGeom>
              <a:avLst/>
              <a:gdLst>
                <a:gd name="T0" fmla="*/ 109 w 255"/>
                <a:gd name="T1" fmla="*/ 207 h 209"/>
                <a:gd name="T2" fmla="*/ 82 w 255"/>
                <a:gd name="T3" fmla="*/ 196 h 209"/>
                <a:gd name="T4" fmla="*/ 62 w 255"/>
                <a:gd name="T5" fmla="*/ 179 h 209"/>
                <a:gd name="T6" fmla="*/ 36 w 255"/>
                <a:gd name="T7" fmla="*/ 138 h 209"/>
                <a:gd name="T8" fmla="*/ 14 w 255"/>
                <a:gd name="T9" fmla="*/ 106 h 209"/>
                <a:gd name="T10" fmla="*/ 1 w 255"/>
                <a:gd name="T11" fmla="*/ 86 h 209"/>
                <a:gd name="T12" fmla="*/ 3 w 255"/>
                <a:gd name="T13" fmla="*/ 66 h 209"/>
                <a:gd name="T14" fmla="*/ 6 w 255"/>
                <a:gd name="T15" fmla="*/ 48 h 209"/>
                <a:gd name="T16" fmla="*/ 4 w 255"/>
                <a:gd name="T17" fmla="*/ 11 h 209"/>
                <a:gd name="T18" fmla="*/ 11 w 255"/>
                <a:gd name="T19" fmla="*/ 0 h 209"/>
                <a:gd name="T20" fmla="*/ 21 w 255"/>
                <a:gd name="T21" fmla="*/ 0 h 209"/>
                <a:gd name="T22" fmla="*/ 28 w 255"/>
                <a:gd name="T23" fmla="*/ 11 h 209"/>
                <a:gd name="T24" fmla="*/ 32 w 255"/>
                <a:gd name="T25" fmla="*/ 54 h 209"/>
                <a:gd name="T26" fmla="*/ 32 w 255"/>
                <a:gd name="T27" fmla="*/ 65 h 209"/>
                <a:gd name="T28" fmla="*/ 25 w 255"/>
                <a:gd name="T29" fmla="*/ 72 h 209"/>
                <a:gd name="T30" fmla="*/ 27 w 255"/>
                <a:gd name="T31" fmla="*/ 86 h 209"/>
                <a:gd name="T32" fmla="*/ 42 w 255"/>
                <a:gd name="T33" fmla="*/ 103 h 209"/>
                <a:gd name="T34" fmla="*/ 53 w 255"/>
                <a:gd name="T35" fmla="*/ 116 h 209"/>
                <a:gd name="T36" fmla="*/ 63 w 255"/>
                <a:gd name="T37" fmla="*/ 138 h 209"/>
                <a:gd name="T38" fmla="*/ 80 w 255"/>
                <a:gd name="T39" fmla="*/ 163 h 209"/>
                <a:gd name="T40" fmla="*/ 101 w 255"/>
                <a:gd name="T41" fmla="*/ 177 h 209"/>
                <a:gd name="T42" fmla="*/ 130 w 255"/>
                <a:gd name="T43" fmla="*/ 184 h 209"/>
                <a:gd name="T44" fmla="*/ 158 w 255"/>
                <a:gd name="T45" fmla="*/ 177 h 209"/>
                <a:gd name="T46" fmla="*/ 178 w 255"/>
                <a:gd name="T47" fmla="*/ 163 h 209"/>
                <a:gd name="T48" fmla="*/ 195 w 255"/>
                <a:gd name="T49" fmla="*/ 138 h 209"/>
                <a:gd name="T50" fmla="*/ 202 w 255"/>
                <a:gd name="T51" fmla="*/ 116 h 209"/>
                <a:gd name="T52" fmla="*/ 215 w 255"/>
                <a:gd name="T53" fmla="*/ 103 h 209"/>
                <a:gd name="T54" fmla="*/ 228 w 255"/>
                <a:gd name="T55" fmla="*/ 86 h 209"/>
                <a:gd name="T56" fmla="*/ 231 w 255"/>
                <a:gd name="T57" fmla="*/ 72 h 209"/>
                <a:gd name="T58" fmla="*/ 224 w 255"/>
                <a:gd name="T59" fmla="*/ 65 h 209"/>
                <a:gd name="T60" fmla="*/ 224 w 255"/>
                <a:gd name="T61" fmla="*/ 55 h 209"/>
                <a:gd name="T62" fmla="*/ 228 w 255"/>
                <a:gd name="T63" fmla="*/ 13 h 209"/>
                <a:gd name="T64" fmla="*/ 235 w 255"/>
                <a:gd name="T65" fmla="*/ 2 h 209"/>
                <a:gd name="T66" fmla="*/ 249 w 255"/>
                <a:gd name="T67" fmla="*/ 5 h 209"/>
                <a:gd name="T68" fmla="*/ 251 w 255"/>
                <a:gd name="T69" fmla="*/ 26 h 209"/>
                <a:gd name="T70" fmla="*/ 248 w 255"/>
                <a:gd name="T71" fmla="*/ 56 h 209"/>
                <a:gd name="T72" fmla="*/ 255 w 255"/>
                <a:gd name="T73" fmla="*/ 72 h 209"/>
                <a:gd name="T74" fmla="*/ 251 w 255"/>
                <a:gd name="T75" fmla="*/ 93 h 209"/>
                <a:gd name="T76" fmla="*/ 233 w 255"/>
                <a:gd name="T77" fmla="*/ 119 h 209"/>
                <a:gd name="T78" fmla="*/ 216 w 255"/>
                <a:gd name="T79" fmla="*/ 152 h 209"/>
                <a:gd name="T80" fmla="*/ 191 w 255"/>
                <a:gd name="T81" fmla="*/ 185 h 209"/>
                <a:gd name="T82" fmla="*/ 169 w 255"/>
                <a:gd name="T83" fmla="*/ 201 h 209"/>
                <a:gd name="T84" fmla="*/ 141 w 255"/>
                <a:gd name="T85" fmla="*/ 20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5" h="209">
                  <a:moveTo>
                    <a:pt x="130" y="209"/>
                  </a:moveTo>
                  <a:lnTo>
                    <a:pt x="119" y="208"/>
                  </a:lnTo>
                  <a:lnTo>
                    <a:pt x="109" y="207"/>
                  </a:lnTo>
                  <a:lnTo>
                    <a:pt x="99" y="203"/>
                  </a:lnTo>
                  <a:lnTo>
                    <a:pt x="91" y="201"/>
                  </a:lnTo>
                  <a:lnTo>
                    <a:pt x="82" y="196"/>
                  </a:lnTo>
                  <a:lnTo>
                    <a:pt x="75" y="191"/>
                  </a:lnTo>
                  <a:lnTo>
                    <a:pt x="68" y="185"/>
                  </a:lnTo>
                  <a:lnTo>
                    <a:pt x="62" y="179"/>
                  </a:lnTo>
                  <a:lnTo>
                    <a:pt x="50" y="165"/>
                  </a:lnTo>
                  <a:lnTo>
                    <a:pt x="42" y="152"/>
                  </a:lnTo>
                  <a:lnTo>
                    <a:pt x="36" y="138"/>
                  </a:lnTo>
                  <a:lnTo>
                    <a:pt x="31" y="126"/>
                  </a:lnTo>
                  <a:lnTo>
                    <a:pt x="24" y="119"/>
                  </a:lnTo>
                  <a:lnTo>
                    <a:pt x="14" y="106"/>
                  </a:lnTo>
                  <a:lnTo>
                    <a:pt x="9" y="100"/>
                  </a:lnTo>
                  <a:lnTo>
                    <a:pt x="5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3" y="66"/>
                  </a:lnTo>
                  <a:lnTo>
                    <a:pt x="5" y="61"/>
                  </a:lnTo>
                  <a:lnTo>
                    <a:pt x="8" y="56"/>
                  </a:lnTo>
                  <a:lnTo>
                    <a:pt x="6" y="48"/>
                  </a:lnTo>
                  <a:lnTo>
                    <a:pt x="5" y="38"/>
                  </a:lnTo>
                  <a:lnTo>
                    <a:pt x="4" y="26"/>
                  </a:lnTo>
                  <a:lnTo>
                    <a:pt x="4" y="11"/>
                  </a:lnTo>
                  <a:lnTo>
                    <a:pt x="5" y="6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5" y="2"/>
                  </a:lnTo>
                  <a:lnTo>
                    <a:pt x="27" y="6"/>
                  </a:lnTo>
                  <a:lnTo>
                    <a:pt x="28" y="11"/>
                  </a:lnTo>
                  <a:lnTo>
                    <a:pt x="28" y="28"/>
                  </a:lnTo>
                  <a:lnTo>
                    <a:pt x="31" y="44"/>
                  </a:lnTo>
                  <a:lnTo>
                    <a:pt x="32" y="54"/>
                  </a:lnTo>
                  <a:lnTo>
                    <a:pt x="32" y="57"/>
                  </a:lnTo>
                  <a:lnTo>
                    <a:pt x="32" y="61"/>
                  </a:lnTo>
                  <a:lnTo>
                    <a:pt x="32" y="65"/>
                  </a:lnTo>
                  <a:lnTo>
                    <a:pt x="31" y="67"/>
                  </a:lnTo>
                  <a:lnTo>
                    <a:pt x="28" y="70"/>
                  </a:lnTo>
                  <a:lnTo>
                    <a:pt x="25" y="72"/>
                  </a:lnTo>
                  <a:lnTo>
                    <a:pt x="25" y="76"/>
                  </a:lnTo>
                  <a:lnTo>
                    <a:pt x="26" y="81"/>
                  </a:lnTo>
                  <a:lnTo>
                    <a:pt x="27" y="86"/>
                  </a:lnTo>
                  <a:lnTo>
                    <a:pt x="31" y="89"/>
                  </a:lnTo>
                  <a:lnTo>
                    <a:pt x="35" y="94"/>
                  </a:lnTo>
                  <a:lnTo>
                    <a:pt x="42" y="103"/>
                  </a:lnTo>
                  <a:lnTo>
                    <a:pt x="49" y="110"/>
                  </a:lnTo>
                  <a:lnTo>
                    <a:pt x="52" y="112"/>
                  </a:lnTo>
                  <a:lnTo>
                    <a:pt x="53" y="116"/>
                  </a:lnTo>
                  <a:lnTo>
                    <a:pt x="54" y="120"/>
                  </a:lnTo>
                  <a:lnTo>
                    <a:pt x="58" y="128"/>
                  </a:lnTo>
                  <a:lnTo>
                    <a:pt x="63" y="138"/>
                  </a:lnTo>
                  <a:lnTo>
                    <a:pt x="70" y="150"/>
                  </a:lnTo>
                  <a:lnTo>
                    <a:pt x="75" y="157"/>
                  </a:lnTo>
                  <a:lnTo>
                    <a:pt x="80" y="163"/>
                  </a:lnTo>
                  <a:lnTo>
                    <a:pt x="86" y="169"/>
                  </a:lnTo>
                  <a:lnTo>
                    <a:pt x="93" y="174"/>
                  </a:lnTo>
                  <a:lnTo>
                    <a:pt x="101" y="177"/>
                  </a:lnTo>
                  <a:lnTo>
                    <a:pt x="111" y="181"/>
                  </a:lnTo>
                  <a:lnTo>
                    <a:pt x="119" y="184"/>
                  </a:lnTo>
                  <a:lnTo>
                    <a:pt x="130" y="184"/>
                  </a:lnTo>
                  <a:lnTo>
                    <a:pt x="141" y="184"/>
                  </a:lnTo>
                  <a:lnTo>
                    <a:pt x="150" y="181"/>
                  </a:lnTo>
                  <a:lnTo>
                    <a:pt x="158" y="177"/>
                  </a:lnTo>
                  <a:lnTo>
                    <a:pt x="166" y="174"/>
                  </a:lnTo>
                  <a:lnTo>
                    <a:pt x="173" y="169"/>
                  </a:lnTo>
                  <a:lnTo>
                    <a:pt x="178" y="163"/>
                  </a:lnTo>
                  <a:lnTo>
                    <a:pt x="184" y="157"/>
                  </a:lnTo>
                  <a:lnTo>
                    <a:pt x="188" y="150"/>
                  </a:lnTo>
                  <a:lnTo>
                    <a:pt x="195" y="138"/>
                  </a:lnTo>
                  <a:lnTo>
                    <a:pt x="199" y="128"/>
                  </a:lnTo>
                  <a:lnTo>
                    <a:pt x="201" y="120"/>
                  </a:lnTo>
                  <a:lnTo>
                    <a:pt x="202" y="116"/>
                  </a:lnTo>
                  <a:lnTo>
                    <a:pt x="204" y="112"/>
                  </a:lnTo>
                  <a:lnTo>
                    <a:pt x="207" y="110"/>
                  </a:lnTo>
                  <a:lnTo>
                    <a:pt x="215" y="103"/>
                  </a:lnTo>
                  <a:lnTo>
                    <a:pt x="222" y="94"/>
                  </a:lnTo>
                  <a:lnTo>
                    <a:pt x="226" y="89"/>
                  </a:lnTo>
                  <a:lnTo>
                    <a:pt x="228" y="86"/>
                  </a:lnTo>
                  <a:lnTo>
                    <a:pt x="231" y="81"/>
                  </a:lnTo>
                  <a:lnTo>
                    <a:pt x="232" y="76"/>
                  </a:lnTo>
                  <a:lnTo>
                    <a:pt x="231" y="72"/>
                  </a:lnTo>
                  <a:lnTo>
                    <a:pt x="227" y="70"/>
                  </a:lnTo>
                  <a:lnTo>
                    <a:pt x="226" y="67"/>
                  </a:lnTo>
                  <a:lnTo>
                    <a:pt x="224" y="65"/>
                  </a:lnTo>
                  <a:lnTo>
                    <a:pt x="223" y="61"/>
                  </a:lnTo>
                  <a:lnTo>
                    <a:pt x="223" y="57"/>
                  </a:lnTo>
                  <a:lnTo>
                    <a:pt x="224" y="55"/>
                  </a:lnTo>
                  <a:lnTo>
                    <a:pt x="226" y="45"/>
                  </a:lnTo>
                  <a:lnTo>
                    <a:pt x="227" y="30"/>
                  </a:lnTo>
                  <a:lnTo>
                    <a:pt x="228" y="13"/>
                  </a:lnTo>
                  <a:lnTo>
                    <a:pt x="229" y="8"/>
                  </a:lnTo>
                  <a:lnTo>
                    <a:pt x="232" y="5"/>
                  </a:lnTo>
                  <a:lnTo>
                    <a:pt x="235" y="2"/>
                  </a:lnTo>
                  <a:lnTo>
                    <a:pt x="240" y="1"/>
                  </a:lnTo>
                  <a:lnTo>
                    <a:pt x="244" y="2"/>
                  </a:lnTo>
                  <a:lnTo>
                    <a:pt x="249" y="5"/>
                  </a:lnTo>
                  <a:lnTo>
                    <a:pt x="251" y="8"/>
                  </a:lnTo>
                  <a:lnTo>
                    <a:pt x="251" y="13"/>
                  </a:lnTo>
                  <a:lnTo>
                    <a:pt x="251" y="26"/>
                  </a:lnTo>
                  <a:lnTo>
                    <a:pt x="250" y="38"/>
                  </a:lnTo>
                  <a:lnTo>
                    <a:pt x="249" y="48"/>
                  </a:lnTo>
                  <a:lnTo>
                    <a:pt x="248" y="56"/>
                  </a:lnTo>
                  <a:lnTo>
                    <a:pt x="251" y="61"/>
                  </a:lnTo>
                  <a:lnTo>
                    <a:pt x="254" y="66"/>
                  </a:lnTo>
                  <a:lnTo>
                    <a:pt x="255" y="72"/>
                  </a:lnTo>
                  <a:lnTo>
                    <a:pt x="255" y="78"/>
                  </a:lnTo>
                  <a:lnTo>
                    <a:pt x="254" y="86"/>
                  </a:lnTo>
                  <a:lnTo>
                    <a:pt x="251" y="93"/>
                  </a:lnTo>
                  <a:lnTo>
                    <a:pt x="248" y="100"/>
                  </a:lnTo>
                  <a:lnTo>
                    <a:pt x="243" y="106"/>
                  </a:lnTo>
                  <a:lnTo>
                    <a:pt x="233" y="119"/>
                  </a:lnTo>
                  <a:lnTo>
                    <a:pt x="226" y="126"/>
                  </a:lnTo>
                  <a:lnTo>
                    <a:pt x="221" y="138"/>
                  </a:lnTo>
                  <a:lnTo>
                    <a:pt x="216" y="152"/>
                  </a:lnTo>
                  <a:lnTo>
                    <a:pt x="207" y="165"/>
                  </a:lnTo>
                  <a:lnTo>
                    <a:pt x="197" y="179"/>
                  </a:lnTo>
                  <a:lnTo>
                    <a:pt x="191" y="185"/>
                  </a:lnTo>
                  <a:lnTo>
                    <a:pt x="184" y="191"/>
                  </a:lnTo>
                  <a:lnTo>
                    <a:pt x="177" y="196"/>
                  </a:lnTo>
                  <a:lnTo>
                    <a:pt x="169" y="201"/>
                  </a:lnTo>
                  <a:lnTo>
                    <a:pt x="161" y="203"/>
                  </a:lnTo>
                  <a:lnTo>
                    <a:pt x="151" y="207"/>
                  </a:lnTo>
                  <a:lnTo>
                    <a:pt x="141" y="208"/>
                  </a:lnTo>
                  <a:lnTo>
                    <a:pt x="130" y="20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67" name="Freeform 264"/>
            <p:cNvSpPr>
              <a:spLocks/>
            </p:cNvSpPr>
            <p:nvPr/>
          </p:nvSpPr>
          <p:spPr bwMode="auto">
            <a:xfrm>
              <a:off x="3365500" y="5597525"/>
              <a:ext cx="11113" cy="39688"/>
            </a:xfrm>
            <a:custGeom>
              <a:avLst/>
              <a:gdLst>
                <a:gd name="T0" fmla="*/ 14 w 26"/>
                <a:gd name="T1" fmla="*/ 100 h 100"/>
                <a:gd name="T2" fmla="*/ 10 w 26"/>
                <a:gd name="T3" fmla="*/ 100 h 100"/>
                <a:gd name="T4" fmla="*/ 6 w 26"/>
                <a:gd name="T5" fmla="*/ 98 h 100"/>
                <a:gd name="T6" fmla="*/ 3 w 26"/>
                <a:gd name="T7" fmla="*/ 94 h 100"/>
                <a:gd name="T8" fmla="*/ 2 w 26"/>
                <a:gd name="T9" fmla="*/ 89 h 100"/>
                <a:gd name="T10" fmla="*/ 0 w 26"/>
                <a:gd name="T11" fmla="*/ 11 h 100"/>
                <a:gd name="T12" fmla="*/ 1 w 26"/>
                <a:gd name="T13" fmla="*/ 6 h 100"/>
                <a:gd name="T14" fmla="*/ 3 w 26"/>
                <a:gd name="T15" fmla="*/ 2 h 100"/>
                <a:gd name="T16" fmla="*/ 7 w 26"/>
                <a:gd name="T17" fmla="*/ 0 h 100"/>
                <a:gd name="T18" fmla="*/ 12 w 26"/>
                <a:gd name="T19" fmla="*/ 0 h 100"/>
                <a:gd name="T20" fmla="*/ 17 w 26"/>
                <a:gd name="T21" fmla="*/ 0 h 100"/>
                <a:gd name="T22" fmla="*/ 21 w 26"/>
                <a:gd name="T23" fmla="*/ 2 h 100"/>
                <a:gd name="T24" fmla="*/ 23 w 26"/>
                <a:gd name="T25" fmla="*/ 6 h 100"/>
                <a:gd name="T26" fmla="*/ 24 w 26"/>
                <a:gd name="T27" fmla="*/ 11 h 100"/>
                <a:gd name="T28" fmla="*/ 26 w 26"/>
                <a:gd name="T29" fmla="*/ 87 h 100"/>
                <a:gd name="T30" fmla="*/ 26 w 26"/>
                <a:gd name="T31" fmla="*/ 92 h 100"/>
                <a:gd name="T32" fmla="*/ 23 w 26"/>
                <a:gd name="T33" fmla="*/ 97 h 100"/>
                <a:gd name="T34" fmla="*/ 19 w 26"/>
                <a:gd name="T35" fmla="*/ 99 h 100"/>
                <a:gd name="T36" fmla="*/ 14 w 26"/>
                <a:gd name="T37" fmla="*/ 100 h 100"/>
                <a:gd name="T38" fmla="*/ 14 w 26"/>
                <a:gd name="T3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100">
                  <a:moveTo>
                    <a:pt x="14" y="100"/>
                  </a:moveTo>
                  <a:lnTo>
                    <a:pt x="10" y="100"/>
                  </a:lnTo>
                  <a:lnTo>
                    <a:pt x="6" y="98"/>
                  </a:lnTo>
                  <a:lnTo>
                    <a:pt x="3" y="94"/>
                  </a:lnTo>
                  <a:lnTo>
                    <a:pt x="2" y="89"/>
                  </a:lnTo>
                  <a:lnTo>
                    <a:pt x="0" y="11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4" y="11"/>
                  </a:lnTo>
                  <a:lnTo>
                    <a:pt x="26" y="87"/>
                  </a:lnTo>
                  <a:lnTo>
                    <a:pt x="26" y="92"/>
                  </a:lnTo>
                  <a:lnTo>
                    <a:pt x="23" y="97"/>
                  </a:lnTo>
                  <a:lnTo>
                    <a:pt x="19" y="99"/>
                  </a:lnTo>
                  <a:lnTo>
                    <a:pt x="14" y="100"/>
                  </a:lnTo>
                  <a:lnTo>
                    <a:pt x="14" y="10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68" name="Freeform 265"/>
            <p:cNvSpPr>
              <a:spLocks/>
            </p:cNvSpPr>
            <p:nvPr/>
          </p:nvSpPr>
          <p:spPr bwMode="auto">
            <a:xfrm>
              <a:off x="3430588" y="5597525"/>
              <a:ext cx="9525" cy="39688"/>
            </a:xfrm>
            <a:custGeom>
              <a:avLst/>
              <a:gdLst>
                <a:gd name="T0" fmla="*/ 13 w 26"/>
                <a:gd name="T1" fmla="*/ 100 h 100"/>
                <a:gd name="T2" fmla="*/ 13 w 26"/>
                <a:gd name="T3" fmla="*/ 100 h 100"/>
                <a:gd name="T4" fmla="*/ 8 w 26"/>
                <a:gd name="T5" fmla="*/ 99 h 100"/>
                <a:gd name="T6" fmla="*/ 4 w 26"/>
                <a:gd name="T7" fmla="*/ 97 h 100"/>
                <a:gd name="T8" fmla="*/ 2 w 26"/>
                <a:gd name="T9" fmla="*/ 92 h 100"/>
                <a:gd name="T10" fmla="*/ 0 w 26"/>
                <a:gd name="T11" fmla="*/ 87 h 100"/>
                <a:gd name="T12" fmla="*/ 3 w 26"/>
                <a:gd name="T13" fmla="*/ 11 h 100"/>
                <a:gd name="T14" fmla="*/ 4 w 26"/>
                <a:gd name="T15" fmla="*/ 6 h 100"/>
                <a:gd name="T16" fmla="*/ 7 w 26"/>
                <a:gd name="T17" fmla="*/ 2 h 100"/>
                <a:gd name="T18" fmla="*/ 10 w 26"/>
                <a:gd name="T19" fmla="*/ 0 h 100"/>
                <a:gd name="T20" fmla="*/ 15 w 26"/>
                <a:gd name="T21" fmla="*/ 0 h 100"/>
                <a:gd name="T22" fmla="*/ 15 w 26"/>
                <a:gd name="T23" fmla="*/ 0 h 100"/>
                <a:gd name="T24" fmla="*/ 19 w 26"/>
                <a:gd name="T25" fmla="*/ 0 h 100"/>
                <a:gd name="T26" fmla="*/ 24 w 26"/>
                <a:gd name="T27" fmla="*/ 2 h 100"/>
                <a:gd name="T28" fmla="*/ 26 w 26"/>
                <a:gd name="T29" fmla="*/ 6 h 100"/>
                <a:gd name="T30" fmla="*/ 26 w 26"/>
                <a:gd name="T31" fmla="*/ 11 h 100"/>
                <a:gd name="T32" fmla="*/ 25 w 26"/>
                <a:gd name="T33" fmla="*/ 89 h 100"/>
                <a:gd name="T34" fmla="*/ 24 w 26"/>
                <a:gd name="T35" fmla="*/ 94 h 100"/>
                <a:gd name="T36" fmla="*/ 21 w 26"/>
                <a:gd name="T37" fmla="*/ 98 h 100"/>
                <a:gd name="T38" fmla="*/ 18 w 26"/>
                <a:gd name="T39" fmla="*/ 100 h 100"/>
                <a:gd name="T40" fmla="*/ 13 w 26"/>
                <a:gd name="T41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100">
                  <a:moveTo>
                    <a:pt x="13" y="100"/>
                  </a:moveTo>
                  <a:lnTo>
                    <a:pt x="13" y="100"/>
                  </a:lnTo>
                  <a:lnTo>
                    <a:pt x="8" y="99"/>
                  </a:lnTo>
                  <a:lnTo>
                    <a:pt x="4" y="97"/>
                  </a:lnTo>
                  <a:lnTo>
                    <a:pt x="2" y="92"/>
                  </a:lnTo>
                  <a:lnTo>
                    <a:pt x="0" y="87"/>
                  </a:lnTo>
                  <a:lnTo>
                    <a:pt x="3" y="11"/>
                  </a:lnTo>
                  <a:lnTo>
                    <a:pt x="4" y="6"/>
                  </a:lnTo>
                  <a:lnTo>
                    <a:pt x="7" y="2"/>
                  </a:lnTo>
                  <a:lnTo>
                    <a:pt x="1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4" y="2"/>
                  </a:lnTo>
                  <a:lnTo>
                    <a:pt x="26" y="6"/>
                  </a:lnTo>
                  <a:lnTo>
                    <a:pt x="26" y="11"/>
                  </a:lnTo>
                  <a:lnTo>
                    <a:pt x="25" y="89"/>
                  </a:lnTo>
                  <a:lnTo>
                    <a:pt x="24" y="94"/>
                  </a:lnTo>
                  <a:lnTo>
                    <a:pt x="21" y="98"/>
                  </a:lnTo>
                  <a:lnTo>
                    <a:pt x="18" y="100"/>
                  </a:lnTo>
                  <a:lnTo>
                    <a:pt x="13" y="10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69" name="Freeform 266"/>
            <p:cNvSpPr>
              <a:spLocks/>
            </p:cNvSpPr>
            <p:nvPr/>
          </p:nvSpPr>
          <p:spPr bwMode="auto">
            <a:xfrm>
              <a:off x="3321050" y="6137275"/>
              <a:ext cx="66675" cy="30163"/>
            </a:xfrm>
            <a:custGeom>
              <a:avLst/>
              <a:gdLst>
                <a:gd name="T0" fmla="*/ 0 w 167"/>
                <a:gd name="T1" fmla="*/ 74 h 74"/>
                <a:gd name="T2" fmla="*/ 8 w 167"/>
                <a:gd name="T3" fmla="*/ 62 h 74"/>
                <a:gd name="T4" fmla="*/ 16 w 167"/>
                <a:gd name="T5" fmla="*/ 50 h 74"/>
                <a:gd name="T6" fmla="*/ 26 w 167"/>
                <a:gd name="T7" fmla="*/ 40 h 74"/>
                <a:gd name="T8" fmla="*/ 36 w 167"/>
                <a:gd name="T9" fmla="*/ 30 h 74"/>
                <a:gd name="T10" fmla="*/ 46 w 167"/>
                <a:gd name="T11" fmla="*/ 22 h 74"/>
                <a:gd name="T12" fmla="*/ 57 w 167"/>
                <a:gd name="T13" fmla="*/ 13 h 74"/>
                <a:gd name="T14" fmla="*/ 69 w 167"/>
                <a:gd name="T15" fmla="*/ 6 h 74"/>
                <a:gd name="T16" fmla="*/ 82 w 167"/>
                <a:gd name="T17" fmla="*/ 0 h 74"/>
                <a:gd name="T18" fmla="*/ 167 w 167"/>
                <a:gd name="T19" fmla="*/ 0 h 74"/>
                <a:gd name="T20" fmla="*/ 167 w 167"/>
                <a:gd name="T21" fmla="*/ 74 h 74"/>
                <a:gd name="T22" fmla="*/ 0 w 167"/>
                <a:gd name="T2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7" h="74">
                  <a:moveTo>
                    <a:pt x="0" y="74"/>
                  </a:moveTo>
                  <a:lnTo>
                    <a:pt x="8" y="62"/>
                  </a:lnTo>
                  <a:lnTo>
                    <a:pt x="16" y="50"/>
                  </a:lnTo>
                  <a:lnTo>
                    <a:pt x="26" y="40"/>
                  </a:lnTo>
                  <a:lnTo>
                    <a:pt x="36" y="30"/>
                  </a:lnTo>
                  <a:lnTo>
                    <a:pt x="46" y="22"/>
                  </a:lnTo>
                  <a:lnTo>
                    <a:pt x="57" y="13"/>
                  </a:lnTo>
                  <a:lnTo>
                    <a:pt x="69" y="6"/>
                  </a:lnTo>
                  <a:lnTo>
                    <a:pt x="82" y="0"/>
                  </a:lnTo>
                  <a:lnTo>
                    <a:pt x="167" y="0"/>
                  </a:lnTo>
                  <a:lnTo>
                    <a:pt x="167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0" name="Freeform 267"/>
            <p:cNvSpPr>
              <a:spLocks noEditPoints="1"/>
            </p:cNvSpPr>
            <p:nvPr/>
          </p:nvSpPr>
          <p:spPr bwMode="auto">
            <a:xfrm>
              <a:off x="3316288" y="6134100"/>
              <a:ext cx="76200" cy="38100"/>
            </a:xfrm>
            <a:custGeom>
              <a:avLst/>
              <a:gdLst>
                <a:gd name="T0" fmla="*/ 34 w 191"/>
                <a:gd name="T1" fmla="*/ 73 h 99"/>
                <a:gd name="T2" fmla="*/ 167 w 191"/>
                <a:gd name="T3" fmla="*/ 73 h 99"/>
                <a:gd name="T4" fmla="*/ 167 w 191"/>
                <a:gd name="T5" fmla="*/ 22 h 99"/>
                <a:gd name="T6" fmla="*/ 97 w 191"/>
                <a:gd name="T7" fmla="*/ 22 h 99"/>
                <a:gd name="T8" fmla="*/ 87 w 191"/>
                <a:gd name="T9" fmla="*/ 27 h 99"/>
                <a:gd name="T10" fmla="*/ 78 w 191"/>
                <a:gd name="T11" fmla="*/ 32 h 99"/>
                <a:gd name="T12" fmla="*/ 70 w 191"/>
                <a:gd name="T13" fmla="*/ 38 h 99"/>
                <a:gd name="T14" fmla="*/ 63 w 191"/>
                <a:gd name="T15" fmla="*/ 44 h 99"/>
                <a:gd name="T16" fmla="*/ 54 w 191"/>
                <a:gd name="T17" fmla="*/ 50 h 99"/>
                <a:gd name="T18" fmla="*/ 47 w 191"/>
                <a:gd name="T19" fmla="*/ 57 h 99"/>
                <a:gd name="T20" fmla="*/ 40 w 191"/>
                <a:gd name="T21" fmla="*/ 66 h 99"/>
                <a:gd name="T22" fmla="*/ 34 w 191"/>
                <a:gd name="T23" fmla="*/ 73 h 99"/>
                <a:gd name="T24" fmla="*/ 179 w 191"/>
                <a:gd name="T25" fmla="*/ 99 h 99"/>
                <a:gd name="T26" fmla="*/ 12 w 191"/>
                <a:gd name="T27" fmla="*/ 99 h 99"/>
                <a:gd name="T28" fmla="*/ 10 w 191"/>
                <a:gd name="T29" fmla="*/ 98 h 99"/>
                <a:gd name="T30" fmla="*/ 6 w 191"/>
                <a:gd name="T31" fmla="*/ 97 h 99"/>
                <a:gd name="T32" fmla="*/ 4 w 191"/>
                <a:gd name="T33" fmla="*/ 95 h 99"/>
                <a:gd name="T34" fmla="*/ 3 w 191"/>
                <a:gd name="T35" fmla="*/ 92 h 99"/>
                <a:gd name="T36" fmla="*/ 1 w 191"/>
                <a:gd name="T37" fmla="*/ 89 h 99"/>
                <a:gd name="T38" fmla="*/ 0 w 191"/>
                <a:gd name="T39" fmla="*/ 87 h 99"/>
                <a:gd name="T40" fmla="*/ 1 w 191"/>
                <a:gd name="T41" fmla="*/ 84 h 99"/>
                <a:gd name="T42" fmla="*/ 3 w 191"/>
                <a:gd name="T43" fmla="*/ 81 h 99"/>
                <a:gd name="T44" fmla="*/ 10 w 191"/>
                <a:gd name="T45" fmla="*/ 67 h 99"/>
                <a:gd name="T46" fmla="*/ 20 w 191"/>
                <a:gd name="T47" fmla="*/ 54 h 99"/>
                <a:gd name="T48" fmla="*/ 29 w 191"/>
                <a:gd name="T49" fmla="*/ 43 h 99"/>
                <a:gd name="T50" fmla="*/ 39 w 191"/>
                <a:gd name="T51" fmla="*/ 32 h 99"/>
                <a:gd name="T52" fmla="*/ 50 w 191"/>
                <a:gd name="T53" fmla="*/ 22 h 99"/>
                <a:gd name="T54" fmla="*/ 63 w 191"/>
                <a:gd name="T55" fmla="*/ 13 h 99"/>
                <a:gd name="T56" fmla="*/ 76 w 191"/>
                <a:gd name="T57" fmla="*/ 6 h 99"/>
                <a:gd name="T58" fmla="*/ 89 w 191"/>
                <a:gd name="T59" fmla="*/ 0 h 99"/>
                <a:gd name="T60" fmla="*/ 92 w 191"/>
                <a:gd name="T61" fmla="*/ 0 h 99"/>
                <a:gd name="T62" fmla="*/ 94 w 191"/>
                <a:gd name="T63" fmla="*/ 0 h 99"/>
                <a:gd name="T64" fmla="*/ 179 w 191"/>
                <a:gd name="T65" fmla="*/ 0 h 99"/>
                <a:gd name="T66" fmla="*/ 184 w 191"/>
                <a:gd name="T67" fmla="*/ 0 h 99"/>
                <a:gd name="T68" fmla="*/ 187 w 191"/>
                <a:gd name="T69" fmla="*/ 2 h 99"/>
                <a:gd name="T70" fmla="*/ 190 w 191"/>
                <a:gd name="T71" fmla="*/ 6 h 99"/>
                <a:gd name="T72" fmla="*/ 191 w 191"/>
                <a:gd name="T73" fmla="*/ 11 h 99"/>
                <a:gd name="T74" fmla="*/ 191 w 191"/>
                <a:gd name="T75" fmla="*/ 85 h 99"/>
                <a:gd name="T76" fmla="*/ 190 w 191"/>
                <a:gd name="T77" fmla="*/ 90 h 99"/>
                <a:gd name="T78" fmla="*/ 187 w 191"/>
                <a:gd name="T79" fmla="*/ 94 h 99"/>
                <a:gd name="T80" fmla="*/ 184 w 191"/>
                <a:gd name="T81" fmla="*/ 98 h 99"/>
                <a:gd name="T82" fmla="*/ 179 w 191"/>
                <a:gd name="T8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1" h="99">
                  <a:moveTo>
                    <a:pt x="34" y="73"/>
                  </a:moveTo>
                  <a:lnTo>
                    <a:pt x="167" y="73"/>
                  </a:lnTo>
                  <a:lnTo>
                    <a:pt x="167" y="22"/>
                  </a:lnTo>
                  <a:lnTo>
                    <a:pt x="97" y="22"/>
                  </a:lnTo>
                  <a:lnTo>
                    <a:pt x="87" y="27"/>
                  </a:lnTo>
                  <a:lnTo>
                    <a:pt x="78" y="32"/>
                  </a:lnTo>
                  <a:lnTo>
                    <a:pt x="70" y="38"/>
                  </a:lnTo>
                  <a:lnTo>
                    <a:pt x="63" y="44"/>
                  </a:lnTo>
                  <a:lnTo>
                    <a:pt x="54" y="50"/>
                  </a:lnTo>
                  <a:lnTo>
                    <a:pt x="47" y="57"/>
                  </a:lnTo>
                  <a:lnTo>
                    <a:pt x="40" y="66"/>
                  </a:lnTo>
                  <a:lnTo>
                    <a:pt x="34" y="73"/>
                  </a:lnTo>
                  <a:close/>
                  <a:moveTo>
                    <a:pt x="179" y="99"/>
                  </a:moveTo>
                  <a:lnTo>
                    <a:pt x="12" y="99"/>
                  </a:lnTo>
                  <a:lnTo>
                    <a:pt x="10" y="98"/>
                  </a:lnTo>
                  <a:lnTo>
                    <a:pt x="6" y="97"/>
                  </a:lnTo>
                  <a:lnTo>
                    <a:pt x="4" y="95"/>
                  </a:lnTo>
                  <a:lnTo>
                    <a:pt x="3" y="92"/>
                  </a:lnTo>
                  <a:lnTo>
                    <a:pt x="1" y="89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1"/>
                  </a:lnTo>
                  <a:lnTo>
                    <a:pt x="10" y="67"/>
                  </a:lnTo>
                  <a:lnTo>
                    <a:pt x="20" y="54"/>
                  </a:lnTo>
                  <a:lnTo>
                    <a:pt x="29" y="43"/>
                  </a:lnTo>
                  <a:lnTo>
                    <a:pt x="39" y="32"/>
                  </a:lnTo>
                  <a:lnTo>
                    <a:pt x="50" y="22"/>
                  </a:lnTo>
                  <a:lnTo>
                    <a:pt x="63" y="13"/>
                  </a:lnTo>
                  <a:lnTo>
                    <a:pt x="76" y="6"/>
                  </a:lnTo>
                  <a:lnTo>
                    <a:pt x="89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179" y="0"/>
                  </a:lnTo>
                  <a:lnTo>
                    <a:pt x="184" y="0"/>
                  </a:lnTo>
                  <a:lnTo>
                    <a:pt x="187" y="2"/>
                  </a:lnTo>
                  <a:lnTo>
                    <a:pt x="190" y="6"/>
                  </a:lnTo>
                  <a:lnTo>
                    <a:pt x="191" y="11"/>
                  </a:lnTo>
                  <a:lnTo>
                    <a:pt x="191" y="85"/>
                  </a:lnTo>
                  <a:lnTo>
                    <a:pt x="190" y="90"/>
                  </a:lnTo>
                  <a:lnTo>
                    <a:pt x="187" y="94"/>
                  </a:lnTo>
                  <a:lnTo>
                    <a:pt x="184" y="98"/>
                  </a:lnTo>
                  <a:lnTo>
                    <a:pt x="179" y="9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1" name="Freeform 268"/>
            <p:cNvSpPr>
              <a:spLocks/>
            </p:cNvSpPr>
            <p:nvPr/>
          </p:nvSpPr>
          <p:spPr bwMode="auto">
            <a:xfrm>
              <a:off x="3417888" y="6137275"/>
              <a:ext cx="65088" cy="30163"/>
            </a:xfrm>
            <a:custGeom>
              <a:avLst/>
              <a:gdLst>
                <a:gd name="T0" fmla="*/ 166 w 166"/>
                <a:gd name="T1" fmla="*/ 74 h 74"/>
                <a:gd name="T2" fmla="*/ 159 w 166"/>
                <a:gd name="T3" fmla="*/ 62 h 74"/>
                <a:gd name="T4" fmla="*/ 150 w 166"/>
                <a:gd name="T5" fmla="*/ 50 h 74"/>
                <a:gd name="T6" fmla="*/ 142 w 166"/>
                <a:gd name="T7" fmla="*/ 40 h 74"/>
                <a:gd name="T8" fmla="*/ 132 w 166"/>
                <a:gd name="T9" fmla="*/ 30 h 74"/>
                <a:gd name="T10" fmla="*/ 121 w 166"/>
                <a:gd name="T11" fmla="*/ 22 h 74"/>
                <a:gd name="T12" fmla="*/ 110 w 166"/>
                <a:gd name="T13" fmla="*/ 13 h 74"/>
                <a:gd name="T14" fmla="*/ 98 w 166"/>
                <a:gd name="T15" fmla="*/ 6 h 74"/>
                <a:gd name="T16" fmla="*/ 85 w 166"/>
                <a:gd name="T17" fmla="*/ 0 h 74"/>
                <a:gd name="T18" fmla="*/ 0 w 166"/>
                <a:gd name="T19" fmla="*/ 0 h 74"/>
                <a:gd name="T20" fmla="*/ 0 w 166"/>
                <a:gd name="T21" fmla="*/ 74 h 74"/>
                <a:gd name="T22" fmla="*/ 166 w 166"/>
                <a:gd name="T2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74">
                  <a:moveTo>
                    <a:pt x="166" y="74"/>
                  </a:moveTo>
                  <a:lnTo>
                    <a:pt x="159" y="62"/>
                  </a:lnTo>
                  <a:lnTo>
                    <a:pt x="150" y="50"/>
                  </a:lnTo>
                  <a:lnTo>
                    <a:pt x="142" y="40"/>
                  </a:lnTo>
                  <a:lnTo>
                    <a:pt x="132" y="30"/>
                  </a:lnTo>
                  <a:lnTo>
                    <a:pt x="121" y="22"/>
                  </a:lnTo>
                  <a:lnTo>
                    <a:pt x="110" y="13"/>
                  </a:lnTo>
                  <a:lnTo>
                    <a:pt x="98" y="6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4"/>
                  </a:lnTo>
                  <a:lnTo>
                    <a:pt x="166" y="7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2" name="Freeform 269"/>
            <p:cNvSpPr>
              <a:spLocks noEditPoints="1"/>
            </p:cNvSpPr>
            <p:nvPr/>
          </p:nvSpPr>
          <p:spPr bwMode="auto">
            <a:xfrm>
              <a:off x="3413125" y="6134100"/>
              <a:ext cx="74613" cy="38100"/>
            </a:xfrm>
            <a:custGeom>
              <a:avLst/>
              <a:gdLst>
                <a:gd name="T0" fmla="*/ 23 w 189"/>
                <a:gd name="T1" fmla="*/ 73 h 99"/>
                <a:gd name="T2" fmla="*/ 156 w 189"/>
                <a:gd name="T3" fmla="*/ 73 h 99"/>
                <a:gd name="T4" fmla="*/ 143 w 189"/>
                <a:gd name="T5" fmla="*/ 57 h 99"/>
                <a:gd name="T6" fmla="*/ 128 w 189"/>
                <a:gd name="T7" fmla="*/ 44 h 99"/>
                <a:gd name="T8" fmla="*/ 120 w 189"/>
                <a:gd name="T9" fmla="*/ 38 h 99"/>
                <a:gd name="T10" fmla="*/ 111 w 189"/>
                <a:gd name="T11" fmla="*/ 32 h 99"/>
                <a:gd name="T12" fmla="*/ 103 w 189"/>
                <a:gd name="T13" fmla="*/ 27 h 99"/>
                <a:gd name="T14" fmla="*/ 94 w 189"/>
                <a:gd name="T15" fmla="*/ 22 h 99"/>
                <a:gd name="T16" fmla="*/ 23 w 189"/>
                <a:gd name="T17" fmla="*/ 22 h 99"/>
                <a:gd name="T18" fmla="*/ 23 w 189"/>
                <a:gd name="T19" fmla="*/ 73 h 99"/>
                <a:gd name="T20" fmla="*/ 177 w 189"/>
                <a:gd name="T21" fmla="*/ 99 h 99"/>
                <a:gd name="T22" fmla="*/ 11 w 189"/>
                <a:gd name="T23" fmla="*/ 99 h 99"/>
                <a:gd name="T24" fmla="*/ 7 w 189"/>
                <a:gd name="T25" fmla="*/ 98 h 99"/>
                <a:gd name="T26" fmla="*/ 3 w 189"/>
                <a:gd name="T27" fmla="*/ 94 h 99"/>
                <a:gd name="T28" fmla="*/ 1 w 189"/>
                <a:gd name="T29" fmla="*/ 90 h 99"/>
                <a:gd name="T30" fmla="*/ 0 w 189"/>
                <a:gd name="T31" fmla="*/ 85 h 99"/>
                <a:gd name="T32" fmla="*/ 0 w 189"/>
                <a:gd name="T33" fmla="*/ 11 h 99"/>
                <a:gd name="T34" fmla="*/ 1 w 189"/>
                <a:gd name="T35" fmla="*/ 6 h 99"/>
                <a:gd name="T36" fmla="*/ 3 w 189"/>
                <a:gd name="T37" fmla="*/ 2 h 99"/>
                <a:gd name="T38" fmla="*/ 7 w 189"/>
                <a:gd name="T39" fmla="*/ 0 h 99"/>
                <a:gd name="T40" fmla="*/ 11 w 189"/>
                <a:gd name="T41" fmla="*/ 0 h 99"/>
                <a:gd name="T42" fmla="*/ 96 w 189"/>
                <a:gd name="T43" fmla="*/ 0 h 99"/>
                <a:gd name="T44" fmla="*/ 99 w 189"/>
                <a:gd name="T45" fmla="*/ 0 h 99"/>
                <a:gd name="T46" fmla="*/ 101 w 189"/>
                <a:gd name="T47" fmla="*/ 0 h 99"/>
                <a:gd name="T48" fmla="*/ 115 w 189"/>
                <a:gd name="T49" fmla="*/ 6 h 99"/>
                <a:gd name="T50" fmla="*/ 127 w 189"/>
                <a:gd name="T51" fmla="*/ 13 h 99"/>
                <a:gd name="T52" fmla="*/ 139 w 189"/>
                <a:gd name="T53" fmla="*/ 22 h 99"/>
                <a:gd name="T54" fmla="*/ 150 w 189"/>
                <a:gd name="T55" fmla="*/ 32 h 99"/>
                <a:gd name="T56" fmla="*/ 161 w 189"/>
                <a:gd name="T57" fmla="*/ 43 h 99"/>
                <a:gd name="T58" fmla="*/ 171 w 189"/>
                <a:gd name="T59" fmla="*/ 54 h 99"/>
                <a:gd name="T60" fmla="*/ 180 w 189"/>
                <a:gd name="T61" fmla="*/ 67 h 99"/>
                <a:gd name="T62" fmla="*/ 188 w 189"/>
                <a:gd name="T63" fmla="*/ 81 h 99"/>
                <a:gd name="T64" fmla="*/ 189 w 189"/>
                <a:gd name="T65" fmla="*/ 84 h 99"/>
                <a:gd name="T66" fmla="*/ 189 w 189"/>
                <a:gd name="T67" fmla="*/ 87 h 99"/>
                <a:gd name="T68" fmla="*/ 189 w 189"/>
                <a:gd name="T69" fmla="*/ 89 h 99"/>
                <a:gd name="T70" fmla="*/ 188 w 189"/>
                <a:gd name="T71" fmla="*/ 92 h 99"/>
                <a:gd name="T72" fmla="*/ 186 w 189"/>
                <a:gd name="T73" fmla="*/ 95 h 99"/>
                <a:gd name="T74" fmla="*/ 183 w 189"/>
                <a:gd name="T75" fmla="*/ 97 h 99"/>
                <a:gd name="T76" fmla="*/ 181 w 189"/>
                <a:gd name="T77" fmla="*/ 98 h 99"/>
                <a:gd name="T78" fmla="*/ 177 w 189"/>
                <a:gd name="T7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9" h="99">
                  <a:moveTo>
                    <a:pt x="23" y="73"/>
                  </a:moveTo>
                  <a:lnTo>
                    <a:pt x="156" y="73"/>
                  </a:lnTo>
                  <a:lnTo>
                    <a:pt x="143" y="57"/>
                  </a:lnTo>
                  <a:lnTo>
                    <a:pt x="128" y="44"/>
                  </a:lnTo>
                  <a:lnTo>
                    <a:pt x="120" y="38"/>
                  </a:lnTo>
                  <a:lnTo>
                    <a:pt x="111" y="32"/>
                  </a:lnTo>
                  <a:lnTo>
                    <a:pt x="103" y="27"/>
                  </a:lnTo>
                  <a:lnTo>
                    <a:pt x="94" y="22"/>
                  </a:lnTo>
                  <a:lnTo>
                    <a:pt x="23" y="22"/>
                  </a:lnTo>
                  <a:lnTo>
                    <a:pt x="23" y="73"/>
                  </a:lnTo>
                  <a:close/>
                  <a:moveTo>
                    <a:pt x="177" y="99"/>
                  </a:moveTo>
                  <a:lnTo>
                    <a:pt x="11" y="99"/>
                  </a:lnTo>
                  <a:lnTo>
                    <a:pt x="7" y="98"/>
                  </a:lnTo>
                  <a:lnTo>
                    <a:pt x="3" y="94"/>
                  </a:lnTo>
                  <a:lnTo>
                    <a:pt x="1" y="90"/>
                  </a:lnTo>
                  <a:lnTo>
                    <a:pt x="0" y="85"/>
                  </a:lnTo>
                  <a:lnTo>
                    <a:pt x="0" y="11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15" y="6"/>
                  </a:lnTo>
                  <a:lnTo>
                    <a:pt x="127" y="13"/>
                  </a:lnTo>
                  <a:lnTo>
                    <a:pt x="139" y="22"/>
                  </a:lnTo>
                  <a:lnTo>
                    <a:pt x="150" y="32"/>
                  </a:lnTo>
                  <a:lnTo>
                    <a:pt x="161" y="43"/>
                  </a:lnTo>
                  <a:lnTo>
                    <a:pt x="171" y="54"/>
                  </a:lnTo>
                  <a:lnTo>
                    <a:pt x="180" y="67"/>
                  </a:lnTo>
                  <a:lnTo>
                    <a:pt x="188" y="81"/>
                  </a:lnTo>
                  <a:lnTo>
                    <a:pt x="189" y="84"/>
                  </a:lnTo>
                  <a:lnTo>
                    <a:pt x="189" y="87"/>
                  </a:lnTo>
                  <a:lnTo>
                    <a:pt x="189" y="89"/>
                  </a:lnTo>
                  <a:lnTo>
                    <a:pt x="188" y="92"/>
                  </a:lnTo>
                  <a:lnTo>
                    <a:pt x="186" y="95"/>
                  </a:lnTo>
                  <a:lnTo>
                    <a:pt x="183" y="97"/>
                  </a:lnTo>
                  <a:lnTo>
                    <a:pt x="181" y="98"/>
                  </a:lnTo>
                  <a:lnTo>
                    <a:pt x="177" y="9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3" name="Freeform 270"/>
            <p:cNvSpPr>
              <a:spLocks/>
            </p:cNvSpPr>
            <p:nvPr/>
          </p:nvSpPr>
          <p:spPr bwMode="auto">
            <a:xfrm>
              <a:off x="3302000" y="5707063"/>
              <a:ext cx="34925" cy="57150"/>
            </a:xfrm>
            <a:custGeom>
              <a:avLst/>
              <a:gdLst>
                <a:gd name="T0" fmla="*/ 11 w 88"/>
                <a:gd name="T1" fmla="*/ 144 h 144"/>
                <a:gd name="T2" fmla="*/ 8 w 88"/>
                <a:gd name="T3" fmla="*/ 144 h 144"/>
                <a:gd name="T4" fmla="*/ 6 w 88"/>
                <a:gd name="T5" fmla="*/ 142 h 144"/>
                <a:gd name="T6" fmla="*/ 2 w 88"/>
                <a:gd name="T7" fmla="*/ 140 h 144"/>
                <a:gd name="T8" fmla="*/ 0 w 88"/>
                <a:gd name="T9" fmla="*/ 136 h 144"/>
                <a:gd name="T10" fmla="*/ 0 w 88"/>
                <a:gd name="T11" fmla="*/ 131 h 144"/>
                <a:gd name="T12" fmla="*/ 1 w 88"/>
                <a:gd name="T13" fmla="*/ 126 h 144"/>
                <a:gd name="T14" fmla="*/ 64 w 88"/>
                <a:gd name="T15" fmla="*/ 7 h 144"/>
                <a:gd name="T16" fmla="*/ 67 w 88"/>
                <a:gd name="T17" fmla="*/ 2 h 144"/>
                <a:gd name="T18" fmla="*/ 71 w 88"/>
                <a:gd name="T19" fmla="*/ 0 h 144"/>
                <a:gd name="T20" fmla="*/ 74 w 88"/>
                <a:gd name="T21" fmla="*/ 0 h 144"/>
                <a:gd name="T22" fmla="*/ 78 w 88"/>
                <a:gd name="T23" fmla="*/ 0 h 144"/>
                <a:gd name="T24" fmla="*/ 82 w 88"/>
                <a:gd name="T25" fmla="*/ 2 h 144"/>
                <a:gd name="T26" fmla="*/ 85 w 88"/>
                <a:gd name="T27" fmla="*/ 5 h 144"/>
                <a:gd name="T28" fmla="*/ 87 w 88"/>
                <a:gd name="T29" fmla="*/ 8 h 144"/>
                <a:gd name="T30" fmla="*/ 88 w 88"/>
                <a:gd name="T31" fmla="*/ 12 h 144"/>
                <a:gd name="T32" fmla="*/ 88 w 88"/>
                <a:gd name="T33" fmla="*/ 104 h 144"/>
                <a:gd name="T34" fmla="*/ 87 w 88"/>
                <a:gd name="T35" fmla="*/ 108 h 144"/>
                <a:gd name="T36" fmla="*/ 84 w 88"/>
                <a:gd name="T37" fmla="*/ 111 h 144"/>
                <a:gd name="T38" fmla="*/ 80 w 88"/>
                <a:gd name="T39" fmla="*/ 114 h 144"/>
                <a:gd name="T40" fmla="*/ 75 w 88"/>
                <a:gd name="T41" fmla="*/ 115 h 144"/>
                <a:gd name="T42" fmla="*/ 71 w 88"/>
                <a:gd name="T43" fmla="*/ 114 h 144"/>
                <a:gd name="T44" fmla="*/ 67 w 88"/>
                <a:gd name="T45" fmla="*/ 111 h 144"/>
                <a:gd name="T46" fmla="*/ 64 w 88"/>
                <a:gd name="T47" fmla="*/ 108 h 144"/>
                <a:gd name="T48" fmla="*/ 63 w 88"/>
                <a:gd name="T49" fmla="*/ 104 h 144"/>
                <a:gd name="T50" fmla="*/ 63 w 88"/>
                <a:gd name="T51" fmla="*/ 59 h 144"/>
                <a:gd name="T52" fmla="*/ 22 w 88"/>
                <a:gd name="T53" fmla="*/ 137 h 144"/>
                <a:gd name="T54" fmla="*/ 20 w 88"/>
                <a:gd name="T55" fmla="*/ 141 h 144"/>
                <a:gd name="T56" fmla="*/ 17 w 88"/>
                <a:gd name="T57" fmla="*/ 143 h 144"/>
                <a:gd name="T58" fmla="*/ 14 w 88"/>
                <a:gd name="T59" fmla="*/ 144 h 144"/>
                <a:gd name="T60" fmla="*/ 11 w 88"/>
                <a:gd name="T6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8" h="144">
                  <a:moveTo>
                    <a:pt x="11" y="144"/>
                  </a:moveTo>
                  <a:lnTo>
                    <a:pt x="8" y="144"/>
                  </a:lnTo>
                  <a:lnTo>
                    <a:pt x="6" y="142"/>
                  </a:lnTo>
                  <a:lnTo>
                    <a:pt x="2" y="140"/>
                  </a:lnTo>
                  <a:lnTo>
                    <a:pt x="0" y="136"/>
                  </a:lnTo>
                  <a:lnTo>
                    <a:pt x="0" y="131"/>
                  </a:lnTo>
                  <a:lnTo>
                    <a:pt x="1" y="126"/>
                  </a:lnTo>
                  <a:lnTo>
                    <a:pt x="64" y="7"/>
                  </a:lnTo>
                  <a:lnTo>
                    <a:pt x="67" y="2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82" y="2"/>
                  </a:lnTo>
                  <a:lnTo>
                    <a:pt x="85" y="5"/>
                  </a:lnTo>
                  <a:lnTo>
                    <a:pt x="87" y="8"/>
                  </a:lnTo>
                  <a:lnTo>
                    <a:pt x="88" y="12"/>
                  </a:lnTo>
                  <a:lnTo>
                    <a:pt x="88" y="104"/>
                  </a:lnTo>
                  <a:lnTo>
                    <a:pt x="87" y="108"/>
                  </a:lnTo>
                  <a:lnTo>
                    <a:pt x="84" y="111"/>
                  </a:lnTo>
                  <a:lnTo>
                    <a:pt x="80" y="114"/>
                  </a:lnTo>
                  <a:lnTo>
                    <a:pt x="75" y="115"/>
                  </a:lnTo>
                  <a:lnTo>
                    <a:pt x="71" y="114"/>
                  </a:lnTo>
                  <a:lnTo>
                    <a:pt x="67" y="111"/>
                  </a:lnTo>
                  <a:lnTo>
                    <a:pt x="64" y="108"/>
                  </a:lnTo>
                  <a:lnTo>
                    <a:pt x="63" y="104"/>
                  </a:lnTo>
                  <a:lnTo>
                    <a:pt x="63" y="59"/>
                  </a:lnTo>
                  <a:lnTo>
                    <a:pt x="22" y="137"/>
                  </a:lnTo>
                  <a:lnTo>
                    <a:pt x="20" y="141"/>
                  </a:lnTo>
                  <a:lnTo>
                    <a:pt x="17" y="143"/>
                  </a:lnTo>
                  <a:lnTo>
                    <a:pt x="14" y="144"/>
                  </a:lnTo>
                  <a:lnTo>
                    <a:pt x="11" y="14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4" name="Freeform 271"/>
            <p:cNvSpPr>
              <a:spLocks/>
            </p:cNvSpPr>
            <p:nvPr/>
          </p:nvSpPr>
          <p:spPr bwMode="auto">
            <a:xfrm>
              <a:off x="3327400" y="5786438"/>
              <a:ext cx="9525" cy="41275"/>
            </a:xfrm>
            <a:custGeom>
              <a:avLst/>
              <a:gdLst>
                <a:gd name="T0" fmla="*/ 12 w 25"/>
                <a:gd name="T1" fmla="*/ 101 h 101"/>
                <a:gd name="T2" fmla="*/ 8 w 25"/>
                <a:gd name="T3" fmla="*/ 100 h 101"/>
                <a:gd name="T4" fmla="*/ 4 w 25"/>
                <a:gd name="T5" fmla="*/ 98 h 101"/>
                <a:gd name="T6" fmla="*/ 1 w 25"/>
                <a:gd name="T7" fmla="*/ 94 h 101"/>
                <a:gd name="T8" fmla="*/ 0 w 25"/>
                <a:gd name="T9" fmla="*/ 89 h 101"/>
                <a:gd name="T10" fmla="*/ 0 w 25"/>
                <a:gd name="T11" fmla="*/ 13 h 101"/>
                <a:gd name="T12" fmla="*/ 1 w 25"/>
                <a:gd name="T13" fmla="*/ 8 h 101"/>
                <a:gd name="T14" fmla="*/ 4 w 25"/>
                <a:gd name="T15" fmla="*/ 3 h 101"/>
                <a:gd name="T16" fmla="*/ 8 w 25"/>
                <a:gd name="T17" fmla="*/ 1 h 101"/>
                <a:gd name="T18" fmla="*/ 12 w 25"/>
                <a:gd name="T19" fmla="*/ 0 h 101"/>
                <a:gd name="T20" fmla="*/ 17 w 25"/>
                <a:gd name="T21" fmla="*/ 1 h 101"/>
                <a:gd name="T22" fmla="*/ 21 w 25"/>
                <a:gd name="T23" fmla="*/ 3 h 101"/>
                <a:gd name="T24" fmla="*/ 24 w 25"/>
                <a:gd name="T25" fmla="*/ 8 h 101"/>
                <a:gd name="T26" fmla="*/ 25 w 25"/>
                <a:gd name="T27" fmla="*/ 13 h 101"/>
                <a:gd name="T28" fmla="*/ 25 w 25"/>
                <a:gd name="T29" fmla="*/ 89 h 101"/>
                <a:gd name="T30" fmla="*/ 24 w 25"/>
                <a:gd name="T31" fmla="*/ 94 h 101"/>
                <a:gd name="T32" fmla="*/ 21 w 25"/>
                <a:gd name="T33" fmla="*/ 98 h 101"/>
                <a:gd name="T34" fmla="*/ 17 w 25"/>
                <a:gd name="T35" fmla="*/ 100 h 101"/>
                <a:gd name="T36" fmla="*/ 12 w 25"/>
                <a:gd name="T3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01">
                  <a:moveTo>
                    <a:pt x="12" y="101"/>
                  </a:moveTo>
                  <a:lnTo>
                    <a:pt x="8" y="100"/>
                  </a:lnTo>
                  <a:lnTo>
                    <a:pt x="4" y="98"/>
                  </a:lnTo>
                  <a:lnTo>
                    <a:pt x="1" y="94"/>
                  </a:lnTo>
                  <a:lnTo>
                    <a:pt x="0" y="89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4" y="8"/>
                  </a:lnTo>
                  <a:lnTo>
                    <a:pt x="25" y="13"/>
                  </a:lnTo>
                  <a:lnTo>
                    <a:pt x="25" y="89"/>
                  </a:lnTo>
                  <a:lnTo>
                    <a:pt x="24" y="94"/>
                  </a:lnTo>
                  <a:lnTo>
                    <a:pt x="21" y="98"/>
                  </a:lnTo>
                  <a:lnTo>
                    <a:pt x="17" y="100"/>
                  </a:lnTo>
                  <a:lnTo>
                    <a:pt x="12" y="10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5" name="Freeform 272"/>
            <p:cNvSpPr>
              <a:spLocks/>
            </p:cNvSpPr>
            <p:nvPr/>
          </p:nvSpPr>
          <p:spPr bwMode="auto">
            <a:xfrm>
              <a:off x="3470275" y="5786438"/>
              <a:ext cx="9525" cy="41275"/>
            </a:xfrm>
            <a:custGeom>
              <a:avLst/>
              <a:gdLst>
                <a:gd name="T0" fmla="*/ 11 w 24"/>
                <a:gd name="T1" fmla="*/ 101 h 101"/>
                <a:gd name="T2" fmla="*/ 8 w 24"/>
                <a:gd name="T3" fmla="*/ 100 h 101"/>
                <a:gd name="T4" fmla="*/ 4 w 24"/>
                <a:gd name="T5" fmla="*/ 98 h 101"/>
                <a:gd name="T6" fmla="*/ 2 w 24"/>
                <a:gd name="T7" fmla="*/ 94 h 101"/>
                <a:gd name="T8" fmla="*/ 0 w 24"/>
                <a:gd name="T9" fmla="*/ 89 h 101"/>
                <a:gd name="T10" fmla="*/ 0 w 24"/>
                <a:gd name="T11" fmla="*/ 13 h 101"/>
                <a:gd name="T12" fmla="*/ 2 w 24"/>
                <a:gd name="T13" fmla="*/ 8 h 101"/>
                <a:gd name="T14" fmla="*/ 4 w 24"/>
                <a:gd name="T15" fmla="*/ 3 h 101"/>
                <a:gd name="T16" fmla="*/ 8 w 24"/>
                <a:gd name="T17" fmla="*/ 1 h 101"/>
                <a:gd name="T18" fmla="*/ 11 w 24"/>
                <a:gd name="T19" fmla="*/ 0 h 101"/>
                <a:gd name="T20" fmla="*/ 16 w 24"/>
                <a:gd name="T21" fmla="*/ 1 h 101"/>
                <a:gd name="T22" fmla="*/ 20 w 24"/>
                <a:gd name="T23" fmla="*/ 3 h 101"/>
                <a:gd name="T24" fmla="*/ 24 w 24"/>
                <a:gd name="T25" fmla="*/ 8 h 101"/>
                <a:gd name="T26" fmla="*/ 24 w 24"/>
                <a:gd name="T27" fmla="*/ 13 h 101"/>
                <a:gd name="T28" fmla="*/ 24 w 24"/>
                <a:gd name="T29" fmla="*/ 89 h 101"/>
                <a:gd name="T30" fmla="*/ 24 w 24"/>
                <a:gd name="T31" fmla="*/ 94 h 101"/>
                <a:gd name="T32" fmla="*/ 20 w 24"/>
                <a:gd name="T33" fmla="*/ 98 h 101"/>
                <a:gd name="T34" fmla="*/ 16 w 24"/>
                <a:gd name="T35" fmla="*/ 100 h 101"/>
                <a:gd name="T36" fmla="*/ 11 w 24"/>
                <a:gd name="T3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01">
                  <a:moveTo>
                    <a:pt x="11" y="101"/>
                  </a:moveTo>
                  <a:lnTo>
                    <a:pt x="8" y="100"/>
                  </a:lnTo>
                  <a:lnTo>
                    <a:pt x="4" y="98"/>
                  </a:lnTo>
                  <a:lnTo>
                    <a:pt x="2" y="94"/>
                  </a:lnTo>
                  <a:lnTo>
                    <a:pt x="0" y="89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4" y="8"/>
                  </a:lnTo>
                  <a:lnTo>
                    <a:pt x="24" y="13"/>
                  </a:lnTo>
                  <a:lnTo>
                    <a:pt x="24" y="89"/>
                  </a:lnTo>
                  <a:lnTo>
                    <a:pt x="24" y="94"/>
                  </a:lnTo>
                  <a:lnTo>
                    <a:pt x="20" y="98"/>
                  </a:lnTo>
                  <a:lnTo>
                    <a:pt x="16" y="100"/>
                  </a:lnTo>
                  <a:lnTo>
                    <a:pt x="11" y="10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6" name="Freeform 273"/>
            <p:cNvSpPr>
              <a:spLocks/>
            </p:cNvSpPr>
            <p:nvPr/>
          </p:nvSpPr>
          <p:spPr bwMode="auto">
            <a:xfrm>
              <a:off x="3354388" y="5492750"/>
              <a:ext cx="96838" cy="58738"/>
            </a:xfrm>
            <a:custGeom>
              <a:avLst/>
              <a:gdLst>
                <a:gd name="T0" fmla="*/ 101 w 246"/>
                <a:gd name="T1" fmla="*/ 0 h 147"/>
                <a:gd name="T2" fmla="*/ 92 w 246"/>
                <a:gd name="T3" fmla="*/ 2 h 147"/>
                <a:gd name="T4" fmla="*/ 83 w 246"/>
                <a:gd name="T5" fmla="*/ 5 h 147"/>
                <a:gd name="T6" fmla="*/ 75 w 246"/>
                <a:gd name="T7" fmla="*/ 8 h 147"/>
                <a:gd name="T8" fmla="*/ 68 w 246"/>
                <a:gd name="T9" fmla="*/ 12 h 147"/>
                <a:gd name="T10" fmla="*/ 53 w 246"/>
                <a:gd name="T11" fmla="*/ 21 h 147"/>
                <a:gd name="T12" fmla="*/ 41 w 246"/>
                <a:gd name="T13" fmla="*/ 31 h 147"/>
                <a:gd name="T14" fmla="*/ 28 w 246"/>
                <a:gd name="T15" fmla="*/ 44 h 147"/>
                <a:gd name="T16" fmla="*/ 19 w 246"/>
                <a:gd name="T17" fmla="*/ 57 h 147"/>
                <a:gd name="T18" fmla="*/ 11 w 246"/>
                <a:gd name="T19" fmla="*/ 73 h 147"/>
                <a:gd name="T20" fmla="*/ 5 w 246"/>
                <a:gd name="T21" fmla="*/ 91 h 147"/>
                <a:gd name="T22" fmla="*/ 3 w 246"/>
                <a:gd name="T23" fmla="*/ 104 h 147"/>
                <a:gd name="T24" fmla="*/ 0 w 246"/>
                <a:gd name="T25" fmla="*/ 119 h 147"/>
                <a:gd name="T26" fmla="*/ 0 w 246"/>
                <a:gd name="T27" fmla="*/ 133 h 147"/>
                <a:gd name="T28" fmla="*/ 0 w 246"/>
                <a:gd name="T29" fmla="*/ 147 h 147"/>
                <a:gd name="T30" fmla="*/ 125 w 246"/>
                <a:gd name="T31" fmla="*/ 147 h 147"/>
                <a:gd name="T32" fmla="*/ 143 w 246"/>
                <a:gd name="T33" fmla="*/ 147 h 147"/>
                <a:gd name="T34" fmla="*/ 185 w 246"/>
                <a:gd name="T35" fmla="*/ 147 h 147"/>
                <a:gd name="T36" fmla="*/ 227 w 246"/>
                <a:gd name="T37" fmla="*/ 147 h 147"/>
                <a:gd name="T38" fmla="*/ 245 w 246"/>
                <a:gd name="T39" fmla="*/ 147 h 147"/>
                <a:gd name="T40" fmla="*/ 246 w 246"/>
                <a:gd name="T41" fmla="*/ 141 h 147"/>
                <a:gd name="T42" fmla="*/ 245 w 246"/>
                <a:gd name="T43" fmla="*/ 126 h 147"/>
                <a:gd name="T44" fmla="*/ 243 w 246"/>
                <a:gd name="T45" fmla="*/ 110 h 147"/>
                <a:gd name="T46" fmla="*/ 240 w 246"/>
                <a:gd name="T47" fmla="*/ 102 h 147"/>
                <a:gd name="T48" fmla="*/ 238 w 246"/>
                <a:gd name="T49" fmla="*/ 86 h 147"/>
                <a:gd name="T50" fmla="*/ 233 w 246"/>
                <a:gd name="T51" fmla="*/ 70 h 147"/>
                <a:gd name="T52" fmla="*/ 226 w 246"/>
                <a:gd name="T53" fmla="*/ 56 h 147"/>
                <a:gd name="T54" fmla="*/ 217 w 246"/>
                <a:gd name="T55" fmla="*/ 43 h 147"/>
                <a:gd name="T56" fmla="*/ 210 w 246"/>
                <a:gd name="T57" fmla="*/ 35 h 147"/>
                <a:gd name="T58" fmla="*/ 202 w 246"/>
                <a:gd name="T59" fmla="*/ 28 h 147"/>
                <a:gd name="T60" fmla="*/ 195 w 246"/>
                <a:gd name="T61" fmla="*/ 22 h 147"/>
                <a:gd name="T62" fmla="*/ 186 w 246"/>
                <a:gd name="T63" fmla="*/ 16 h 147"/>
                <a:gd name="T64" fmla="*/ 177 w 246"/>
                <a:gd name="T65" fmla="*/ 11 h 147"/>
                <a:gd name="T66" fmla="*/ 168 w 246"/>
                <a:gd name="T67" fmla="*/ 7 h 147"/>
                <a:gd name="T68" fmla="*/ 158 w 246"/>
                <a:gd name="T69" fmla="*/ 4 h 147"/>
                <a:gd name="T70" fmla="*/ 148 w 246"/>
                <a:gd name="T71" fmla="*/ 0 h 147"/>
                <a:gd name="T72" fmla="*/ 101 w 246"/>
                <a:gd name="T7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6" h="147">
                  <a:moveTo>
                    <a:pt x="101" y="0"/>
                  </a:moveTo>
                  <a:lnTo>
                    <a:pt x="92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2"/>
                  </a:lnTo>
                  <a:lnTo>
                    <a:pt x="53" y="21"/>
                  </a:lnTo>
                  <a:lnTo>
                    <a:pt x="41" y="31"/>
                  </a:lnTo>
                  <a:lnTo>
                    <a:pt x="28" y="44"/>
                  </a:lnTo>
                  <a:lnTo>
                    <a:pt x="19" y="57"/>
                  </a:lnTo>
                  <a:lnTo>
                    <a:pt x="11" y="73"/>
                  </a:lnTo>
                  <a:lnTo>
                    <a:pt x="5" y="91"/>
                  </a:lnTo>
                  <a:lnTo>
                    <a:pt x="3" y="104"/>
                  </a:lnTo>
                  <a:lnTo>
                    <a:pt x="0" y="119"/>
                  </a:lnTo>
                  <a:lnTo>
                    <a:pt x="0" y="133"/>
                  </a:lnTo>
                  <a:lnTo>
                    <a:pt x="0" y="147"/>
                  </a:lnTo>
                  <a:lnTo>
                    <a:pt x="125" y="147"/>
                  </a:lnTo>
                  <a:lnTo>
                    <a:pt x="143" y="147"/>
                  </a:lnTo>
                  <a:lnTo>
                    <a:pt x="185" y="147"/>
                  </a:lnTo>
                  <a:lnTo>
                    <a:pt x="227" y="147"/>
                  </a:lnTo>
                  <a:lnTo>
                    <a:pt x="245" y="147"/>
                  </a:lnTo>
                  <a:lnTo>
                    <a:pt x="246" y="141"/>
                  </a:lnTo>
                  <a:lnTo>
                    <a:pt x="245" y="126"/>
                  </a:lnTo>
                  <a:lnTo>
                    <a:pt x="243" y="110"/>
                  </a:lnTo>
                  <a:lnTo>
                    <a:pt x="240" y="102"/>
                  </a:lnTo>
                  <a:lnTo>
                    <a:pt x="238" y="86"/>
                  </a:lnTo>
                  <a:lnTo>
                    <a:pt x="233" y="70"/>
                  </a:lnTo>
                  <a:lnTo>
                    <a:pt x="226" y="56"/>
                  </a:lnTo>
                  <a:lnTo>
                    <a:pt x="217" y="43"/>
                  </a:lnTo>
                  <a:lnTo>
                    <a:pt x="210" y="35"/>
                  </a:lnTo>
                  <a:lnTo>
                    <a:pt x="202" y="28"/>
                  </a:lnTo>
                  <a:lnTo>
                    <a:pt x="195" y="22"/>
                  </a:lnTo>
                  <a:lnTo>
                    <a:pt x="186" y="16"/>
                  </a:lnTo>
                  <a:lnTo>
                    <a:pt x="177" y="11"/>
                  </a:lnTo>
                  <a:lnTo>
                    <a:pt x="168" y="7"/>
                  </a:lnTo>
                  <a:lnTo>
                    <a:pt x="158" y="4"/>
                  </a:lnTo>
                  <a:lnTo>
                    <a:pt x="148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7" name="Freeform 274"/>
            <p:cNvSpPr>
              <a:spLocks/>
            </p:cNvSpPr>
            <p:nvPr/>
          </p:nvSpPr>
          <p:spPr bwMode="auto">
            <a:xfrm>
              <a:off x="3348038" y="5487988"/>
              <a:ext cx="107950" cy="68263"/>
            </a:xfrm>
            <a:custGeom>
              <a:avLst/>
              <a:gdLst>
                <a:gd name="T0" fmla="*/ 12 w 271"/>
                <a:gd name="T1" fmla="*/ 171 h 171"/>
                <a:gd name="T2" fmla="*/ 4 w 271"/>
                <a:gd name="T3" fmla="*/ 168 h 171"/>
                <a:gd name="T4" fmla="*/ 0 w 271"/>
                <a:gd name="T5" fmla="*/ 160 h 171"/>
                <a:gd name="T6" fmla="*/ 1 w 271"/>
                <a:gd name="T7" fmla="*/ 128 h 171"/>
                <a:gd name="T8" fmla="*/ 6 w 271"/>
                <a:gd name="T9" fmla="*/ 99 h 171"/>
                <a:gd name="T10" fmla="*/ 12 w 271"/>
                <a:gd name="T11" fmla="*/ 79 h 171"/>
                <a:gd name="T12" fmla="*/ 21 w 271"/>
                <a:gd name="T13" fmla="*/ 62 h 171"/>
                <a:gd name="T14" fmla="*/ 32 w 271"/>
                <a:gd name="T15" fmla="*/ 46 h 171"/>
                <a:gd name="T16" fmla="*/ 44 w 271"/>
                <a:gd name="T17" fmla="*/ 33 h 171"/>
                <a:gd name="T18" fmla="*/ 59 w 271"/>
                <a:gd name="T19" fmla="*/ 21 h 171"/>
                <a:gd name="T20" fmla="*/ 75 w 271"/>
                <a:gd name="T21" fmla="*/ 12 h 171"/>
                <a:gd name="T22" fmla="*/ 92 w 271"/>
                <a:gd name="T23" fmla="*/ 5 h 171"/>
                <a:gd name="T24" fmla="*/ 110 w 271"/>
                <a:gd name="T25" fmla="*/ 0 h 171"/>
                <a:gd name="T26" fmla="*/ 119 w 271"/>
                <a:gd name="T27" fmla="*/ 1 h 171"/>
                <a:gd name="T28" fmla="*/ 124 w 271"/>
                <a:gd name="T29" fmla="*/ 10 h 171"/>
                <a:gd name="T30" fmla="*/ 122 w 271"/>
                <a:gd name="T31" fmla="*/ 18 h 171"/>
                <a:gd name="T32" fmla="*/ 114 w 271"/>
                <a:gd name="T33" fmla="*/ 23 h 171"/>
                <a:gd name="T34" fmla="*/ 86 w 271"/>
                <a:gd name="T35" fmla="*/ 33 h 171"/>
                <a:gd name="T36" fmla="*/ 60 w 271"/>
                <a:gd name="T37" fmla="*/ 51 h 171"/>
                <a:gd name="T38" fmla="*/ 42 w 271"/>
                <a:gd name="T39" fmla="*/ 75 h 171"/>
                <a:gd name="T40" fmla="*/ 29 w 271"/>
                <a:gd name="T41" fmla="*/ 106 h 171"/>
                <a:gd name="T42" fmla="*/ 24 w 271"/>
                <a:gd name="T43" fmla="*/ 126 h 171"/>
                <a:gd name="T44" fmla="*/ 23 w 271"/>
                <a:gd name="T45" fmla="*/ 147 h 171"/>
                <a:gd name="T46" fmla="*/ 245 w 271"/>
                <a:gd name="T47" fmla="*/ 135 h 171"/>
                <a:gd name="T48" fmla="*/ 241 w 271"/>
                <a:gd name="T49" fmla="*/ 113 h 171"/>
                <a:gd name="T50" fmla="*/ 234 w 271"/>
                <a:gd name="T51" fmla="*/ 86 h 171"/>
                <a:gd name="T52" fmla="*/ 219 w 271"/>
                <a:gd name="T53" fmla="*/ 61 h 171"/>
                <a:gd name="T54" fmla="*/ 207 w 271"/>
                <a:gd name="T55" fmla="*/ 49 h 171"/>
                <a:gd name="T56" fmla="*/ 192 w 271"/>
                <a:gd name="T57" fmla="*/ 38 h 171"/>
                <a:gd name="T58" fmla="*/ 175 w 271"/>
                <a:gd name="T59" fmla="*/ 31 h 171"/>
                <a:gd name="T60" fmla="*/ 158 w 271"/>
                <a:gd name="T61" fmla="*/ 24 h 171"/>
                <a:gd name="T62" fmla="*/ 151 w 271"/>
                <a:gd name="T63" fmla="*/ 18 h 171"/>
                <a:gd name="T64" fmla="*/ 148 w 271"/>
                <a:gd name="T65" fmla="*/ 10 h 171"/>
                <a:gd name="T66" fmla="*/ 153 w 271"/>
                <a:gd name="T67" fmla="*/ 4 h 171"/>
                <a:gd name="T68" fmla="*/ 163 w 271"/>
                <a:gd name="T69" fmla="*/ 0 h 171"/>
                <a:gd name="T70" fmla="*/ 185 w 271"/>
                <a:gd name="T71" fmla="*/ 7 h 171"/>
                <a:gd name="T72" fmla="*/ 204 w 271"/>
                <a:gd name="T73" fmla="*/ 17 h 171"/>
                <a:gd name="T74" fmla="*/ 223 w 271"/>
                <a:gd name="T75" fmla="*/ 31 h 171"/>
                <a:gd name="T76" fmla="*/ 239 w 271"/>
                <a:gd name="T77" fmla="*/ 48 h 171"/>
                <a:gd name="T78" fmla="*/ 256 w 271"/>
                <a:gd name="T79" fmla="*/ 76 h 171"/>
                <a:gd name="T80" fmla="*/ 266 w 271"/>
                <a:gd name="T81" fmla="*/ 110 h 171"/>
                <a:gd name="T82" fmla="*/ 269 w 271"/>
                <a:gd name="T83" fmla="*/ 139 h 171"/>
                <a:gd name="T84" fmla="*/ 269 w 271"/>
                <a:gd name="T85" fmla="*/ 162 h 171"/>
                <a:gd name="T86" fmla="*/ 262 w 271"/>
                <a:gd name="T87" fmla="*/ 17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1" h="171">
                  <a:moveTo>
                    <a:pt x="257" y="171"/>
                  </a:moveTo>
                  <a:lnTo>
                    <a:pt x="12" y="171"/>
                  </a:lnTo>
                  <a:lnTo>
                    <a:pt x="7" y="170"/>
                  </a:lnTo>
                  <a:lnTo>
                    <a:pt x="4" y="168"/>
                  </a:lnTo>
                  <a:lnTo>
                    <a:pt x="1" y="164"/>
                  </a:lnTo>
                  <a:lnTo>
                    <a:pt x="0" y="160"/>
                  </a:lnTo>
                  <a:lnTo>
                    <a:pt x="0" y="143"/>
                  </a:lnTo>
                  <a:lnTo>
                    <a:pt x="1" y="128"/>
                  </a:lnTo>
                  <a:lnTo>
                    <a:pt x="2" y="113"/>
                  </a:lnTo>
                  <a:lnTo>
                    <a:pt x="6" y="99"/>
                  </a:lnTo>
                  <a:lnTo>
                    <a:pt x="8" y="89"/>
                  </a:lnTo>
                  <a:lnTo>
                    <a:pt x="12" y="79"/>
                  </a:lnTo>
                  <a:lnTo>
                    <a:pt x="16" y="71"/>
                  </a:lnTo>
                  <a:lnTo>
                    <a:pt x="21" y="62"/>
                  </a:lnTo>
                  <a:lnTo>
                    <a:pt x="26" y="54"/>
                  </a:lnTo>
                  <a:lnTo>
                    <a:pt x="32" y="46"/>
                  </a:lnTo>
                  <a:lnTo>
                    <a:pt x="38" y="39"/>
                  </a:lnTo>
                  <a:lnTo>
                    <a:pt x="44" y="33"/>
                  </a:lnTo>
                  <a:lnTo>
                    <a:pt x="51" y="27"/>
                  </a:lnTo>
                  <a:lnTo>
                    <a:pt x="59" y="21"/>
                  </a:lnTo>
                  <a:lnTo>
                    <a:pt x="66" y="16"/>
                  </a:lnTo>
                  <a:lnTo>
                    <a:pt x="75" y="12"/>
                  </a:lnTo>
                  <a:lnTo>
                    <a:pt x="83" y="8"/>
                  </a:lnTo>
                  <a:lnTo>
                    <a:pt x="92" y="5"/>
                  </a:lnTo>
                  <a:lnTo>
                    <a:pt x="100" y="2"/>
                  </a:lnTo>
                  <a:lnTo>
                    <a:pt x="110" y="0"/>
                  </a:lnTo>
                  <a:lnTo>
                    <a:pt x="115" y="0"/>
                  </a:lnTo>
                  <a:lnTo>
                    <a:pt x="119" y="1"/>
                  </a:lnTo>
                  <a:lnTo>
                    <a:pt x="122" y="5"/>
                  </a:lnTo>
                  <a:lnTo>
                    <a:pt x="124" y="10"/>
                  </a:lnTo>
                  <a:lnTo>
                    <a:pt x="124" y="15"/>
                  </a:lnTo>
                  <a:lnTo>
                    <a:pt x="122" y="18"/>
                  </a:lnTo>
                  <a:lnTo>
                    <a:pt x="119" y="22"/>
                  </a:lnTo>
                  <a:lnTo>
                    <a:pt x="114" y="23"/>
                  </a:lnTo>
                  <a:lnTo>
                    <a:pt x="99" y="27"/>
                  </a:lnTo>
                  <a:lnTo>
                    <a:pt x="86" y="33"/>
                  </a:lnTo>
                  <a:lnTo>
                    <a:pt x="72" y="42"/>
                  </a:lnTo>
                  <a:lnTo>
                    <a:pt x="60" y="51"/>
                  </a:lnTo>
                  <a:lnTo>
                    <a:pt x="50" y="62"/>
                  </a:lnTo>
                  <a:lnTo>
                    <a:pt x="42" y="75"/>
                  </a:lnTo>
                  <a:lnTo>
                    <a:pt x="34" y="89"/>
                  </a:lnTo>
                  <a:lnTo>
                    <a:pt x="29" y="106"/>
                  </a:lnTo>
                  <a:lnTo>
                    <a:pt x="27" y="116"/>
                  </a:lnTo>
                  <a:lnTo>
                    <a:pt x="24" y="126"/>
                  </a:lnTo>
                  <a:lnTo>
                    <a:pt x="24" y="136"/>
                  </a:lnTo>
                  <a:lnTo>
                    <a:pt x="23" y="147"/>
                  </a:lnTo>
                  <a:lnTo>
                    <a:pt x="246" y="147"/>
                  </a:lnTo>
                  <a:lnTo>
                    <a:pt x="245" y="135"/>
                  </a:lnTo>
                  <a:lnTo>
                    <a:pt x="241" y="117"/>
                  </a:lnTo>
                  <a:lnTo>
                    <a:pt x="241" y="113"/>
                  </a:lnTo>
                  <a:lnTo>
                    <a:pt x="239" y="99"/>
                  </a:lnTo>
                  <a:lnTo>
                    <a:pt x="234" y="86"/>
                  </a:lnTo>
                  <a:lnTo>
                    <a:pt x="228" y="73"/>
                  </a:lnTo>
                  <a:lnTo>
                    <a:pt x="219" y="61"/>
                  </a:lnTo>
                  <a:lnTo>
                    <a:pt x="213" y="55"/>
                  </a:lnTo>
                  <a:lnTo>
                    <a:pt x="207" y="49"/>
                  </a:lnTo>
                  <a:lnTo>
                    <a:pt x="200" y="43"/>
                  </a:lnTo>
                  <a:lnTo>
                    <a:pt x="192" y="38"/>
                  </a:lnTo>
                  <a:lnTo>
                    <a:pt x="184" y="33"/>
                  </a:lnTo>
                  <a:lnTo>
                    <a:pt x="175" y="31"/>
                  </a:lnTo>
                  <a:lnTo>
                    <a:pt x="167" y="27"/>
                  </a:lnTo>
                  <a:lnTo>
                    <a:pt x="158" y="24"/>
                  </a:lnTo>
                  <a:lnTo>
                    <a:pt x="153" y="22"/>
                  </a:lnTo>
                  <a:lnTo>
                    <a:pt x="151" y="18"/>
                  </a:lnTo>
                  <a:lnTo>
                    <a:pt x="148" y="15"/>
                  </a:lnTo>
                  <a:lnTo>
                    <a:pt x="148" y="10"/>
                  </a:lnTo>
                  <a:lnTo>
                    <a:pt x="151" y="6"/>
                  </a:lnTo>
                  <a:lnTo>
                    <a:pt x="153" y="4"/>
                  </a:lnTo>
                  <a:lnTo>
                    <a:pt x="158" y="1"/>
                  </a:lnTo>
                  <a:lnTo>
                    <a:pt x="163" y="0"/>
                  </a:lnTo>
                  <a:lnTo>
                    <a:pt x="174" y="4"/>
                  </a:lnTo>
                  <a:lnTo>
                    <a:pt x="185" y="7"/>
                  </a:lnTo>
                  <a:lnTo>
                    <a:pt x="195" y="12"/>
                  </a:lnTo>
                  <a:lnTo>
                    <a:pt x="204" y="17"/>
                  </a:lnTo>
                  <a:lnTo>
                    <a:pt x="214" y="23"/>
                  </a:lnTo>
                  <a:lnTo>
                    <a:pt x="223" y="31"/>
                  </a:lnTo>
                  <a:lnTo>
                    <a:pt x="231" y="39"/>
                  </a:lnTo>
                  <a:lnTo>
                    <a:pt x="239" y="48"/>
                  </a:lnTo>
                  <a:lnTo>
                    <a:pt x="249" y="61"/>
                  </a:lnTo>
                  <a:lnTo>
                    <a:pt x="256" y="76"/>
                  </a:lnTo>
                  <a:lnTo>
                    <a:pt x="262" y="93"/>
                  </a:lnTo>
                  <a:lnTo>
                    <a:pt x="266" y="110"/>
                  </a:lnTo>
                  <a:lnTo>
                    <a:pt x="266" y="115"/>
                  </a:lnTo>
                  <a:lnTo>
                    <a:pt x="269" y="139"/>
                  </a:lnTo>
                  <a:lnTo>
                    <a:pt x="271" y="154"/>
                  </a:lnTo>
                  <a:lnTo>
                    <a:pt x="269" y="162"/>
                  </a:lnTo>
                  <a:lnTo>
                    <a:pt x="267" y="166"/>
                  </a:lnTo>
                  <a:lnTo>
                    <a:pt x="262" y="170"/>
                  </a:lnTo>
                  <a:lnTo>
                    <a:pt x="257" y="17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8" name="Freeform 275"/>
            <p:cNvSpPr>
              <a:spLocks/>
            </p:cNvSpPr>
            <p:nvPr/>
          </p:nvSpPr>
          <p:spPr bwMode="auto">
            <a:xfrm>
              <a:off x="3392488" y="5481638"/>
              <a:ext cx="20638" cy="34925"/>
            </a:xfrm>
            <a:custGeom>
              <a:avLst/>
              <a:gdLst>
                <a:gd name="T0" fmla="*/ 43 w 50"/>
                <a:gd name="T1" fmla="*/ 87 h 87"/>
                <a:gd name="T2" fmla="*/ 8 w 50"/>
                <a:gd name="T3" fmla="*/ 87 h 87"/>
                <a:gd name="T4" fmla="*/ 0 w 50"/>
                <a:gd name="T5" fmla="*/ 0 h 87"/>
                <a:gd name="T6" fmla="*/ 50 w 50"/>
                <a:gd name="T7" fmla="*/ 0 h 87"/>
                <a:gd name="T8" fmla="*/ 43 w 50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87">
                  <a:moveTo>
                    <a:pt x="43" y="87"/>
                  </a:moveTo>
                  <a:lnTo>
                    <a:pt x="8" y="87"/>
                  </a:lnTo>
                  <a:lnTo>
                    <a:pt x="0" y="0"/>
                  </a:lnTo>
                  <a:lnTo>
                    <a:pt x="50" y="0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79" name="Freeform 276"/>
            <p:cNvSpPr>
              <a:spLocks noEditPoints="1"/>
            </p:cNvSpPr>
            <p:nvPr/>
          </p:nvSpPr>
          <p:spPr bwMode="auto">
            <a:xfrm>
              <a:off x="3387725" y="5476875"/>
              <a:ext cx="30163" cy="44450"/>
            </a:xfrm>
            <a:custGeom>
              <a:avLst/>
              <a:gdLst>
                <a:gd name="T0" fmla="*/ 31 w 75"/>
                <a:gd name="T1" fmla="*/ 88 h 110"/>
                <a:gd name="T2" fmla="*/ 44 w 75"/>
                <a:gd name="T3" fmla="*/ 88 h 110"/>
                <a:gd name="T4" fmla="*/ 49 w 75"/>
                <a:gd name="T5" fmla="*/ 25 h 110"/>
                <a:gd name="T6" fmla="*/ 24 w 75"/>
                <a:gd name="T7" fmla="*/ 25 h 110"/>
                <a:gd name="T8" fmla="*/ 31 w 75"/>
                <a:gd name="T9" fmla="*/ 88 h 110"/>
                <a:gd name="T10" fmla="*/ 55 w 75"/>
                <a:gd name="T11" fmla="*/ 110 h 110"/>
                <a:gd name="T12" fmla="*/ 20 w 75"/>
                <a:gd name="T13" fmla="*/ 110 h 110"/>
                <a:gd name="T14" fmla="*/ 15 w 75"/>
                <a:gd name="T15" fmla="*/ 110 h 110"/>
                <a:gd name="T16" fmla="*/ 11 w 75"/>
                <a:gd name="T17" fmla="*/ 107 h 110"/>
                <a:gd name="T18" fmla="*/ 8 w 75"/>
                <a:gd name="T19" fmla="*/ 104 h 110"/>
                <a:gd name="T20" fmla="*/ 7 w 75"/>
                <a:gd name="T21" fmla="*/ 99 h 110"/>
                <a:gd name="T22" fmla="*/ 0 w 75"/>
                <a:gd name="T23" fmla="*/ 13 h 110"/>
                <a:gd name="T24" fmla="*/ 0 w 75"/>
                <a:gd name="T25" fmla="*/ 11 h 110"/>
                <a:gd name="T26" fmla="*/ 1 w 75"/>
                <a:gd name="T27" fmla="*/ 8 h 110"/>
                <a:gd name="T28" fmla="*/ 2 w 75"/>
                <a:gd name="T29" fmla="*/ 6 h 110"/>
                <a:gd name="T30" fmla="*/ 4 w 75"/>
                <a:gd name="T31" fmla="*/ 4 h 110"/>
                <a:gd name="T32" fmla="*/ 7 w 75"/>
                <a:gd name="T33" fmla="*/ 1 h 110"/>
                <a:gd name="T34" fmla="*/ 12 w 75"/>
                <a:gd name="T35" fmla="*/ 0 h 110"/>
                <a:gd name="T36" fmla="*/ 62 w 75"/>
                <a:gd name="T37" fmla="*/ 0 h 110"/>
                <a:gd name="T38" fmla="*/ 67 w 75"/>
                <a:gd name="T39" fmla="*/ 1 h 110"/>
                <a:gd name="T40" fmla="*/ 71 w 75"/>
                <a:gd name="T41" fmla="*/ 4 h 110"/>
                <a:gd name="T42" fmla="*/ 73 w 75"/>
                <a:gd name="T43" fmla="*/ 8 h 110"/>
                <a:gd name="T44" fmla="*/ 75 w 75"/>
                <a:gd name="T45" fmla="*/ 13 h 110"/>
                <a:gd name="T46" fmla="*/ 67 w 75"/>
                <a:gd name="T47" fmla="*/ 99 h 110"/>
                <a:gd name="T48" fmla="*/ 66 w 75"/>
                <a:gd name="T49" fmla="*/ 104 h 110"/>
                <a:gd name="T50" fmla="*/ 64 w 75"/>
                <a:gd name="T51" fmla="*/ 107 h 110"/>
                <a:gd name="T52" fmla="*/ 60 w 75"/>
                <a:gd name="T53" fmla="*/ 110 h 110"/>
                <a:gd name="T54" fmla="*/ 55 w 75"/>
                <a:gd name="T5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" h="110">
                  <a:moveTo>
                    <a:pt x="31" y="88"/>
                  </a:moveTo>
                  <a:lnTo>
                    <a:pt x="44" y="88"/>
                  </a:lnTo>
                  <a:lnTo>
                    <a:pt x="49" y="25"/>
                  </a:lnTo>
                  <a:lnTo>
                    <a:pt x="24" y="25"/>
                  </a:lnTo>
                  <a:lnTo>
                    <a:pt x="31" y="88"/>
                  </a:lnTo>
                  <a:close/>
                  <a:moveTo>
                    <a:pt x="55" y="110"/>
                  </a:moveTo>
                  <a:lnTo>
                    <a:pt x="20" y="110"/>
                  </a:lnTo>
                  <a:lnTo>
                    <a:pt x="15" y="110"/>
                  </a:lnTo>
                  <a:lnTo>
                    <a:pt x="11" y="107"/>
                  </a:lnTo>
                  <a:lnTo>
                    <a:pt x="8" y="104"/>
                  </a:lnTo>
                  <a:lnTo>
                    <a:pt x="7" y="99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1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62" y="0"/>
                  </a:lnTo>
                  <a:lnTo>
                    <a:pt x="67" y="1"/>
                  </a:lnTo>
                  <a:lnTo>
                    <a:pt x="71" y="4"/>
                  </a:lnTo>
                  <a:lnTo>
                    <a:pt x="73" y="8"/>
                  </a:lnTo>
                  <a:lnTo>
                    <a:pt x="75" y="13"/>
                  </a:lnTo>
                  <a:lnTo>
                    <a:pt x="67" y="99"/>
                  </a:lnTo>
                  <a:lnTo>
                    <a:pt x="66" y="104"/>
                  </a:lnTo>
                  <a:lnTo>
                    <a:pt x="64" y="107"/>
                  </a:lnTo>
                  <a:lnTo>
                    <a:pt x="60" y="110"/>
                  </a:lnTo>
                  <a:lnTo>
                    <a:pt x="55" y="11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0" name="Freeform 277"/>
            <p:cNvSpPr>
              <a:spLocks/>
            </p:cNvSpPr>
            <p:nvPr/>
          </p:nvSpPr>
          <p:spPr bwMode="auto">
            <a:xfrm>
              <a:off x="3341688" y="5546725"/>
              <a:ext cx="120650" cy="9525"/>
            </a:xfrm>
            <a:custGeom>
              <a:avLst/>
              <a:gdLst>
                <a:gd name="T0" fmla="*/ 290 w 303"/>
                <a:gd name="T1" fmla="*/ 24 h 24"/>
                <a:gd name="T2" fmla="*/ 11 w 303"/>
                <a:gd name="T3" fmla="*/ 24 h 24"/>
                <a:gd name="T4" fmla="*/ 6 w 303"/>
                <a:gd name="T5" fmla="*/ 23 h 24"/>
                <a:gd name="T6" fmla="*/ 2 w 303"/>
                <a:gd name="T7" fmla="*/ 19 h 24"/>
                <a:gd name="T8" fmla="*/ 0 w 303"/>
                <a:gd name="T9" fmla="*/ 16 h 24"/>
                <a:gd name="T10" fmla="*/ 0 w 303"/>
                <a:gd name="T11" fmla="*/ 11 h 24"/>
                <a:gd name="T12" fmla="*/ 0 w 303"/>
                <a:gd name="T13" fmla="*/ 6 h 24"/>
                <a:gd name="T14" fmla="*/ 2 w 303"/>
                <a:gd name="T15" fmla="*/ 2 h 24"/>
                <a:gd name="T16" fmla="*/ 6 w 303"/>
                <a:gd name="T17" fmla="*/ 0 h 24"/>
                <a:gd name="T18" fmla="*/ 11 w 303"/>
                <a:gd name="T19" fmla="*/ 0 h 24"/>
                <a:gd name="T20" fmla="*/ 290 w 303"/>
                <a:gd name="T21" fmla="*/ 0 h 24"/>
                <a:gd name="T22" fmla="*/ 295 w 303"/>
                <a:gd name="T23" fmla="*/ 0 h 24"/>
                <a:gd name="T24" fmla="*/ 299 w 303"/>
                <a:gd name="T25" fmla="*/ 2 h 24"/>
                <a:gd name="T26" fmla="*/ 301 w 303"/>
                <a:gd name="T27" fmla="*/ 6 h 24"/>
                <a:gd name="T28" fmla="*/ 303 w 303"/>
                <a:gd name="T29" fmla="*/ 11 h 24"/>
                <a:gd name="T30" fmla="*/ 301 w 303"/>
                <a:gd name="T31" fmla="*/ 16 h 24"/>
                <a:gd name="T32" fmla="*/ 299 w 303"/>
                <a:gd name="T33" fmla="*/ 19 h 24"/>
                <a:gd name="T34" fmla="*/ 295 w 303"/>
                <a:gd name="T35" fmla="*/ 23 h 24"/>
                <a:gd name="T36" fmla="*/ 290 w 303"/>
                <a:gd name="T3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3" h="24">
                  <a:moveTo>
                    <a:pt x="290" y="24"/>
                  </a:moveTo>
                  <a:lnTo>
                    <a:pt x="11" y="24"/>
                  </a:lnTo>
                  <a:lnTo>
                    <a:pt x="6" y="23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lnTo>
                    <a:pt x="290" y="0"/>
                  </a:lnTo>
                  <a:lnTo>
                    <a:pt x="295" y="0"/>
                  </a:lnTo>
                  <a:lnTo>
                    <a:pt x="299" y="2"/>
                  </a:lnTo>
                  <a:lnTo>
                    <a:pt x="301" y="6"/>
                  </a:lnTo>
                  <a:lnTo>
                    <a:pt x="303" y="11"/>
                  </a:lnTo>
                  <a:lnTo>
                    <a:pt x="301" y="16"/>
                  </a:lnTo>
                  <a:lnTo>
                    <a:pt x="299" y="19"/>
                  </a:lnTo>
                  <a:lnTo>
                    <a:pt x="295" y="23"/>
                  </a:lnTo>
                  <a:lnTo>
                    <a:pt x="290" y="2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1" name="Freeform 278"/>
            <p:cNvSpPr>
              <a:spLocks noEditPoints="1"/>
            </p:cNvSpPr>
            <p:nvPr/>
          </p:nvSpPr>
          <p:spPr bwMode="auto">
            <a:xfrm>
              <a:off x="3365500" y="5559425"/>
              <a:ext cx="34925" cy="28575"/>
            </a:xfrm>
            <a:custGeom>
              <a:avLst/>
              <a:gdLst>
                <a:gd name="T0" fmla="*/ 34 w 88"/>
                <a:gd name="T1" fmla="*/ 24 h 70"/>
                <a:gd name="T2" fmla="*/ 30 w 88"/>
                <a:gd name="T3" fmla="*/ 26 h 70"/>
                <a:gd name="T4" fmla="*/ 27 w 88"/>
                <a:gd name="T5" fmla="*/ 28 h 70"/>
                <a:gd name="T6" fmla="*/ 24 w 88"/>
                <a:gd name="T7" fmla="*/ 31 h 70"/>
                <a:gd name="T8" fmla="*/ 23 w 88"/>
                <a:gd name="T9" fmla="*/ 34 h 70"/>
                <a:gd name="T10" fmla="*/ 24 w 88"/>
                <a:gd name="T11" fmla="*/ 39 h 70"/>
                <a:gd name="T12" fmla="*/ 27 w 88"/>
                <a:gd name="T13" fmla="*/ 42 h 70"/>
                <a:gd name="T14" fmla="*/ 30 w 88"/>
                <a:gd name="T15" fmla="*/ 44 h 70"/>
                <a:gd name="T16" fmla="*/ 34 w 88"/>
                <a:gd name="T17" fmla="*/ 45 h 70"/>
                <a:gd name="T18" fmla="*/ 53 w 88"/>
                <a:gd name="T19" fmla="*/ 45 h 70"/>
                <a:gd name="T20" fmla="*/ 57 w 88"/>
                <a:gd name="T21" fmla="*/ 44 h 70"/>
                <a:gd name="T22" fmla="*/ 61 w 88"/>
                <a:gd name="T23" fmla="*/ 42 h 70"/>
                <a:gd name="T24" fmla="*/ 63 w 88"/>
                <a:gd name="T25" fmla="*/ 39 h 70"/>
                <a:gd name="T26" fmla="*/ 63 w 88"/>
                <a:gd name="T27" fmla="*/ 34 h 70"/>
                <a:gd name="T28" fmla="*/ 63 w 88"/>
                <a:gd name="T29" fmla="*/ 31 h 70"/>
                <a:gd name="T30" fmla="*/ 61 w 88"/>
                <a:gd name="T31" fmla="*/ 28 h 70"/>
                <a:gd name="T32" fmla="*/ 57 w 88"/>
                <a:gd name="T33" fmla="*/ 26 h 70"/>
                <a:gd name="T34" fmla="*/ 53 w 88"/>
                <a:gd name="T35" fmla="*/ 24 h 70"/>
                <a:gd name="T36" fmla="*/ 34 w 88"/>
                <a:gd name="T37" fmla="*/ 24 h 70"/>
                <a:gd name="T38" fmla="*/ 53 w 88"/>
                <a:gd name="T39" fmla="*/ 70 h 70"/>
                <a:gd name="T40" fmla="*/ 34 w 88"/>
                <a:gd name="T41" fmla="*/ 70 h 70"/>
                <a:gd name="T42" fmla="*/ 27 w 88"/>
                <a:gd name="T43" fmla="*/ 70 h 70"/>
                <a:gd name="T44" fmla="*/ 20 w 88"/>
                <a:gd name="T45" fmla="*/ 67 h 70"/>
                <a:gd name="T46" fmla="*/ 14 w 88"/>
                <a:gd name="T47" fmla="*/ 64 h 70"/>
                <a:gd name="T48" fmla="*/ 9 w 88"/>
                <a:gd name="T49" fmla="*/ 60 h 70"/>
                <a:gd name="T50" fmla="*/ 4 w 88"/>
                <a:gd name="T51" fmla="*/ 54 h 70"/>
                <a:gd name="T52" fmla="*/ 2 w 88"/>
                <a:gd name="T53" fmla="*/ 48 h 70"/>
                <a:gd name="T54" fmla="*/ 0 w 88"/>
                <a:gd name="T55" fmla="*/ 42 h 70"/>
                <a:gd name="T56" fmla="*/ 0 w 88"/>
                <a:gd name="T57" fmla="*/ 34 h 70"/>
                <a:gd name="T58" fmla="*/ 0 w 88"/>
                <a:gd name="T59" fmla="*/ 27 h 70"/>
                <a:gd name="T60" fmla="*/ 2 w 88"/>
                <a:gd name="T61" fmla="*/ 21 h 70"/>
                <a:gd name="T62" fmla="*/ 4 w 88"/>
                <a:gd name="T63" fmla="*/ 16 h 70"/>
                <a:gd name="T64" fmla="*/ 9 w 88"/>
                <a:gd name="T65" fmla="*/ 10 h 70"/>
                <a:gd name="T66" fmla="*/ 14 w 88"/>
                <a:gd name="T67" fmla="*/ 6 h 70"/>
                <a:gd name="T68" fmla="*/ 20 w 88"/>
                <a:gd name="T69" fmla="*/ 2 h 70"/>
                <a:gd name="T70" fmla="*/ 27 w 88"/>
                <a:gd name="T71" fmla="*/ 1 h 70"/>
                <a:gd name="T72" fmla="*/ 34 w 88"/>
                <a:gd name="T73" fmla="*/ 0 h 70"/>
                <a:gd name="T74" fmla="*/ 53 w 88"/>
                <a:gd name="T75" fmla="*/ 0 h 70"/>
                <a:gd name="T76" fmla="*/ 60 w 88"/>
                <a:gd name="T77" fmla="*/ 1 h 70"/>
                <a:gd name="T78" fmla="*/ 67 w 88"/>
                <a:gd name="T79" fmla="*/ 2 h 70"/>
                <a:gd name="T80" fmla="*/ 72 w 88"/>
                <a:gd name="T81" fmla="*/ 6 h 70"/>
                <a:gd name="T82" fmla="*/ 78 w 88"/>
                <a:gd name="T83" fmla="*/ 10 h 70"/>
                <a:gd name="T84" fmla="*/ 82 w 88"/>
                <a:gd name="T85" fmla="*/ 16 h 70"/>
                <a:gd name="T86" fmla="*/ 85 w 88"/>
                <a:gd name="T87" fmla="*/ 21 h 70"/>
                <a:gd name="T88" fmla="*/ 87 w 88"/>
                <a:gd name="T89" fmla="*/ 27 h 70"/>
                <a:gd name="T90" fmla="*/ 88 w 88"/>
                <a:gd name="T91" fmla="*/ 34 h 70"/>
                <a:gd name="T92" fmla="*/ 87 w 88"/>
                <a:gd name="T93" fmla="*/ 42 h 70"/>
                <a:gd name="T94" fmla="*/ 85 w 88"/>
                <a:gd name="T95" fmla="*/ 48 h 70"/>
                <a:gd name="T96" fmla="*/ 82 w 88"/>
                <a:gd name="T97" fmla="*/ 54 h 70"/>
                <a:gd name="T98" fmla="*/ 78 w 88"/>
                <a:gd name="T99" fmla="*/ 60 h 70"/>
                <a:gd name="T100" fmla="*/ 72 w 88"/>
                <a:gd name="T101" fmla="*/ 64 h 70"/>
                <a:gd name="T102" fmla="*/ 67 w 88"/>
                <a:gd name="T103" fmla="*/ 67 h 70"/>
                <a:gd name="T104" fmla="*/ 60 w 88"/>
                <a:gd name="T105" fmla="*/ 70 h 70"/>
                <a:gd name="T106" fmla="*/ 53 w 88"/>
                <a:gd name="T10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70">
                  <a:moveTo>
                    <a:pt x="34" y="24"/>
                  </a:moveTo>
                  <a:lnTo>
                    <a:pt x="30" y="26"/>
                  </a:lnTo>
                  <a:lnTo>
                    <a:pt x="27" y="28"/>
                  </a:lnTo>
                  <a:lnTo>
                    <a:pt x="24" y="31"/>
                  </a:lnTo>
                  <a:lnTo>
                    <a:pt x="23" y="34"/>
                  </a:lnTo>
                  <a:lnTo>
                    <a:pt x="24" y="39"/>
                  </a:lnTo>
                  <a:lnTo>
                    <a:pt x="27" y="42"/>
                  </a:lnTo>
                  <a:lnTo>
                    <a:pt x="30" y="44"/>
                  </a:lnTo>
                  <a:lnTo>
                    <a:pt x="34" y="45"/>
                  </a:lnTo>
                  <a:lnTo>
                    <a:pt x="53" y="45"/>
                  </a:lnTo>
                  <a:lnTo>
                    <a:pt x="57" y="44"/>
                  </a:lnTo>
                  <a:lnTo>
                    <a:pt x="61" y="42"/>
                  </a:lnTo>
                  <a:lnTo>
                    <a:pt x="63" y="39"/>
                  </a:lnTo>
                  <a:lnTo>
                    <a:pt x="63" y="34"/>
                  </a:lnTo>
                  <a:lnTo>
                    <a:pt x="63" y="31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3" y="24"/>
                  </a:lnTo>
                  <a:lnTo>
                    <a:pt x="34" y="24"/>
                  </a:lnTo>
                  <a:close/>
                  <a:moveTo>
                    <a:pt x="53" y="70"/>
                  </a:moveTo>
                  <a:lnTo>
                    <a:pt x="34" y="70"/>
                  </a:lnTo>
                  <a:lnTo>
                    <a:pt x="27" y="70"/>
                  </a:lnTo>
                  <a:lnTo>
                    <a:pt x="20" y="67"/>
                  </a:lnTo>
                  <a:lnTo>
                    <a:pt x="14" y="64"/>
                  </a:lnTo>
                  <a:lnTo>
                    <a:pt x="9" y="60"/>
                  </a:lnTo>
                  <a:lnTo>
                    <a:pt x="4" y="54"/>
                  </a:lnTo>
                  <a:lnTo>
                    <a:pt x="2" y="48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1"/>
                  </a:lnTo>
                  <a:lnTo>
                    <a:pt x="4" y="16"/>
                  </a:lnTo>
                  <a:lnTo>
                    <a:pt x="9" y="10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53" y="0"/>
                  </a:lnTo>
                  <a:lnTo>
                    <a:pt x="60" y="1"/>
                  </a:lnTo>
                  <a:lnTo>
                    <a:pt x="67" y="2"/>
                  </a:lnTo>
                  <a:lnTo>
                    <a:pt x="72" y="6"/>
                  </a:lnTo>
                  <a:lnTo>
                    <a:pt x="78" y="10"/>
                  </a:lnTo>
                  <a:lnTo>
                    <a:pt x="82" y="16"/>
                  </a:lnTo>
                  <a:lnTo>
                    <a:pt x="85" y="21"/>
                  </a:lnTo>
                  <a:lnTo>
                    <a:pt x="87" y="27"/>
                  </a:lnTo>
                  <a:lnTo>
                    <a:pt x="88" y="34"/>
                  </a:lnTo>
                  <a:lnTo>
                    <a:pt x="87" y="42"/>
                  </a:lnTo>
                  <a:lnTo>
                    <a:pt x="85" y="48"/>
                  </a:lnTo>
                  <a:lnTo>
                    <a:pt x="82" y="54"/>
                  </a:lnTo>
                  <a:lnTo>
                    <a:pt x="78" y="60"/>
                  </a:lnTo>
                  <a:lnTo>
                    <a:pt x="72" y="64"/>
                  </a:lnTo>
                  <a:lnTo>
                    <a:pt x="67" y="67"/>
                  </a:lnTo>
                  <a:lnTo>
                    <a:pt x="60" y="70"/>
                  </a:lnTo>
                  <a:lnTo>
                    <a:pt x="53" y="7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2" name="Freeform 279"/>
            <p:cNvSpPr>
              <a:spLocks noEditPoints="1"/>
            </p:cNvSpPr>
            <p:nvPr/>
          </p:nvSpPr>
          <p:spPr bwMode="auto">
            <a:xfrm>
              <a:off x="3405188" y="5559425"/>
              <a:ext cx="34925" cy="28575"/>
            </a:xfrm>
            <a:custGeom>
              <a:avLst/>
              <a:gdLst>
                <a:gd name="T0" fmla="*/ 34 w 88"/>
                <a:gd name="T1" fmla="*/ 24 h 70"/>
                <a:gd name="T2" fmla="*/ 29 w 88"/>
                <a:gd name="T3" fmla="*/ 26 h 70"/>
                <a:gd name="T4" fmla="*/ 27 w 88"/>
                <a:gd name="T5" fmla="*/ 28 h 70"/>
                <a:gd name="T6" fmla="*/ 24 w 88"/>
                <a:gd name="T7" fmla="*/ 31 h 70"/>
                <a:gd name="T8" fmla="*/ 23 w 88"/>
                <a:gd name="T9" fmla="*/ 34 h 70"/>
                <a:gd name="T10" fmla="*/ 24 w 88"/>
                <a:gd name="T11" fmla="*/ 39 h 70"/>
                <a:gd name="T12" fmla="*/ 27 w 88"/>
                <a:gd name="T13" fmla="*/ 42 h 70"/>
                <a:gd name="T14" fmla="*/ 29 w 88"/>
                <a:gd name="T15" fmla="*/ 44 h 70"/>
                <a:gd name="T16" fmla="*/ 34 w 88"/>
                <a:gd name="T17" fmla="*/ 45 h 70"/>
                <a:gd name="T18" fmla="*/ 54 w 88"/>
                <a:gd name="T19" fmla="*/ 45 h 70"/>
                <a:gd name="T20" fmla="*/ 57 w 88"/>
                <a:gd name="T21" fmla="*/ 44 h 70"/>
                <a:gd name="T22" fmla="*/ 61 w 88"/>
                <a:gd name="T23" fmla="*/ 42 h 70"/>
                <a:gd name="T24" fmla="*/ 63 w 88"/>
                <a:gd name="T25" fmla="*/ 39 h 70"/>
                <a:gd name="T26" fmla="*/ 63 w 88"/>
                <a:gd name="T27" fmla="*/ 34 h 70"/>
                <a:gd name="T28" fmla="*/ 63 w 88"/>
                <a:gd name="T29" fmla="*/ 31 h 70"/>
                <a:gd name="T30" fmla="*/ 61 w 88"/>
                <a:gd name="T31" fmla="*/ 28 h 70"/>
                <a:gd name="T32" fmla="*/ 57 w 88"/>
                <a:gd name="T33" fmla="*/ 26 h 70"/>
                <a:gd name="T34" fmla="*/ 54 w 88"/>
                <a:gd name="T35" fmla="*/ 24 h 70"/>
                <a:gd name="T36" fmla="*/ 34 w 88"/>
                <a:gd name="T37" fmla="*/ 24 h 70"/>
                <a:gd name="T38" fmla="*/ 54 w 88"/>
                <a:gd name="T39" fmla="*/ 70 h 70"/>
                <a:gd name="T40" fmla="*/ 34 w 88"/>
                <a:gd name="T41" fmla="*/ 70 h 70"/>
                <a:gd name="T42" fmla="*/ 27 w 88"/>
                <a:gd name="T43" fmla="*/ 70 h 70"/>
                <a:gd name="T44" fmla="*/ 21 w 88"/>
                <a:gd name="T45" fmla="*/ 67 h 70"/>
                <a:gd name="T46" fmla="*/ 14 w 88"/>
                <a:gd name="T47" fmla="*/ 64 h 70"/>
                <a:gd name="T48" fmla="*/ 10 w 88"/>
                <a:gd name="T49" fmla="*/ 60 h 70"/>
                <a:gd name="T50" fmla="*/ 5 w 88"/>
                <a:gd name="T51" fmla="*/ 54 h 70"/>
                <a:gd name="T52" fmla="*/ 2 w 88"/>
                <a:gd name="T53" fmla="*/ 48 h 70"/>
                <a:gd name="T54" fmla="*/ 0 w 88"/>
                <a:gd name="T55" fmla="*/ 42 h 70"/>
                <a:gd name="T56" fmla="*/ 0 w 88"/>
                <a:gd name="T57" fmla="*/ 34 h 70"/>
                <a:gd name="T58" fmla="*/ 0 w 88"/>
                <a:gd name="T59" fmla="*/ 27 h 70"/>
                <a:gd name="T60" fmla="*/ 2 w 88"/>
                <a:gd name="T61" fmla="*/ 21 h 70"/>
                <a:gd name="T62" fmla="*/ 5 w 88"/>
                <a:gd name="T63" fmla="*/ 16 h 70"/>
                <a:gd name="T64" fmla="*/ 10 w 88"/>
                <a:gd name="T65" fmla="*/ 10 h 70"/>
                <a:gd name="T66" fmla="*/ 14 w 88"/>
                <a:gd name="T67" fmla="*/ 6 h 70"/>
                <a:gd name="T68" fmla="*/ 21 w 88"/>
                <a:gd name="T69" fmla="*/ 2 h 70"/>
                <a:gd name="T70" fmla="*/ 27 w 88"/>
                <a:gd name="T71" fmla="*/ 1 h 70"/>
                <a:gd name="T72" fmla="*/ 34 w 88"/>
                <a:gd name="T73" fmla="*/ 0 h 70"/>
                <a:gd name="T74" fmla="*/ 54 w 88"/>
                <a:gd name="T75" fmla="*/ 0 h 70"/>
                <a:gd name="T76" fmla="*/ 60 w 88"/>
                <a:gd name="T77" fmla="*/ 1 h 70"/>
                <a:gd name="T78" fmla="*/ 67 w 88"/>
                <a:gd name="T79" fmla="*/ 2 h 70"/>
                <a:gd name="T80" fmla="*/ 72 w 88"/>
                <a:gd name="T81" fmla="*/ 6 h 70"/>
                <a:gd name="T82" fmla="*/ 78 w 88"/>
                <a:gd name="T83" fmla="*/ 10 h 70"/>
                <a:gd name="T84" fmla="*/ 82 w 88"/>
                <a:gd name="T85" fmla="*/ 16 h 70"/>
                <a:gd name="T86" fmla="*/ 86 w 88"/>
                <a:gd name="T87" fmla="*/ 21 h 70"/>
                <a:gd name="T88" fmla="*/ 87 w 88"/>
                <a:gd name="T89" fmla="*/ 27 h 70"/>
                <a:gd name="T90" fmla="*/ 88 w 88"/>
                <a:gd name="T91" fmla="*/ 34 h 70"/>
                <a:gd name="T92" fmla="*/ 87 w 88"/>
                <a:gd name="T93" fmla="*/ 42 h 70"/>
                <a:gd name="T94" fmla="*/ 86 w 88"/>
                <a:gd name="T95" fmla="*/ 48 h 70"/>
                <a:gd name="T96" fmla="*/ 82 w 88"/>
                <a:gd name="T97" fmla="*/ 54 h 70"/>
                <a:gd name="T98" fmla="*/ 78 w 88"/>
                <a:gd name="T99" fmla="*/ 60 h 70"/>
                <a:gd name="T100" fmla="*/ 72 w 88"/>
                <a:gd name="T101" fmla="*/ 64 h 70"/>
                <a:gd name="T102" fmla="*/ 67 w 88"/>
                <a:gd name="T103" fmla="*/ 67 h 70"/>
                <a:gd name="T104" fmla="*/ 60 w 88"/>
                <a:gd name="T105" fmla="*/ 70 h 70"/>
                <a:gd name="T106" fmla="*/ 54 w 88"/>
                <a:gd name="T10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70">
                  <a:moveTo>
                    <a:pt x="34" y="24"/>
                  </a:moveTo>
                  <a:lnTo>
                    <a:pt x="29" y="26"/>
                  </a:lnTo>
                  <a:lnTo>
                    <a:pt x="27" y="28"/>
                  </a:lnTo>
                  <a:lnTo>
                    <a:pt x="24" y="31"/>
                  </a:lnTo>
                  <a:lnTo>
                    <a:pt x="23" y="34"/>
                  </a:lnTo>
                  <a:lnTo>
                    <a:pt x="24" y="39"/>
                  </a:lnTo>
                  <a:lnTo>
                    <a:pt x="27" y="42"/>
                  </a:lnTo>
                  <a:lnTo>
                    <a:pt x="29" y="44"/>
                  </a:lnTo>
                  <a:lnTo>
                    <a:pt x="34" y="45"/>
                  </a:lnTo>
                  <a:lnTo>
                    <a:pt x="54" y="45"/>
                  </a:lnTo>
                  <a:lnTo>
                    <a:pt x="57" y="44"/>
                  </a:lnTo>
                  <a:lnTo>
                    <a:pt x="61" y="42"/>
                  </a:lnTo>
                  <a:lnTo>
                    <a:pt x="63" y="39"/>
                  </a:lnTo>
                  <a:lnTo>
                    <a:pt x="63" y="34"/>
                  </a:lnTo>
                  <a:lnTo>
                    <a:pt x="63" y="31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4" y="24"/>
                  </a:lnTo>
                  <a:lnTo>
                    <a:pt x="34" y="24"/>
                  </a:lnTo>
                  <a:close/>
                  <a:moveTo>
                    <a:pt x="54" y="70"/>
                  </a:moveTo>
                  <a:lnTo>
                    <a:pt x="34" y="70"/>
                  </a:lnTo>
                  <a:lnTo>
                    <a:pt x="27" y="70"/>
                  </a:lnTo>
                  <a:lnTo>
                    <a:pt x="21" y="67"/>
                  </a:lnTo>
                  <a:lnTo>
                    <a:pt x="14" y="64"/>
                  </a:lnTo>
                  <a:lnTo>
                    <a:pt x="10" y="60"/>
                  </a:lnTo>
                  <a:lnTo>
                    <a:pt x="5" y="54"/>
                  </a:lnTo>
                  <a:lnTo>
                    <a:pt x="2" y="48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1"/>
                  </a:lnTo>
                  <a:lnTo>
                    <a:pt x="5" y="16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54" y="0"/>
                  </a:lnTo>
                  <a:lnTo>
                    <a:pt x="60" y="1"/>
                  </a:lnTo>
                  <a:lnTo>
                    <a:pt x="67" y="2"/>
                  </a:lnTo>
                  <a:lnTo>
                    <a:pt x="72" y="6"/>
                  </a:lnTo>
                  <a:lnTo>
                    <a:pt x="78" y="10"/>
                  </a:lnTo>
                  <a:lnTo>
                    <a:pt x="82" y="16"/>
                  </a:lnTo>
                  <a:lnTo>
                    <a:pt x="86" y="21"/>
                  </a:lnTo>
                  <a:lnTo>
                    <a:pt x="87" y="27"/>
                  </a:lnTo>
                  <a:lnTo>
                    <a:pt x="88" y="34"/>
                  </a:lnTo>
                  <a:lnTo>
                    <a:pt x="87" y="42"/>
                  </a:lnTo>
                  <a:lnTo>
                    <a:pt x="86" y="48"/>
                  </a:lnTo>
                  <a:lnTo>
                    <a:pt x="82" y="54"/>
                  </a:lnTo>
                  <a:lnTo>
                    <a:pt x="78" y="60"/>
                  </a:lnTo>
                  <a:lnTo>
                    <a:pt x="72" y="64"/>
                  </a:lnTo>
                  <a:lnTo>
                    <a:pt x="67" y="67"/>
                  </a:lnTo>
                  <a:lnTo>
                    <a:pt x="60" y="70"/>
                  </a:lnTo>
                  <a:lnTo>
                    <a:pt x="54" y="7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3" name="Freeform 280"/>
            <p:cNvSpPr>
              <a:spLocks/>
            </p:cNvSpPr>
            <p:nvPr/>
          </p:nvSpPr>
          <p:spPr bwMode="auto">
            <a:xfrm>
              <a:off x="3390900" y="5568950"/>
              <a:ext cx="23813" cy="9525"/>
            </a:xfrm>
            <a:custGeom>
              <a:avLst/>
              <a:gdLst>
                <a:gd name="T0" fmla="*/ 47 w 59"/>
                <a:gd name="T1" fmla="*/ 25 h 25"/>
                <a:gd name="T2" fmla="*/ 13 w 59"/>
                <a:gd name="T3" fmla="*/ 25 h 25"/>
                <a:gd name="T4" fmla="*/ 8 w 59"/>
                <a:gd name="T5" fmla="*/ 23 h 25"/>
                <a:gd name="T6" fmla="*/ 4 w 59"/>
                <a:gd name="T7" fmla="*/ 20 h 25"/>
                <a:gd name="T8" fmla="*/ 1 w 59"/>
                <a:gd name="T9" fmla="*/ 16 h 25"/>
                <a:gd name="T10" fmla="*/ 0 w 59"/>
                <a:gd name="T11" fmla="*/ 11 h 25"/>
                <a:gd name="T12" fmla="*/ 1 w 59"/>
                <a:gd name="T13" fmla="*/ 6 h 25"/>
                <a:gd name="T14" fmla="*/ 4 w 59"/>
                <a:gd name="T15" fmla="*/ 3 h 25"/>
                <a:gd name="T16" fmla="*/ 8 w 59"/>
                <a:gd name="T17" fmla="*/ 0 h 25"/>
                <a:gd name="T18" fmla="*/ 13 w 59"/>
                <a:gd name="T19" fmla="*/ 0 h 25"/>
                <a:gd name="T20" fmla="*/ 47 w 59"/>
                <a:gd name="T21" fmla="*/ 0 h 25"/>
                <a:gd name="T22" fmla="*/ 52 w 59"/>
                <a:gd name="T23" fmla="*/ 0 h 25"/>
                <a:gd name="T24" fmla="*/ 55 w 59"/>
                <a:gd name="T25" fmla="*/ 3 h 25"/>
                <a:gd name="T26" fmla="*/ 58 w 59"/>
                <a:gd name="T27" fmla="*/ 6 h 25"/>
                <a:gd name="T28" fmla="*/ 59 w 59"/>
                <a:gd name="T29" fmla="*/ 11 h 25"/>
                <a:gd name="T30" fmla="*/ 58 w 59"/>
                <a:gd name="T31" fmla="*/ 16 h 25"/>
                <a:gd name="T32" fmla="*/ 55 w 59"/>
                <a:gd name="T33" fmla="*/ 20 h 25"/>
                <a:gd name="T34" fmla="*/ 52 w 59"/>
                <a:gd name="T35" fmla="*/ 23 h 25"/>
                <a:gd name="T36" fmla="*/ 47 w 59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" h="25">
                  <a:moveTo>
                    <a:pt x="47" y="25"/>
                  </a:moveTo>
                  <a:lnTo>
                    <a:pt x="13" y="25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1" y="6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47" y="0"/>
                  </a:lnTo>
                  <a:lnTo>
                    <a:pt x="52" y="0"/>
                  </a:lnTo>
                  <a:lnTo>
                    <a:pt x="55" y="3"/>
                  </a:lnTo>
                  <a:lnTo>
                    <a:pt x="58" y="6"/>
                  </a:lnTo>
                  <a:lnTo>
                    <a:pt x="59" y="11"/>
                  </a:lnTo>
                  <a:lnTo>
                    <a:pt x="58" y="16"/>
                  </a:lnTo>
                  <a:lnTo>
                    <a:pt x="55" y="20"/>
                  </a:lnTo>
                  <a:lnTo>
                    <a:pt x="52" y="23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4" name="Freeform 281"/>
            <p:cNvSpPr>
              <a:spLocks/>
            </p:cNvSpPr>
            <p:nvPr/>
          </p:nvSpPr>
          <p:spPr bwMode="auto">
            <a:xfrm>
              <a:off x="3332163" y="5822950"/>
              <a:ext cx="142875" cy="314325"/>
            </a:xfrm>
            <a:custGeom>
              <a:avLst/>
              <a:gdLst>
                <a:gd name="T0" fmla="*/ 0 w 359"/>
                <a:gd name="T1" fmla="*/ 0 h 795"/>
                <a:gd name="T2" fmla="*/ 5 w 359"/>
                <a:gd name="T3" fmla="*/ 795 h 795"/>
                <a:gd name="T4" fmla="*/ 154 w 359"/>
                <a:gd name="T5" fmla="*/ 795 h 795"/>
                <a:gd name="T6" fmla="*/ 149 w 359"/>
                <a:gd name="T7" fmla="*/ 203 h 795"/>
                <a:gd name="T8" fmla="*/ 212 w 359"/>
                <a:gd name="T9" fmla="*/ 203 h 795"/>
                <a:gd name="T10" fmla="*/ 206 w 359"/>
                <a:gd name="T11" fmla="*/ 795 h 795"/>
                <a:gd name="T12" fmla="*/ 355 w 359"/>
                <a:gd name="T13" fmla="*/ 795 h 795"/>
                <a:gd name="T14" fmla="*/ 359 w 359"/>
                <a:gd name="T15" fmla="*/ 3 h 795"/>
                <a:gd name="T16" fmla="*/ 0 w 359"/>
                <a:gd name="T17" fmla="*/ 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" h="795">
                  <a:moveTo>
                    <a:pt x="0" y="0"/>
                  </a:moveTo>
                  <a:lnTo>
                    <a:pt x="5" y="795"/>
                  </a:lnTo>
                  <a:lnTo>
                    <a:pt x="154" y="795"/>
                  </a:lnTo>
                  <a:lnTo>
                    <a:pt x="149" y="203"/>
                  </a:lnTo>
                  <a:lnTo>
                    <a:pt x="212" y="203"/>
                  </a:lnTo>
                  <a:lnTo>
                    <a:pt x="206" y="795"/>
                  </a:lnTo>
                  <a:lnTo>
                    <a:pt x="355" y="795"/>
                  </a:lnTo>
                  <a:lnTo>
                    <a:pt x="359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5" name="Freeform 282"/>
            <p:cNvSpPr>
              <a:spLocks noEditPoints="1"/>
            </p:cNvSpPr>
            <p:nvPr/>
          </p:nvSpPr>
          <p:spPr bwMode="auto">
            <a:xfrm>
              <a:off x="3327400" y="5818188"/>
              <a:ext cx="152400" cy="323850"/>
            </a:xfrm>
            <a:custGeom>
              <a:avLst/>
              <a:gdLst>
                <a:gd name="T0" fmla="*/ 231 w 384"/>
                <a:gd name="T1" fmla="*/ 795 h 817"/>
                <a:gd name="T2" fmla="*/ 355 w 384"/>
                <a:gd name="T3" fmla="*/ 795 h 817"/>
                <a:gd name="T4" fmla="*/ 360 w 384"/>
                <a:gd name="T5" fmla="*/ 25 h 817"/>
                <a:gd name="T6" fmla="*/ 25 w 384"/>
                <a:gd name="T7" fmla="*/ 23 h 817"/>
                <a:gd name="T8" fmla="*/ 30 w 384"/>
                <a:gd name="T9" fmla="*/ 795 h 817"/>
                <a:gd name="T10" fmla="*/ 153 w 384"/>
                <a:gd name="T11" fmla="*/ 795 h 817"/>
                <a:gd name="T12" fmla="*/ 148 w 384"/>
                <a:gd name="T13" fmla="*/ 214 h 817"/>
                <a:gd name="T14" fmla="*/ 150 w 384"/>
                <a:gd name="T15" fmla="*/ 211 h 817"/>
                <a:gd name="T16" fmla="*/ 152 w 384"/>
                <a:gd name="T17" fmla="*/ 207 h 817"/>
                <a:gd name="T18" fmla="*/ 156 w 384"/>
                <a:gd name="T19" fmla="*/ 205 h 817"/>
                <a:gd name="T20" fmla="*/ 161 w 384"/>
                <a:gd name="T21" fmla="*/ 203 h 817"/>
                <a:gd name="T22" fmla="*/ 161 w 384"/>
                <a:gd name="T23" fmla="*/ 203 h 817"/>
                <a:gd name="T24" fmla="*/ 224 w 384"/>
                <a:gd name="T25" fmla="*/ 203 h 817"/>
                <a:gd name="T26" fmla="*/ 229 w 384"/>
                <a:gd name="T27" fmla="*/ 205 h 817"/>
                <a:gd name="T28" fmla="*/ 233 w 384"/>
                <a:gd name="T29" fmla="*/ 207 h 817"/>
                <a:gd name="T30" fmla="*/ 234 w 384"/>
                <a:gd name="T31" fmla="*/ 209 h 817"/>
                <a:gd name="T32" fmla="*/ 235 w 384"/>
                <a:gd name="T33" fmla="*/ 211 h 817"/>
                <a:gd name="T34" fmla="*/ 235 w 384"/>
                <a:gd name="T35" fmla="*/ 213 h 817"/>
                <a:gd name="T36" fmla="*/ 235 w 384"/>
                <a:gd name="T37" fmla="*/ 217 h 817"/>
                <a:gd name="T38" fmla="*/ 231 w 384"/>
                <a:gd name="T39" fmla="*/ 795 h 817"/>
                <a:gd name="T40" fmla="*/ 367 w 384"/>
                <a:gd name="T41" fmla="*/ 817 h 817"/>
                <a:gd name="T42" fmla="*/ 218 w 384"/>
                <a:gd name="T43" fmla="*/ 817 h 817"/>
                <a:gd name="T44" fmla="*/ 213 w 384"/>
                <a:gd name="T45" fmla="*/ 817 h 817"/>
                <a:gd name="T46" fmla="*/ 210 w 384"/>
                <a:gd name="T47" fmla="*/ 814 h 817"/>
                <a:gd name="T48" fmla="*/ 207 w 384"/>
                <a:gd name="T49" fmla="*/ 811 h 817"/>
                <a:gd name="T50" fmla="*/ 206 w 384"/>
                <a:gd name="T51" fmla="*/ 806 h 817"/>
                <a:gd name="T52" fmla="*/ 212 w 384"/>
                <a:gd name="T53" fmla="*/ 228 h 817"/>
                <a:gd name="T54" fmla="*/ 173 w 384"/>
                <a:gd name="T55" fmla="*/ 228 h 817"/>
                <a:gd name="T56" fmla="*/ 178 w 384"/>
                <a:gd name="T57" fmla="*/ 806 h 817"/>
                <a:gd name="T58" fmla="*/ 177 w 384"/>
                <a:gd name="T59" fmla="*/ 811 h 817"/>
                <a:gd name="T60" fmla="*/ 174 w 384"/>
                <a:gd name="T61" fmla="*/ 814 h 817"/>
                <a:gd name="T62" fmla="*/ 171 w 384"/>
                <a:gd name="T63" fmla="*/ 817 h 817"/>
                <a:gd name="T64" fmla="*/ 166 w 384"/>
                <a:gd name="T65" fmla="*/ 817 h 817"/>
                <a:gd name="T66" fmla="*/ 17 w 384"/>
                <a:gd name="T67" fmla="*/ 817 h 817"/>
                <a:gd name="T68" fmla="*/ 12 w 384"/>
                <a:gd name="T69" fmla="*/ 817 h 817"/>
                <a:gd name="T70" fmla="*/ 9 w 384"/>
                <a:gd name="T71" fmla="*/ 814 h 817"/>
                <a:gd name="T72" fmla="*/ 6 w 384"/>
                <a:gd name="T73" fmla="*/ 811 h 817"/>
                <a:gd name="T74" fmla="*/ 5 w 384"/>
                <a:gd name="T75" fmla="*/ 806 h 817"/>
                <a:gd name="T76" fmla="*/ 0 w 384"/>
                <a:gd name="T77" fmla="*/ 11 h 817"/>
                <a:gd name="T78" fmla="*/ 1 w 384"/>
                <a:gd name="T79" fmla="*/ 7 h 817"/>
                <a:gd name="T80" fmla="*/ 4 w 384"/>
                <a:gd name="T81" fmla="*/ 3 h 817"/>
                <a:gd name="T82" fmla="*/ 8 w 384"/>
                <a:gd name="T83" fmla="*/ 0 h 817"/>
                <a:gd name="T84" fmla="*/ 12 w 384"/>
                <a:gd name="T85" fmla="*/ 0 h 817"/>
                <a:gd name="T86" fmla="*/ 12 w 384"/>
                <a:gd name="T87" fmla="*/ 0 h 817"/>
                <a:gd name="T88" fmla="*/ 373 w 384"/>
                <a:gd name="T89" fmla="*/ 0 h 817"/>
                <a:gd name="T90" fmla="*/ 376 w 384"/>
                <a:gd name="T91" fmla="*/ 1 h 817"/>
                <a:gd name="T92" fmla="*/ 380 w 384"/>
                <a:gd name="T93" fmla="*/ 5 h 817"/>
                <a:gd name="T94" fmla="*/ 384 w 384"/>
                <a:gd name="T95" fmla="*/ 9 h 817"/>
                <a:gd name="T96" fmla="*/ 384 w 384"/>
                <a:gd name="T97" fmla="*/ 14 h 817"/>
                <a:gd name="T98" fmla="*/ 379 w 384"/>
                <a:gd name="T99" fmla="*/ 806 h 817"/>
                <a:gd name="T100" fmla="*/ 378 w 384"/>
                <a:gd name="T101" fmla="*/ 811 h 817"/>
                <a:gd name="T102" fmla="*/ 375 w 384"/>
                <a:gd name="T103" fmla="*/ 814 h 817"/>
                <a:gd name="T104" fmla="*/ 371 w 384"/>
                <a:gd name="T105" fmla="*/ 817 h 817"/>
                <a:gd name="T106" fmla="*/ 367 w 384"/>
                <a:gd name="T107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817">
                  <a:moveTo>
                    <a:pt x="231" y="795"/>
                  </a:moveTo>
                  <a:lnTo>
                    <a:pt x="355" y="795"/>
                  </a:lnTo>
                  <a:lnTo>
                    <a:pt x="360" y="25"/>
                  </a:lnTo>
                  <a:lnTo>
                    <a:pt x="25" y="23"/>
                  </a:lnTo>
                  <a:lnTo>
                    <a:pt x="30" y="795"/>
                  </a:lnTo>
                  <a:lnTo>
                    <a:pt x="153" y="795"/>
                  </a:lnTo>
                  <a:lnTo>
                    <a:pt x="148" y="214"/>
                  </a:lnTo>
                  <a:lnTo>
                    <a:pt x="150" y="211"/>
                  </a:lnTo>
                  <a:lnTo>
                    <a:pt x="152" y="207"/>
                  </a:lnTo>
                  <a:lnTo>
                    <a:pt x="156" y="205"/>
                  </a:lnTo>
                  <a:lnTo>
                    <a:pt x="161" y="203"/>
                  </a:lnTo>
                  <a:lnTo>
                    <a:pt x="161" y="203"/>
                  </a:lnTo>
                  <a:lnTo>
                    <a:pt x="224" y="203"/>
                  </a:lnTo>
                  <a:lnTo>
                    <a:pt x="229" y="205"/>
                  </a:lnTo>
                  <a:lnTo>
                    <a:pt x="233" y="207"/>
                  </a:lnTo>
                  <a:lnTo>
                    <a:pt x="234" y="209"/>
                  </a:lnTo>
                  <a:lnTo>
                    <a:pt x="235" y="211"/>
                  </a:lnTo>
                  <a:lnTo>
                    <a:pt x="235" y="213"/>
                  </a:lnTo>
                  <a:lnTo>
                    <a:pt x="235" y="217"/>
                  </a:lnTo>
                  <a:lnTo>
                    <a:pt x="231" y="795"/>
                  </a:lnTo>
                  <a:close/>
                  <a:moveTo>
                    <a:pt x="367" y="817"/>
                  </a:moveTo>
                  <a:lnTo>
                    <a:pt x="218" y="817"/>
                  </a:lnTo>
                  <a:lnTo>
                    <a:pt x="213" y="817"/>
                  </a:lnTo>
                  <a:lnTo>
                    <a:pt x="210" y="814"/>
                  </a:lnTo>
                  <a:lnTo>
                    <a:pt x="207" y="811"/>
                  </a:lnTo>
                  <a:lnTo>
                    <a:pt x="206" y="806"/>
                  </a:lnTo>
                  <a:lnTo>
                    <a:pt x="212" y="228"/>
                  </a:lnTo>
                  <a:lnTo>
                    <a:pt x="173" y="228"/>
                  </a:lnTo>
                  <a:lnTo>
                    <a:pt x="178" y="806"/>
                  </a:lnTo>
                  <a:lnTo>
                    <a:pt x="177" y="811"/>
                  </a:lnTo>
                  <a:lnTo>
                    <a:pt x="174" y="814"/>
                  </a:lnTo>
                  <a:lnTo>
                    <a:pt x="171" y="817"/>
                  </a:lnTo>
                  <a:lnTo>
                    <a:pt x="166" y="817"/>
                  </a:lnTo>
                  <a:lnTo>
                    <a:pt x="17" y="817"/>
                  </a:lnTo>
                  <a:lnTo>
                    <a:pt x="12" y="817"/>
                  </a:lnTo>
                  <a:lnTo>
                    <a:pt x="9" y="814"/>
                  </a:lnTo>
                  <a:lnTo>
                    <a:pt x="6" y="811"/>
                  </a:lnTo>
                  <a:lnTo>
                    <a:pt x="5" y="806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373" y="0"/>
                  </a:lnTo>
                  <a:lnTo>
                    <a:pt x="376" y="1"/>
                  </a:lnTo>
                  <a:lnTo>
                    <a:pt x="380" y="5"/>
                  </a:lnTo>
                  <a:lnTo>
                    <a:pt x="384" y="9"/>
                  </a:lnTo>
                  <a:lnTo>
                    <a:pt x="384" y="14"/>
                  </a:lnTo>
                  <a:lnTo>
                    <a:pt x="379" y="806"/>
                  </a:lnTo>
                  <a:lnTo>
                    <a:pt x="378" y="811"/>
                  </a:lnTo>
                  <a:lnTo>
                    <a:pt x="375" y="814"/>
                  </a:lnTo>
                  <a:lnTo>
                    <a:pt x="371" y="817"/>
                  </a:lnTo>
                  <a:lnTo>
                    <a:pt x="367" y="81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6" name="Freeform 283"/>
            <p:cNvSpPr>
              <a:spLocks/>
            </p:cNvSpPr>
            <p:nvPr/>
          </p:nvSpPr>
          <p:spPr bwMode="auto">
            <a:xfrm>
              <a:off x="3363913" y="5756275"/>
              <a:ext cx="80963" cy="52388"/>
            </a:xfrm>
            <a:custGeom>
              <a:avLst/>
              <a:gdLst>
                <a:gd name="T0" fmla="*/ 190 w 202"/>
                <a:gd name="T1" fmla="*/ 133 h 133"/>
                <a:gd name="T2" fmla="*/ 12 w 202"/>
                <a:gd name="T3" fmla="*/ 133 h 133"/>
                <a:gd name="T4" fmla="*/ 7 w 202"/>
                <a:gd name="T5" fmla="*/ 131 h 133"/>
                <a:gd name="T6" fmla="*/ 4 w 202"/>
                <a:gd name="T7" fmla="*/ 129 h 133"/>
                <a:gd name="T8" fmla="*/ 1 w 202"/>
                <a:gd name="T9" fmla="*/ 126 h 133"/>
                <a:gd name="T10" fmla="*/ 0 w 202"/>
                <a:gd name="T11" fmla="*/ 122 h 133"/>
                <a:gd name="T12" fmla="*/ 0 w 202"/>
                <a:gd name="T13" fmla="*/ 14 h 133"/>
                <a:gd name="T14" fmla="*/ 1 w 202"/>
                <a:gd name="T15" fmla="*/ 10 h 133"/>
                <a:gd name="T16" fmla="*/ 4 w 202"/>
                <a:gd name="T17" fmla="*/ 6 h 133"/>
                <a:gd name="T18" fmla="*/ 7 w 202"/>
                <a:gd name="T19" fmla="*/ 3 h 133"/>
                <a:gd name="T20" fmla="*/ 12 w 202"/>
                <a:gd name="T21" fmla="*/ 2 h 133"/>
                <a:gd name="T22" fmla="*/ 17 w 202"/>
                <a:gd name="T23" fmla="*/ 3 h 133"/>
                <a:gd name="T24" fmla="*/ 21 w 202"/>
                <a:gd name="T25" fmla="*/ 6 h 133"/>
                <a:gd name="T26" fmla="*/ 23 w 202"/>
                <a:gd name="T27" fmla="*/ 10 h 133"/>
                <a:gd name="T28" fmla="*/ 24 w 202"/>
                <a:gd name="T29" fmla="*/ 14 h 133"/>
                <a:gd name="T30" fmla="*/ 24 w 202"/>
                <a:gd name="T31" fmla="*/ 111 h 133"/>
                <a:gd name="T32" fmla="*/ 179 w 202"/>
                <a:gd name="T33" fmla="*/ 111 h 133"/>
                <a:gd name="T34" fmla="*/ 179 w 202"/>
                <a:gd name="T35" fmla="*/ 14 h 133"/>
                <a:gd name="T36" fmla="*/ 179 w 202"/>
                <a:gd name="T37" fmla="*/ 9 h 133"/>
                <a:gd name="T38" fmla="*/ 181 w 202"/>
                <a:gd name="T39" fmla="*/ 4 h 133"/>
                <a:gd name="T40" fmla="*/ 186 w 202"/>
                <a:gd name="T41" fmla="*/ 2 h 133"/>
                <a:gd name="T42" fmla="*/ 190 w 202"/>
                <a:gd name="T43" fmla="*/ 0 h 133"/>
                <a:gd name="T44" fmla="*/ 195 w 202"/>
                <a:gd name="T45" fmla="*/ 2 h 133"/>
                <a:gd name="T46" fmla="*/ 198 w 202"/>
                <a:gd name="T47" fmla="*/ 4 h 133"/>
                <a:gd name="T48" fmla="*/ 201 w 202"/>
                <a:gd name="T49" fmla="*/ 9 h 133"/>
                <a:gd name="T50" fmla="*/ 202 w 202"/>
                <a:gd name="T51" fmla="*/ 14 h 133"/>
                <a:gd name="T52" fmla="*/ 202 w 202"/>
                <a:gd name="T53" fmla="*/ 122 h 133"/>
                <a:gd name="T54" fmla="*/ 201 w 202"/>
                <a:gd name="T55" fmla="*/ 126 h 133"/>
                <a:gd name="T56" fmla="*/ 198 w 202"/>
                <a:gd name="T57" fmla="*/ 129 h 133"/>
                <a:gd name="T58" fmla="*/ 195 w 202"/>
                <a:gd name="T59" fmla="*/ 131 h 133"/>
                <a:gd name="T60" fmla="*/ 190 w 202"/>
                <a:gd name="T6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2" h="133">
                  <a:moveTo>
                    <a:pt x="190" y="133"/>
                  </a:moveTo>
                  <a:lnTo>
                    <a:pt x="12" y="133"/>
                  </a:lnTo>
                  <a:lnTo>
                    <a:pt x="7" y="131"/>
                  </a:lnTo>
                  <a:lnTo>
                    <a:pt x="4" y="129"/>
                  </a:lnTo>
                  <a:lnTo>
                    <a:pt x="1" y="126"/>
                  </a:lnTo>
                  <a:lnTo>
                    <a:pt x="0" y="122"/>
                  </a:lnTo>
                  <a:lnTo>
                    <a:pt x="0" y="14"/>
                  </a:lnTo>
                  <a:lnTo>
                    <a:pt x="1" y="10"/>
                  </a:lnTo>
                  <a:lnTo>
                    <a:pt x="4" y="6"/>
                  </a:lnTo>
                  <a:lnTo>
                    <a:pt x="7" y="3"/>
                  </a:lnTo>
                  <a:lnTo>
                    <a:pt x="12" y="2"/>
                  </a:lnTo>
                  <a:lnTo>
                    <a:pt x="17" y="3"/>
                  </a:lnTo>
                  <a:lnTo>
                    <a:pt x="21" y="6"/>
                  </a:lnTo>
                  <a:lnTo>
                    <a:pt x="23" y="10"/>
                  </a:lnTo>
                  <a:lnTo>
                    <a:pt x="24" y="14"/>
                  </a:lnTo>
                  <a:lnTo>
                    <a:pt x="24" y="111"/>
                  </a:lnTo>
                  <a:lnTo>
                    <a:pt x="179" y="111"/>
                  </a:lnTo>
                  <a:lnTo>
                    <a:pt x="179" y="14"/>
                  </a:lnTo>
                  <a:lnTo>
                    <a:pt x="179" y="9"/>
                  </a:lnTo>
                  <a:lnTo>
                    <a:pt x="181" y="4"/>
                  </a:lnTo>
                  <a:lnTo>
                    <a:pt x="186" y="2"/>
                  </a:lnTo>
                  <a:lnTo>
                    <a:pt x="190" y="0"/>
                  </a:lnTo>
                  <a:lnTo>
                    <a:pt x="195" y="2"/>
                  </a:lnTo>
                  <a:lnTo>
                    <a:pt x="198" y="4"/>
                  </a:lnTo>
                  <a:lnTo>
                    <a:pt x="201" y="9"/>
                  </a:lnTo>
                  <a:lnTo>
                    <a:pt x="202" y="14"/>
                  </a:lnTo>
                  <a:lnTo>
                    <a:pt x="202" y="122"/>
                  </a:lnTo>
                  <a:lnTo>
                    <a:pt x="201" y="126"/>
                  </a:lnTo>
                  <a:lnTo>
                    <a:pt x="198" y="129"/>
                  </a:lnTo>
                  <a:lnTo>
                    <a:pt x="195" y="131"/>
                  </a:lnTo>
                  <a:lnTo>
                    <a:pt x="190" y="133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7" name="Freeform 284"/>
            <p:cNvSpPr>
              <a:spLocks/>
            </p:cNvSpPr>
            <p:nvPr/>
          </p:nvSpPr>
          <p:spPr bwMode="auto">
            <a:xfrm>
              <a:off x="3363913" y="5689600"/>
              <a:ext cx="80963" cy="46038"/>
            </a:xfrm>
            <a:custGeom>
              <a:avLst/>
              <a:gdLst>
                <a:gd name="T0" fmla="*/ 12 w 202"/>
                <a:gd name="T1" fmla="*/ 116 h 116"/>
                <a:gd name="T2" fmla="*/ 7 w 202"/>
                <a:gd name="T3" fmla="*/ 115 h 116"/>
                <a:gd name="T4" fmla="*/ 4 w 202"/>
                <a:gd name="T5" fmla="*/ 112 h 116"/>
                <a:gd name="T6" fmla="*/ 1 w 202"/>
                <a:gd name="T7" fmla="*/ 108 h 116"/>
                <a:gd name="T8" fmla="*/ 0 w 202"/>
                <a:gd name="T9" fmla="*/ 103 h 116"/>
                <a:gd name="T10" fmla="*/ 0 w 202"/>
                <a:gd name="T11" fmla="*/ 13 h 116"/>
                <a:gd name="T12" fmla="*/ 1 w 202"/>
                <a:gd name="T13" fmla="*/ 8 h 116"/>
                <a:gd name="T14" fmla="*/ 4 w 202"/>
                <a:gd name="T15" fmla="*/ 4 h 116"/>
                <a:gd name="T16" fmla="*/ 7 w 202"/>
                <a:gd name="T17" fmla="*/ 1 h 116"/>
                <a:gd name="T18" fmla="*/ 12 w 202"/>
                <a:gd name="T19" fmla="*/ 0 h 116"/>
                <a:gd name="T20" fmla="*/ 190 w 202"/>
                <a:gd name="T21" fmla="*/ 0 h 116"/>
                <a:gd name="T22" fmla="*/ 195 w 202"/>
                <a:gd name="T23" fmla="*/ 1 h 116"/>
                <a:gd name="T24" fmla="*/ 198 w 202"/>
                <a:gd name="T25" fmla="*/ 4 h 116"/>
                <a:gd name="T26" fmla="*/ 201 w 202"/>
                <a:gd name="T27" fmla="*/ 8 h 116"/>
                <a:gd name="T28" fmla="*/ 202 w 202"/>
                <a:gd name="T29" fmla="*/ 13 h 116"/>
                <a:gd name="T30" fmla="*/ 202 w 202"/>
                <a:gd name="T31" fmla="*/ 103 h 116"/>
                <a:gd name="T32" fmla="*/ 201 w 202"/>
                <a:gd name="T33" fmla="*/ 106 h 116"/>
                <a:gd name="T34" fmla="*/ 198 w 202"/>
                <a:gd name="T35" fmla="*/ 110 h 116"/>
                <a:gd name="T36" fmla="*/ 195 w 202"/>
                <a:gd name="T37" fmla="*/ 112 h 116"/>
                <a:gd name="T38" fmla="*/ 190 w 202"/>
                <a:gd name="T39" fmla="*/ 114 h 116"/>
                <a:gd name="T40" fmla="*/ 186 w 202"/>
                <a:gd name="T41" fmla="*/ 112 h 116"/>
                <a:gd name="T42" fmla="*/ 181 w 202"/>
                <a:gd name="T43" fmla="*/ 110 h 116"/>
                <a:gd name="T44" fmla="*/ 179 w 202"/>
                <a:gd name="T45" fmla="*/ 106 h 116"/>
                <a:gd name="T46" fmla="*/ 179 w 202"/>
                <a:gd name="T47" fmla="*/ 103 h 116"/>
                <a:gd name="T48" fmla="*/ 179 w 202"/>
                <a:gd name="T49" fmla="*/ 24 h 116"/>
                <a:gd name="T50" fmla="*/ 24 w 202"/>
                <a:gd name="T51" fmla="*/ 24 h 116"/>
                <a:gd name="T52" fmla="*/ 24 w 202"/>
                <a:gd name="T53" fmla="*/ 103 h 116"/>
                <a:gd name="T54" fmla="*/ 23 w 202"/>
                <a:gd name="T55" fmla="*/ 108 h 116"/>
                <a:gd name="T56" fmla="*/ 21 w 202"/>
                <a:gd name="T57" fmla="*/ 112 h 116"/>
                <a:gd name="T58" fmla="*/ 17 w 202"/>
                <a:gd name="T59" fmla="*/ 115 h 116"/>
                <a:gd name="T60" fmla="*/ 12 w 202"/>
                <a:gd name="T6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2" h="116">
                  <a:moveTo>
                    <a:pt x="12" y="116"/>
                  </a:moveTo>
                  <a:lnTo>
                    <a:pt x="7" y="115"/>
                  </a:lnTo>
                  <a:lnTo>
                    <a:pt x="4" y="112"/>
                  </a:lnTo>
                  <a:lnTo>
                    <a:pt x="1" y="108"/>
                  </a:lnTo>
                  <a:lnTo>
                    <a:pt x="0" y="10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90" y="0"/>
                  </a:lnTo>
                  <a:lnTo>
                    <a:pt x="195" y="1"/>
                  </a:lnTo>
                  <a:lnTo>
                    <a:pt x="198" y="4"/>
                  </a:lnTo>
                  <a:lnTo>
                    <a:pt x="201" y="8"/>
                  </a:lnTo>
                  <a:lnTo>
                    <a:pt x="202" y="13"/>
                  </a:lnTo>
                  <a:lnTo>
                    <a:pt x="202" y="103"/>
                  </a:lnTo>
                  <a:lnTo>
                    <a:pt x="201" y="106"/>
                  </a:lnTo>
                  <a:lnTo>
                    <a:pt x="198" y="110"/>
                  </a:lnTo>
                  <a:lnTo>
                    <a:pt x="195" y="112"/>
                  </a:lnTo>
                  <a:lnTo>
                    <a:pt x="190" y="114"/>
                  </a:lnTo>
                  <a:lnTo>
                    <a:pt x="186" y="112"/>
                  </a:lnTo>
                  <a:lnTo>
                    <a:pt x="181" y="110"/>
                  </a:lnTo>
                  <a:lnTo>
                    <a:pt x="179" y="106"/>
                  </a:lnTo>
                  <a:lnTo>
                    <a:pt x="179" y="103"/>
                  </a:lnTo>
                  <a:lnTo>
                    <a:pt x="179" y="24"/>
                  </a:lnTo>
                  <a:lnTo>
                    <a:pt x="24" y="24"/>
                  </a:lnTo>
                  <a:lnTo>
                    <a:pt x="24" y="103"/>
                  </a:lnTo>
                  <a:lnTo>
                    <a:pt x="23" y="108"/>
                  </a:lnTo>
                  <a:lnTo>
                    <a:pt x="21" y="112"/>
                  </a:lnTo>
                  <a:lnTo>
                    <a:pt x="17" y="115"/>
                  </a:lnTo>
                  <a:lnTo>
                    <a:pt x="12" y="116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8" name="Freeform 285"/>
            <p:cNvSpPr>
              <a:spLocks/>
            </p:cNvSpPr>
            <p:nvPr/>
          </p:nvSpPr>
          <p:spPr bwMode="auto">
            <a:xfrm>
              <a:off x="3354388" y="5729288"/>
              <a:ext cx="36513" cy="31750"/>
            </a:xfrm>
            <a:custGeom>
              <a:avLst/>
              <a:gdLst>
                <a:gd name="T0" fmla="*/ 22 w 95"/>
                <a:gd name="T1" fmla="*/ 82 h 82"/>
                <a:gd name="T2" fmla="*/ 31 w 95"/>
                <a:gd name="T3" fmla="*/ 81 h 82"/>
                <a:gd name="T4" fmla="*/ 52 w 95"/>
                <a:gd name="T5" fmla="*/ 79 h 82"/>
                <a:gd name="T6" fmla="*/ 64 w 95"/>
                <a:gd name="T7" fmla="*/ 77 h 82"/>
                <a:gd name="T8" fmla="*/ 75 w 95"/>
                <a:gd name="T9" fmla="*/ 73 h 82"/>
                <a:gd name="T10" fmla="*/ 81 w 95"/>
                <a:gd name="T11" fmla="*/ 72 h 82"/>
                <a:gd name="T12" fmla="*/ 85 w 95"/>
                <a:gd name="T13" fmla="*/ 70 h 82"/>
                <a:gd name="T14" fmla="*/ 89 w 95"/>
                <a:gd name="T15" fmla="*/ 67 h 82"/>
                <a:gd name="T16" fmla="*/ 91 w 95"/>
                <a:gd name="T17" fmla="*/ 63 h 82"/>
                <a:gd name="T18" fmla="*/ 93 w 95"/>
                <a:gd name="T19" fmla="*/ 59 h 82"/>
                <a:gd name="T20" fmla="*/ 95 w 95"/>
                <a:gd name="T21" fmla="*/ 54 h 82"/>
                <a:gd name="T22" fmla="*/ 95 w 95"/>
                <a:gd name="T23" fmla="*/ 49 h 82"/>
                <a:gd name="T24" fmla="*/ 95 w 95"/>
                <a:gd name="T25" fmla="*/ 43 h 82"/>
                <a:gd name="T26" fmla="*/ 90 w 95"/>
                <a:gd name="T27" fmla="*/ 33 h 82"/>
                <a:gd name="T28" fmla="*/ 84 w 95"/>
                <a:gd name="T29" fmla="*/ 23 h 82"/>
                <a:gd name="T30" fmla="*/ 76 w 95"/>
                <a:gd name="T31" fmla="*/ 13 h 82"/>
                <a:gd name="T32" fmla="*/ 68 w 95"/>
                <a:gd name="T33" fmla="*/ 7 h 82"/>
                <a:gd name="T34" fmla="*/ 64 w 95"/>
                <a:gd name="T35" fmla="*/ 3 h 82"/>
                <a:gd name="T36" fmla="*/ 59 w 95"/>
                <a:gd name="T37" fmla="*/ 2 h 82"/>
                <a:gd name="T38" fmla="*/ 56 w 95"/>
                <a:gd name="T39" fmla="*/ 1 h 82"/>
                <a:gd name="T40" fmla="*/ 52 w 95"/>
                <a:gd name="T41" fmla="*/ 0 h 82"/>
                <a:gd name="T42" fmla="*/ 44 w 95"/>
                <a:gd name="T43" fmla="*/ 2 h 82"/>
                <a:gd name="T44" fmla="*/ 36 w 95"/>
                <a:gd name="T45" fmla="*/ 6 h 82"/>
                <a:gd name="T46" fmla="*/ 27 w 95"/>
                <a:gd name="T47" fmla="*/ 12 h 82"/>
                <a:gd name="T48" fmla="*/ 19 w 95"/>
                <a:gd name="T49" fmla="*/ 18 h 82"/>
                <a:gd name="T50" fmla="*/ 5 w 95"/>
                <a:gd name="T51" fmla="*/ 30 h 82"/>
                <a:gd name="T52" fmla="*/ 0 w 95"/>
                <a:gd name="T53" fmla="*/ 37 h 82"/>
                <a:gd name="T54" fmla="*/ 22 w 95"/>
                <a:gd name="T5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5" h="82">
                  <a:moveTo>
                    <a:pt x="22" y="82"/>
                  </a:moveTo>
                  <a:lnTo>
                    <a:pt x="31" y="81"/>
                  </a:lnTo>
                  <a:lnTo>
                    <a:pt x="52" y="79"/>
                  </a:lnTo>
                  <a:lnTo>
                    <a:pt x="64" y="77"/>
                  </a:lnTo>
                  <a:lnTo>
                    <a:pt x="75" y="73"/>
                  </a:lnTo>
                  <a:lnTo>
                    <a:pt x="81" y="72"/>
                  </a:lnTo>
                  <a:lnTo>
                    <a:pt x="85" y="70"/>
                  </a:lnTo>
                  <a:lnTo>
                    <a:pt x="89" y="67"/>
                  </a:lnTo>
                  <a:lnTo>
                    <a:pt x="91" y="63"/>
                  </a:lnTo>
                  <a:lnTo>
                    <a:pt x="93" y="59"/>
                  </a:lnTo>
                  <a:lnTo>
                    <a:pt x="95" y="54"/>
                  </a:lnTo>
                  <a:lnTo>
                    <a:pt x="95" y="49"/>
                  </a:lnTo>
                  <a:lnTo>
                    <a:pt x="95" y="43"/>
                  </a:lnTo>
                  <a:lnTo>
                    <a:pt x="90" y="33"/>
                  </a:lnTo>
                  <a:lnTo>
                    <a:pt x="84" y="23"/>
                  </a:lnTo>
                  <a:lnTo>
                    <a:pt x="76" y="13"/>
                  </a:lnTo>
                  <a:lnTo>
                    <a:pt x="68" y="7"/>
                  </a:lnTo>
                  <a:lnTo>
                    <a:pt x="64" y="3"/>
                  </a:lnTo>
                  <a:lnTo>
                    <a:pt x="59" y="2"/>
                  </a:lnTo>
                  <a:lnTo>
                    <a:pt x="56" y="1"/>
                  </a:lnTo>
                  <a:lnTo>
                    <a:pt x="52" y="0"/>
                  </a:lnTo>
                  <a:lnTo>
                    <a:pt x="44" y="2"/>
                  </a:lnTo>
                  <a:lnTo>
                    <a:pt x="36" y="6"/>
                  </a:lnTo>
                  <a:lnTo>
                    <a:pt x="27" y="12"/>
                  </a:lnTo>
                  <a:lnTo>
                    <a:pt x="19" y="18"/>
                  </a:lnTo>
                  <a:lnTo>
                    <a:pt x="5" y="30"/>
                  </a:lnTo>
                  <a:lnTo>
                    <a:pt x="0" y="37"/>
                  </a:lnTo>
                  <a:lnTo>
                    <a:pt x="22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89" name="Freeform 286"/>
            <p:cNvSpPr>
              <a:spLocks/>
            </p:cNvSpPr>
            <p:nvPr/>
          </p:nvSpPr>
          <p:spPr bwMode="auto">
            <a:xfrm>
              <a:off x="3349625" y="5724525"/>
              <a:ext cx="46038" cy="41275"/>
            </a:xfrm>
            <a:custGeom>
              <a:avLst/>
              <a:gdLst>
                <a:gd name="T0" fmla="*/ 37 w 119"/>
                <a:gd name="T1" fmla="*/ 104 h 104"/>
                <a:gd name="T2" fmla="*/ 30 w 119"/>
                <a:gd name="T3" fmla="*/ 103 h 104"/>
                <a:gd name="T4" fmla="*/ 22 w 119"/>
                <a:gd name="T5" fmla="*/ 97 h 104"/>
                <a:gd name="T6" fmla="*/ 23 w 119"/>
                <a:gd name="T7" fmla="*/ 88 h 104"/>
                <a:gd name="T8" fmla="*/ 30 w 119"/>
                <a:gd name="T9" fmla="*/ 81 h 104"/>
                <a:gd name="T10" fmla="*/ 34 w 119"/>
                <a:gd name="T11" fmla="*/ 79 h 104"/>
                <a:gd name="T12" fmla="*/ 54 w 119"/>
                <a:gd name="T13" fmla="*/ 79 h 104"/>
                <a:gd name="T14" fmla="*/ 86 w 119"/>
                <a:gd name="T15" fmla="*/ 73 h 104"/>
                <a:gd name="T16" fmla="*/ 94 w 119"/>
                <a:gd name="T17" fmla="*/ 63 h 104"/>
                <a:gd name="T18" fmla="*/ 92 w 119"/>
                <a:gd name="T19" fmla="*/ 51 h 104"/>
                <a:gd name="T20" fmla="*/ 83 w 119"/>
                <a:gd name="T21" fmla="*/ 38 h 104"/>
                <a:gd name="T22" fmla="*/ 69 w 119"/>
                <a:gd name="T23" fmla="*/ 27 h 104"/>
                <a:gd name="T24" fmla="*/ 64 w 119"/>
                <a:gd name="T25" fmla="*/ 24 h 104"/>
                <a:gd name="T26" fmla="*/ 55 w 119"/>
                <a:gd name="T27" fmla="*/ 28 h 104"/>
                <a:gd name="T28" fmla="*/ 44 w 119"/>
                <a:gd name="T29" fmla="*/ 35 h 104"/>
                <a:gd name="T30" fmla="*/ 21 w 119"/>
                <a:gd name="T31" fmla="*/ 56 h 104"/>
                <a:gd name="T32" fmla="*/ 12 w 119"/>
                <a:gd name="T33" fmla="*/ 60 h 104"/>
                <a:gd name="T34" fmla="*/ 4 w 119"/>
                <a:gd name="T35" fmla="*/ 56 h 104"/>
                <a:gd name="T36" fmla="*/ 0 w 119"/>
                <a:gd name="T37" fmla="*/ 49 h 104"/>
                <a:gd name="T38" fmla="*/ 3 w 119"/>
                <a:gd name="T39" fmla="*/ 40 h 104"/>
                <a:gd name="T40" fmla="*/ 28 w 119"/>
                <a:gd name="T41" fmla="*/ 17 h 104"/>
                <a:gd name="T42" fmla="*/ 47 w 119"/>
                <a:gd name="T43" fmla="*/ 5 h 104"/>
                <a:gd name="T44" fmla="*/ 64 w 119"/>
                <a:gd name="T45" fmla="*/ 0 h 104"/>
                <a:gd name="T46" fmla="*/ 70 w 119"/>
                <a:gd name="T47" fmla="*/ 1 h 104"/>
                <a:gd name="T48" fmla="*/ 83 w 119"/>
                <a:gd name="T49" fmla="*/ 7 h 104"/>
                <a:gd name="T50" fmla="*/ 97 w 119"/>
                <a:gd name="T51" fmla="*/ 17 h 104"/>
                <a:gd name="T52" fmla="*/ 107 w 119"/>
                <a:gd name="T53" fmla="*/ 29 h 104"/>
                <a:gd name="T54" fmla="*/ 114 w 119"/>
                <a:gd name="T55" fmla="*/ 43 h 104"/>
                <a:gd name="T56" fmla="*/ 118 w 119"/>
                <a:gd name="T57" fmla="*/ 54 h 104"/>
                <a:gd name="T58" fmla="*/ 119 w 119"/>
                <a:gd name="T59" fmla="*/ 65 h 104"/>
                <a:gd name="T60" fmla="*/ 117 w 119"/>
                <a:gd name="T61" fmla="*/ 76 h 104"/>
                <a:gd name="T62" fmla="*/ 110 w 119"/>
                <a:gd name="T63" fmla="*/ 84 h 104"/>
                <a:gd name="T64" fmla="*/ 104 w 119"/>
                <a:gd name="T65" fmla="*/ 90 h 104"/>
                <a:gd name="T66" fmla="*/ 90 w 119"/>
                <a:gd name="T67" fmla="*/ 98 h 104"/>
                <a:gd name="T68" fmla="*/ 58 w 119"/>
                <a:gd name="T69" fmla="*/ 10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9" h="104">
                  <a:moveTo>
                    <a:pt x="39" y="104"/>
                  </a:moveTo>
                  <a:lnTo>
                    <a:pt x="37" y="104"/>
                  </a:lnTo>
                  <a:lnTo>
                    <a:pt x="33" y="104"/>
                  </a:lnTo>
                  <a:lnTo>
                    <a:pt x="30" y="103"/>
                  </a:lnTo>
                  <a:lnTo>
                    <a:pt x="26" y="100"/>
                  </a:lnTo>
                  <a:lnTo>
                    <a:pt x="22" y="97"/>
                  </a:lnTo>
                  <a:lnTo>
                    <a:pt x="22" y="93"/>
                  </a:lnTo>
                  <a:lnTo>
                    <a:pt x="23" y="88"/>
                  </a:lnTo>
                  <a:lnTo>
                    <a:pt x="26" y="83"/>
                  </a:lnTo>
                  <a:lnTo>
                    <a:pt x="30" y="81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54" y="79"/>
                  </a:lnTo>
                  <a:lnTo>
                    <a:pt x="72" y="77"/>
                  </a:lnTo>
                  <a:lnTo>
                    <a:pt x="86" y="73"/>
                  </a:lnTo>
                  <a:lnTo>
                    <a:pt x="93" y="70"/>
                  </a:lnTo>
                  <a:lnTo>
                    <a:pt x="94" y="63"/>
                  </a:lnTo>
                  <a:lnTo>
                    <a:pt x="94" y="57"/>
                  </a:lnTo>
                  <a:lnTo>
                    <a:pt x="92" y="51"/>
                  </a:lnTo>
                  <a:lnTo>
                    <a:pt x="90" y="48"/>
                  </a:lnTo>
                  <a:lnTo>
                    <a:pt x="83" y="38"/>
                  </a:lnTo>
                  <a:lnTo>
                    <a:pt x="76" y="32"/>
                  </a:lnTo>
                  <a:lnTo>
                    <a:pt x="69" y="27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5"/>
                  </a:lnTo>
                  <a:lnTo>
                    <a:pt x="55" y="28"/>
                  </a:lnTo>
                  <a:lnTo>
                    <a:pt x="50" y="30"/>
                  </a:lnTo>
                  <a:lnTo>
                    <a:pt x="44" y="35"/>
                  </a:lnTo>
                  <a:lnTo>
                    <a:pt x="32" y="45"/>
                  </a:lnTo>
                  <a:lnTo>
                    <a:pt x="21" y="56"/>
                  </a:lnTo>
                  <a:lnTo>
                    <a:pt x="17" y="59"/>
                  </a:lnTo>
                  <a:lnTo>
                    <a:pt x="12" y="60"/>
                  </a:lnTo>
                  <a:lnTo>
                    <a:pt x="7" y="59"/>
                  </a:lnTo>
                  <a:lnTo>
                    <a:pt x="4" y="56"/>
                  </a:lnTo>
                  <a:lnTo>
                    <a:pt x="1" y="52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3" y="40"/>
                  </a:lnTo>
                  <a:lnTo>
                    <a:pt x="14" y="30"/>
                  </a:lnTo>
                  <a:lnTo>
                    <a:pt x="28" y="17"/>
                  </a:lnTo>
                  <a:lnTo>
                    <a:pt x="37" y="11"/>
                  </a:lnTo>
                  <a:lnTo>
                    <a:pt x="47" y="5"/>
                  </a:lnTo>
                  <a:lnTo>
                    <a:pt x="55" y="1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0" y="1"/>
                  </a:lnTo>
                  <a:lnTo>
                    <a:pt x="77" y="3"/>
                  </a:lnTo>
                  <a:lnTo>
                    <a:pt x="83" y="7"/>
                  </a:lnTo>
                  <a:lnTo>
                    <a:pt x="91" y="11"/>
                  </a:lnTo>
                  <a:lnTo>
                    <a:pt x="97" y="17"/>
                  </a:lnTo>
                  <a:lnTo>
                    <a:pt x="102" y="23"/>
                  </a:lnTo>
                  <a:lnTo>
                    <a:pt x="107" y="29"/>
                  </a:lnTo>
                  <a:lnTo>
                    <a:pt x="110" y="37"/>
                  </a:lnTo>
                  <a:lnTo>
                    <a:pt x="114" y="43"/>
                  </a:lnTo>
                  <a:lnTo>
                    <a:pt x="117" y="48"/>
                  </a:lnTo>
                  <a:lnTo>
                    <a:pt x="118" y="54"/>
                  </a:lnTo>
                  <a:lnTo>
                    <a:pt x="119" y="60"/>
                  </a:lnTo>
                  <a:lnTo>
                    <a:pt x="119" y="65"/>
                  </a:lnTo>
                  <a:lnTo>
                    <a:pt x="118" y="71"/>
                  </a:lnTo>
                  <a:lnTo>
                    <a:pt x="117" y="76"/>
                  </a:lnTo>
                  <a:lnTo>
                    <a:pt x="114" y="81"/>
                  </a:lnTo>
                  <a:lnTo>
                    <a:pt x="110" y="84"/>
                  </a:lnTo>
                  <a:lnTo>
                    <a:pt x="108" y="88"/>
                  </a:lnTo>
                  <a:lnTo>
                    <a:pt x="104" y="90"/>
                  </a:lnTo>
                  <a:lnTo>
                    <a:pt x="99" y="93"/>
                  </a:lnTo>
                  <a:lnTo>
                    <a:pt x="90" y="98"/>
                  </a:lnTo>
                  <a:lnTo>
                    <a:pt x="80" y="100"/>
                  </a:lnTo>
                  <a:lnTo>
                    <a:pt x="58" y="103"/>
                  </a:lnTo>
                  <a:lnTo>
                    <a:pt x="39" y="10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90" name="Freeform 287"/>
            <p:cNvSpPr>
              <a:spLocks/>
            </p:cNvSpPr>
            <p:nvPr/>
          </p:nvSpPr>
          <p:spPr bwMode="auto">
            <a:xfrm>
              <a:off x="3257550" y="5740400"/>
              <a:ext cx="107950" cy="80963"/>
            </a:xfrm>
            <a:custGeom>
              <a:avLst/>
              <a:gdLst>
                <a:gd name="T0" fmla="*/ 239 w 274"/>
                <a:gd name="T1" fmla="*/ 0 h 206"/>
                <a:gd name="T2" fmla="*/ 116 w 274"/>
                <a:gd name="T3" fmla="*/ 60 h 206"/>
                <a:gd name="T4" fmla="*/ 24 w 274"/>
                <a:gd name="T5" fmla="*/ 103 h 206"/>
                <a:gd name="T6" fmla="*/ 15 w 274"/>
                <a:gd name="T7" fmla="*/ 109 h 206"/>
                <a:gd name="T8" fmla="*/ 9 w 274"/>
                <a:gd name="T9" fmla="*/ 116 h 206"/>
                <a:gd name="T10" fmla="*/ 4 w 274"/>
                <a:gd name="T11" fmla="*/ 126 h 206"/>
                <a:gd name="T12" fmla="*/ 2 w 274"/>
                <a:gd name="T13" fmla="*/ 136 h 206"/>
                <a:gd name="T14" fmla="*/ 0 w 274"/>
                <a:gd name="T15" fmla="*/ 147 h 206"/>
                <a:gd name="T16" fmla="*/ 0 w 274"/>
                <a:gd name="T17" fmla="*/ 157 h 206"/>
                <a:gd name="T18" fmla="*/ 3 w 274"/>
                <a:gd name="T19" fmla="*/ 168 h 206"/>
                <a:gd name="T20" fmla="*/ 7 w 274"/>
                <a:gd name="T21" fmla="*/ 178 h 206"/>
                <a:gd name="T22" fmla="*/ 9 w 274"/>
                <a:gd name="T23" fmla="*/ 182 h 206"/>
                <a:gd name="T24" fmla="*/ 13 w 274"/>
                <a:gd name="T25" fmla="*/ 187 h 206"/>
                <a:gd name="T26" fmla="*/ 15 w 274"/>
                <a:gd name="T27" fmla="*/ 192 h 206"/>
                <a:gd name="T28" fmla="*/ 19 w 274"/>
                <a:gd name="T29" fmla="*/ 196 h 206"/>
                <a:gd name="T30" fmla="*/ 27 w 274"/>
                <a:gd name="T31" fmla="*/ 201 h 206"/>
                <a:gd name="T32" fmla="*/ 36 w 274"/>
                <a:gd name="T33" fmla="*/ 204 h 206"/>
                <a:gd name="T34" fmla="*/ 46 w 274"/>
                <a:gd name="T35" fmla="*/ 206 h 206"/>
                <a:gd name="T36" fmla="*/ 56 w 274"/>
                <a:gd name="T37" fmla="*/ 206 h 206"/>
                <a:gd name="T38" fmla="*/ 64 w 274"/>
                <a:gd name="T39" fmla="*/ 203 h 206"/>
                <a:gd name="T40" fmla="*/ 74 w 274"/>
                <a:gd name="T41" fmla="*/ 200 h 206"/>
                <a:gd name="T42" fmla="*/ 274 w 274"/>
                <a:gd name="T43" fmla="*/ 67 h 206"/>
                <a:gd name="T44" fmla="*/ 239 w 274"/>
                <a:gd name="T4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4" h="206">
                  <a:moveTo>
                    <a:pt x="239" y="0"/>
                  </a:moveTo>
                  <a:lnTo>
                    <a:pt x="116" y="60"/>
                  </a:lnTo>
                  <a:lnTo>
                    <a:pt x="24" y="103"/>
                  </a:lnTo>
                  <a:lnTo>
                    <a:pt x="15" y="109"/>
                  </a:lnTo>
                  <a:lnTo>
                    <a:pt x="9" y="116"/>
                  </a:lnTo>
                  <a:lnTo>
                    <a:pt x="4" y="126"/>
                  </a:lnTo>
                  <a:lnTo>
                    <a:pt x="2" y="136"/>
                  </a:lnTo>
                  <a:lnTo>
                    <a:pt x="0" y="147"/>
                  </a:lnTo>
                  <a:lnTo>
                    <a:pt x="0" y="157"/>
                  </a:lnTo>
                  <a:lnTo>
                    <a:pt x="3" y="168"/>
                  </a:lnTo>
                  <a:lnTo>
                    <a:pt x="7" y="178"/>
                  </a:lnTo>
                  <a:lnTo>
                    <a:pt x="9" y="182"/>
                  </a:lnTo>
                  <a:lnTo>
                    <a:pt x="13" y="187"/>
                  </a:lnTo>
                  <a:lnTo>
                    <a:pt x="15" y="192"/>
                  </a:lnTo>
                  <a:lnTo>
                    <a:pt x="19" y="196"/>
                  </a:lnTo>
                  <a:lnTo>
                    <a:pt x="27" y="201"/>
                  </a:lnTo>
                  <a:lnTo>
                    <a:pt x="36" y="204"/>
                  </a:lnTo>
                  <a:lnTo>
                    <a:pt x="46" y="206"/>
                  </a:lnTo>
                  <a:lnTo>
                    <a:pt x="56" y="206"/>
                  </a:lnTo>
                  <a:lnTo>
                    <a:pt x="64" y="203"/>
                  </a:lnTo>
                  <a:lnTo>
                    <a:pt x="74" y="200"/>
                  </a:lnTo>
                  <a:lnTo>
                    <a:pt x="274" y="67"/>
                  </a:lnTo>
                  <a:lnTo>
                    <a:pt x="239" y="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91" name="Freeform 288"/>
            <p:cNvSpPr>
              <a:spLocks noEditPoints="1"/>
            </p:cNvSpPr>
            <p:nvPr/>
          </p:nvSpPr>
          <p:spPr bwMode="auto">
            <a:xfrm>
              <a:off x="3252788" y="5735638"/>
              <a:ext cx="117475" cy="90488"/>
            </a:xfrm>
            <a:custGeom>
              <a:avLst/>
              <a:gdLst>
                <a:gd name="T0" fmla="*/ 246 w 298"/>
                <a:gd name="T1" fmla="*/ 27 h 230"/>
                <a:gd name="T2" fmla="*/ 41 w 298"/>
                <a:gd name="T3" fmla="*/ 126 h 230"/>
                <a:gd name="T4" fmla="*/ 34 w 298"/>
                <a:gd name="T5" fmla="*/ 131 h 230"/>
                <a:gd name="T6" fmla="*/ 31 w 298"/>
                <a:gd name="T7" fmla="*/ 136 h 230"/>
                <a:gd name="T8" fmla="*/ 27 w 298"/>
                <a:gd name="T9" fmla="*/ 143 h 230"/>
                <a:gd name="T10" fmla="*/ 25 w 298"/>
                <a:gd name="T11" fmla="*/ 150 h 230"/>
                <a:gd name="T12" fmla="*/ 23 w 298"/>
                <a:gd name="T13" fmla="*/ 159 h 230"/>
                <a:gd name="T14" fmla="*/ 25 w 298"/>
                <a:gd name="T15" fmla="*/ 167 h 230"/>
                <a:gd name="T16" fmla="*/ 26 w 298"/>
                <a:gd name="T17" fmla="*/ 176 h 230"/>
                <a:gd name="T18" fmla="*/ 28 w 298"/>
                <a:gd name="T19" fmla="*/ 185 h 230"/>
                <a:gd name="T20" fmla="*/ 33 w 298"/>
                <a:gd name="T21" fmla="*/ 191 h 230"/>
                <a:gd name="T22" fmla="*/ 37 w 298"/>
                <a:gd name="T23" fmla="*/ 197 h 230"/>
                <a:gd name="T24" fmla="*/ 43 w 298"/>
                <a:gd name="T25" fmla="*/ 201 h 230"/>
                <a:gd name="T26" fmla="*/ 48 w 298"/>
                <a:gd name="T27" fmla="*/ 205 h 230"/>
                <a:gd name="T28" fmla="*/ 55 w 298"/>
                <a:gd name="T29" fmla="*/ 207 h 230"/>
                <a:gd name="T30" fmla="*/ 64 w 298"/>
                <a:gd name="T31" fmla="*/ 205 h 230"/>
                <a:gd name="T32" fmla="*/ 71 w 298"/>
                <a:gd name="T33" fmla="*/ 204 h 230"/>
                <a:gd name="T34" fmla="*/ 80 w 298"/>
                <a:gd name="T35" fmla="*/ 201 h 230"/>
                <a:gd name="T36" fmla="*/ 271 w 298"/>
                <a:gd name="T37" fmla="*/ 74 h 230"/>
                <a:gd name="T38" fmla="*/ 246 w 298"/>
                <a:gd name="T39" fmla="*/ 27 h 230"/>
                <a:gd name="T40" fmla="*/ 59 w 298"/>
                <a:gd name="T41" fmla="*/ 230 h 230"/>
                <a:gd name="T42" fmla="*/ 49 w 298"/>
                <a:gd name="T43" fmla="*/ 230 h 230"/>
                <a:gd name="T44" fmla="*/ 41 w 298"/>
                <a:gd name="T45" fmla="*/ 227 h 230"/>
                <a:gd name="T46" fmla="*/ 36 w 298"/>
                <a:gd name="T47" fmla="*/ 225 h 230"/>
                <a:gd name="T48" fmla="*/ 31 w 298"/>
                <a:gd name="T49" fmla="*/ 223 h 230"/>
                <a:gd name="T50" fmla="*/ 26 w 298"/>
                <a:gd name="T51" fmla="*/ 219 h 230"/>
                <a:gd name="T52" fmla="*/ 21 w 298"/>
                <a:gd name="T53" fmla="*/ 215 h 230"/>
                <a:gd name="T54" fmla="*/ 14 w 298"/>
                <a:gd name="T55" fmla="*/ 205 h 230"/>
                <a:gd name="T56" fmla="*/ 7 w 298"/>
                <a:gd name="T57" fmla="*/ 193 h 230"/>
                <a:gd name="T58" fmla="*/ 3 w 298"/>
                <a:gd name="T59" fmla="*/ 182 h 230"/>
                <a:gd name="T60" fmla="*/ 0 w 298"/>
                <a:gd name="T61" fmla="*/ 171 h 230"/>
                <a:gd name="T62" fmla="*/ 0 w 298"/>
                <a:gd name="T63" fmla="*/ 158 h 230"/>
                <a:gd name="T64" fmla="*/ 1 w 298"/>
                <a:gd name="T65" fmla="*/ 145 h 230"/>
                <a:gd name="T66" fmla="*/ 5 w 298"/>
                <a:gd name="T67" fmla="*/ 133 h 230"/>
                <a:gd name="T68" fmla="*/ 11 w 298"/>
                <a:gd name="T69" fmla="*/ 121 h 230"/>
                <a:gd name="T70" fmla="*/ 15 w 298"/>
                <a:gd name="T71" fmla="*/ 116 h 230"/>
                <a:gd name="T72" fmla="*/ 20 w 298"/>
                <a:gd name="T73" fmla="*/ 111 h 230"/>
                <a:gd name="T74" fmla="*/ 23 w 298"/>
                <a:gd name="T75" fmla="*/ 107 h 230"/>
                <a:gd name="T76" fmla="*/ 30 w 298"/>
                <a:gd name="T77" fmla="*/ 104 h 230"/>
                <a:gd name="T78" fmla="*/ 246 w 298"/>
                <a:gd name="T79" fmla="*/ 0 h 230"/>
                <a:gd name="T80" fmla="*/ 251 w 298"/>
                <a:gd name="T81" fmla="*/ 0 h 230"/>
                <a:gd name="T82" fmla="*/ 256 w 298"/>
                <a:gd name="T83" fmla="*/ 0 h 230"/>
                <a:gd name="T84" fmla="*/ 260 w 298"/>
                <a:gd name="T85" fmla="*/ 2 h 230"/>
                <a:gd name="T86" fmla="*/ 262 w 298"/>
                <a:gd name="T87" fmla="*/ 7 h 230"/>
                <a:gd name="T88" fmla="*/ 297 w 298"/>
                <a:gd name="T89" fmla="*/ 74 h 230"/>
                <a:gd name="T90" fmla="*/ 298 w 298"/>
                <a:gd name="T91" fmla="*/ 78 h 230"/>
                <a:gd name="T92" fmla="*/ 298 w 298"/>
                <a:gd name="T93" fmla="*/ 82 h 230"/>
                <a:gd name="T94" fmla="*/ 295 w 298"/>
                <a:gd name="T95" fmla="*/ 85 h 230"/>
                <a:gd name="T96" fmla="*/ 293 w 298"/>
                <a:gd name="T97" fmla="*/ 88 h 230"/>
                <a:gd name="T98" fmla="*/ 92 w 298"/>
                <a:gd name="T99" fmla="*/ 220 h 230"/>
                <a:gd name="T100" fmla="*/ 83 w 298"/>
                <a:gd name="T101" fmla="*/ 225 h 230"/>
                <a:gd name="T102" fmla="*/ 75 w 298"/>
                <a:gd name="T103" fmla="*/ 227 h 230"/>
                <a:gd name="T104" fmla="*/ 66 w 298"/>
                <a:gd name="T105" fmla="*/ 229 h 230"/>
                <a:gd name="T106" fmla="*/ 59 w 298"/>
                <a:gd name="T10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230">
                  <a:moveTo>
                    <a:pt x="246" y="27"/>
                  </a:moveTo>
                  <a:lnTo>
                    <a:pt x="41" y="126"/>
                  </a:lnTo>
                  <a:lnTo>
                    <a:pt x="34" y="131"/>
                  </a:lnTo>
                  <a:lnTo>
                    <a:pt x="31" y="136"/>
                  </a:lnTo>
                  <a:lnTo>
                    <a:pt x="27" y="143"/>
                  </a:lnTo>
                  <a:lnTo>
                    <a:pt x="25" y="150"/>
                  </a:lnTo>
                  <a:lnTo>
                    <a:pt x="23" y="159"/>
                  </a:lnTo>
                  <a:lnTo>
                    <a:pt x="25" y="167"/>
                  </a:lnTo>
                  <a:lnTo>
                    <a:pt x="26" y="176"/>
                  </a:lnTo>
                  <a:lnTo>
                    <a:pt x="28" y="185"/>
                  </a:lnTo>
                  <a:lnTo>
                    <a:pt x="33" y="191"/>
                  </a:lnTo>
                  <a:lnTo>
                    <a:pt x="37" y="197"/>
                  </a:lnTo>
                  <a:lnTo>
                    <a:pt x="43" y="201"/>
                  </a:lnTo>
                  <a:lnTo>
                    <a:pt x="48" y="205"/>
                  </a:lnTo>
                  <a:lnTo>
                    <a:pt x="55" y="207"/>
                  </a:lnTo>
                  <a:lnTo>
                    <a:pt x="64" y="205"/>
                  </a:lnTo>
                  <a:lnTo>
                    <a:pt x="71" y="204"/>
                  </a:lnTo>
                  <a:lnTo>
                    <a:pt x="80" y="201"/>
                  </a:lnTo>
                  <a:lnTo>
                    <a:pt x="271" y="74"/>
                  </a:lnTo>
                  <a:lnTo>
                    <a:pt x="246" y="27"/>
                  </a:lnTo>
                  <a:close/>
                  <a:moveTo>
                    <a:pt x="59" y="230"/>
                  </a:moveTo>
                  <a:lnTo>
                    <a:pt x="49" y="230"/>
                  </a:lnTo>
                  <a:lnTo>
                    <a:pt x="41" y="227"/>
                  </a:lnTo>
                  <a:lnTo>
                    <a:pt x="36" y="225"/>
                  </a:lnTo>
                  <a:lnTo>
                    <a:pt x="31" y="223"/>
                  </a:lnTo>
                  <a:lnTo>
                    <a:pt x="26" y="219"/>
                  </a:lnTo>
                  <a:lnTo>
                    <a:pt x="21" y="215"/>
                  </a:lnTo>
                  <a:lnTo>
                    <a:pt x="14" y="205"/>
                  </a:lnTo>
                  <a:lnTo>
                    <a:pt x="7" y="193"/>
                  </a:lnTo>
                  <a:lnTo>
                    <a:pt x="3" y="182"/>
                  </a:lnTo>
                  <a:lnTo>
                    <a:pt x="0" y="171"/>
                  </a:lnTo>
                  <a:lnTo>
                    <a:pt x="0" y="158"/>
                  </a:lnTo>
                  <a:lnTo>
                    <a:pt x="1" y="145"/>
                  </a:lnTo>
                  <a:lnTo>
                    <a:pt x="5" y="133"/>
                  </a:lnTo>
                  <a:lnTo>
                    <a:pt x="11" y="121"/>
                  </a:lnTo>
                  <a:lnTo>
                    <a:pt x="15" y="116"/>
                  </a:lnTo>
                  <a:lnTo>
                    <a:pt x="20" y="111"/>
                  </a:lnTo>
                  <a:lnTo>
                    <a:pt x="23" y="107"/>
                  </a:lnTo>
                  <a:lnTo>
                    <a:pt x="30" y="104"/>
                  </a:lnTo>
                  <a:lnTo>
                    <a:pt x="246" y="0"/>
                  </a:lnTo>
                  <a:lnTo>
                    <a:pt x="251" y="0"/>
                  </a:lnTo>
                  <a:lnTo>
                    <a:pt x="256" y="0"/>
                  </a:lnTo>
                  <a:lnTo>
                    <a:pt x="260" y="2"/>
                  </a:lnTo>
                  <a:lnTo>
                    <a:pt x="262" y="7"/>
                  </a:lnTo>
                  <a:lnTo>
                    <a:pt x="297" y="74"/>
                  </a:lnTo>
                  <a:lnTo>
                    <a:pt x="298" y="78"/>
                  </a:lnTo>
                  <a:lnTo>
                    <a:pt x="298" y="82"/>
                  </a:lnTo>
                  <a:lnTo>
                    <a:pt x="295" y="85"/>
                  </a:lnTo>
                  <a:lnTo>
                    <a:pt x="293" y="88"/>
                  </a:lnTo>
                  <a:lnTo>
                    <a:pt x="92" y="220"/>
                  </a:lnTo>
                  <a:lnTo>
                    <a:pt x="83" y="225"/>
                  </a:lnTo>
                  <a:lnTo>
                    <a:pt x="75" y="227"/>
                  </a:lnTo>
                  <a:lnTo>
                    <a:pt x="66" y="229"/>
                  </a:lnTo>
                  <a:lnTo>
                    <a:pt x="59" y="23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92" name="Freeform 289"/>
            <p:cNvSpPr>
              <a:spLocks/>
            </p:cNvSpPr>
            <p:nvPr/>
          </p:nvSpPr>
          <p:spPr bwMode="auto">
            <a:xfrm>
              <a:off x="3252788" y="5627688"/>
              <a:ext cx="303213" cy="169863"/>
            </a:xfrm>
            <a:custGeom>
              <a:avLst/>
              <a:gdLst>
                <a:gd name="T0" fmla="*/ 750 w 766"/>
                <a:gd name="T1" fmla="*/ 426 h 427"/>
                <a:gd name="T2" fmla="*/ 743 w 766"/>
                <a:gd name="T3" fmla="*/ 421 h 427"/>
                <a:gd name="T4" fmla="*/ 735 w 766"/>
                <a:gd name="T5" fmla="*/ 383 h 427"/>
                <a:gd name="T6" fmla="*/ 721 w 766"/>
                <a:gd name="T7" fmla="*/ 319 h 427"/>
                <a:gd name="T8" fmla="*/ 704 w 766"/>
                <a:gd name="T9" fmla="*/ 262 h 427"/>
                <a:gd name="T10" fmla="*/ 685 w 766"/>
                <a:gd name="T11" fmla="*/ 212 h 427"/>
                <a:gd name="T12" fmla="*/ 659 w 766"/>
                <a:gd name="T13" fmla="*/ 150 h 427"/>
                <a:gd name="T14" fmla="*/ 634 w 766"/>
                <a:gd name="T15" fmla="*/ 99 h 427"/>
                <a:gd name="T16" fmla="*/ 619 w 766"/>
                <a:gd name="T17" fmla="*/ 82 h 427"/>
                <a:gd name="T18" fmla="*/ 598 w 766"/>
                <a:gd name="T19" fmla="*/ 67 h 427"/>
                <a:gd name="T20" fmla="*/ 563 w 766"/>
                <a:gd name="T21" fmla="*/ 50 h 427"/>
                <a:gd name="T22" fmla="*/ 495 w 766"/>
                <a:gd name="T23" fmla="*/ 30 h 427"/>
                <a:gd name="T24" fmla="*/ 392 w 766"/>
                <a:gd name="T25" fmla="*/ 115 h 427"/>
                <a:gd name="T26" fmla="*/ 389 w 766"/>
                <a:gd name="T27" fmla="*/ 119 h 427"/>
                <a:gd name="T28" fmla="*/ 384 w 766"/>
                <a:gd name="T29" fmla="*/ 119 h 427"/>
                <a:gd name="T30" fmla="*/ 379 w 766"/>
                <a:gd name="T31" fmla="*/ 119 h 427"/>
                <a:gd name="T32" fmla="*/ 374 w 766"/>
                <a:gd name="T33" fmla="*/ 115 h 427"/>
                <a:gd name="T34" fmla="*/ 283 w 766"/>
                <a:gd name="T35" fmla="*/ 27 h 427"/>
                <a:gd name="T36" fmla="*/ 244 w 766"/>
                <a:gd name="T37" fmla="*/ 37 h 427"/>
                <a:gd name="T38" fmla="*/ 198 w 766"/>
                <a:gd name="T39" fmla="*/ 53 h 427"/>
                <a:gd name="T40" fmla="*/ 165 w 766"/>
                <a:gd name="T41" fmla="*/ 70 h 427"/>
                <a:gd name="T42" fmla="*/ 146 w 766"/>
                <a:gd name="T43" fmla="*/ 83 h 427"/>
                <a:gd name="T44" fmla="*/ 138 w 766"/>
                <a:gd name="T45" fmla="*/ 90 h 427"/>
                <a:gd name="T46" fmla="*/ 124 w 766"/>
                <a:gd name="T47" fmla="*/ 114 h 427"/>
                <a:gd name="T48" fmla="*/ 92 w 766"/>
                <a:gd name="T49" fmla="*/ 181 h 427"/>
                <a:gd name="T50" fmla="*/ 74 w 766"/>
                <a:gd name="T51" fmla="*/ 229 h 427"/>
                <a:gd name="T52" fmla="*/ 55 w 766"/>
                <a:gd name="T53" fmla="*/ 284 h 427"/>
                <a:gd name="T54" fmla="*/ 38 w 766"/>
                <a:gd name="T55" fmla="*/ 348 h 427"/>
                <a:gd name="T56" fmla="*/ 25 w 766"/>
                <a:gd name="T57" fmla="*/ 416 h 427"/>
                <a:gd name="T58" fmla="*/ 20 w 766"/>
                <a:gd name="T59" fmla="*/ 425 h 427"/>
                <a:gd name="T60" fmla="*/ 11 w 766"/>
                <a:gd name="T61" fmla="*/ 427 h 427"/>
                <a:gd name="T62" fmla="*/ 3 w 766"/>
                <a:gd name="T63" fmla="*/ 421 h 427"/>
                <a:gd name="T64" fmla="*/ 0 w 766"/>
                <a:gd name="T65" fmla="*/ 411 h 427"/>
                <a:gd name="T66" fmla="*/ 15 w 766"/>
                <a:gd name="T67" fmla="*/ 342 h 427"/>
                <a:gd name="T68" fmla="*/ 32 w 766"/>
                <a:gd name="T69" fmla="*/ 278 h 427"/>
                <a:gd name="T70" fmla="*/ 51 w 766"/>
                <a:gd name="T71" fmla="*/ 220 h 427"/>
                <a:gd name="T72" fmla="*/ 70 w 766"/>
                <a:gd name="T73" fmla="*/ 173 h 427"/>
                <a:gd name="T74" fmla="*/ 103 w 766"/>
                <a:gd name="T75" fmla="*/ 103 h 427"/>
                <a:gd name="T76" fmla="*/ 119 w 766"/>
                <a:gd name="T77" fmla="*/ 76 h 427"/>
                <a:gd name="T78" fmla="*/ 141 w 766"/>
                <a:gd name="T79" fmla="*/ 57 h 427"/>
                <a:gd name="T80" fmla="*/ 168 w 766"/>
                <a:gd name="T81" fmla="*/ 42 h 427"/>
                <a:gd name="T82" fmla="*/ 196 w 766"/>
                <a:gd name="T83" fmla="*/ 28 h 427"/>
                <a:gd name="T84" fmla="*/ 226 w 766"/>
                <a:gd name="T85" fmla="*/ 18 h 427"/>
                <a:gd name="T86" fmla="*/ 298 w 766"/>
                <a:gd name="T87" fmla="*/ 0 h 427"/>
                <a:gd name="T88" fmla="*/ 309 w 766"/>
                <a:gd name="T89" fmla="*/ 5 h 427"/>
                <a:gd name="T90" fmla="*/ 450 w 766"/>
                <a:gd name="T91" fmla="*/ 5 h 427"/>
                <a:gd name="T92" fmla="*/ 461 w 766"/>
                <a:gd name="T93" fmla="*/ 0 h 427"/>
                <a:gd name="T94" fmla="*/ 484 w 766"/>
                <a:gd name="T95" fmla="*/ 5 h 427"/>
                <a:gd name="T96" fmla="*/ 534 w 766"/>
                <a:gd name="T97" fmla="*/ 16 h 427"/>
                <a:gd name="T98" fmla="*/ 564 w 766"/>
                <a:gd name="T99" fmla="*/ 26 h 427"/>
                <a:gd name="T100" fmla="*/ 593 w 766"/>
                <a:gd name="T101" fmla="*/ 38 h 427"/>
                <a:gd name="T102" fmla="*/ 621 w 766"/>
                <a:gd name="T103" fmla="*/ 54 h 427"/>
                <a:gd name="T104" fmla="*/ 646 w 766"/>
                <a:gd name="T105" fmla="*/ 75 h 427"/>
                <a:gd name="T106" fmla="*/ 648 w 766"/>
                <a:gd name="T107" fmla="*/ 76 h 427"/>
                <a:gd name="T108" fmla="*/ 667 w 766"/>
                <a:gd name="T109" fmla="*/ 110 h 427"/>
                <a:gd name="T110" fmla="*/ 700 w 766"/>
                <a:gd name="T111" fmla="*/ 181 h 427"/>
                <a:gd name="T112" fmla="*/ 718 w 766"/>
                <a:gd name="T113" fmla="*/ 228 h 427"/>
                <a:gd name="T114" fmla="*/ 737 w 766"/>
                <a:gd name="T115" fmla="*/ 283 h 427"/>
                <a:gd name="T116" fmla="*/ 753 w 766"/>
                <a:gd name="T117" fmla="*/ 344 h 427"/>
                <a:gd name="T118" fmla="*/ 766 w 766"/>
                <a:gd name="T119" fmla="*/ 411 h 427"/>
                <a:gd name="T120" fmla="*/ 764 w 766"/>
                <a:gd name="T121" fmla="*/ 421 h 427"/>
                <a:gd name="T122" fmla="*/ 756 w 766"/>
                <a:gd name="T123" fmla="*/ 427 h 427"/>
                <a:gd name="T124" fmla="*/ 754 w 766"/>
                <a:gd name="T125" fmla="*/ 42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6" h="427">
                  <a:moveTo>
                    <a:pt x="754" y="427"/>
                  </a:moveTo>
                  <a:lnTo>
                    <a:pt x="750" y="426"/>
                  </a:lnTo>
                  <a:lnTo>
                    <a:pt x="746" y="425"/>
                  </a:lnTo>
                  <a:lnTo>
                    <a:pt x="743" y="421"/>
                  </a:lnTo>
                  <a:lnTo>
                    <a:pt x="741" y="416"/>
                  </a:lnTo>
                  <a:lnTo>
                    <a:pt x="735" y="383"/>
                  </a:lnTo>
                  <a:lnTo>
                    <a:pt x="729" y="350"/>
                  </a:lnTo>
                  <a:lnTo>
                    <a:pt x="721" y="319"/>
                  </a:lnTo>
                  <a:lnTo>
                    <a:pt x="713" y="290"/>
                  </a:lnTo>
                  <a:lnTo>
                    <a:pt x="704" y="262"/>
                  </a:lnTo>
                  <a:lnTo>
                    <a:pt x="695" y="236"/>
                  </a:lnTo>
                  <a:lnTo>
                    <a:pt x="685" y="212"/>
                  </a:lnTo>
                  <a:lnTo>
                    <a:pt x="677" y="188"/>
                  </a:lnTo>
                  <a:lnTo>
                    <a:pt x="659" y="150"/>
                  </a:lnTo>
                  <a:lnTo>
                    <a:pt x="645" y="120"/>
                  </a:lnTo>
                  <a:lnTo>
                    <a:pt x="634" y="99"/>
                  </a:lnTo>
                  <a:lnTo>
                    <a:pt x="628" y="90"/>
                  </a:lnTo>
                  <a:lnTo>
                    <a:pt x="619" y="82"/>
                  </a:lnTo>
                  <a:lnTo>
                    <a:pt x="609" y="75"/>
                  </a:lnTo>
                  <a:lnTo>
                    <a:pt x="598" y="67"/>
                  </a:lnTo>
                  <a:lnTo>
                    <a:pt x="587" y="61"/>
                  </a:lnTo>
                  <a:lnTo>
                    <a:pt x="563" y="50"/>
                  </a:lnTo>
                  <a:lnTo>
                    <a:pt x="539" y="42"/>
                  </a:lnTo>
                  <a:lnTo>
                    <a:pt x="495" y="30"/>
                  </a:lnTo>
                  <a:lnTo>
                    <a:pt x="465" y="24"/>
                  </a:lnTo>
                  <a:lnTo>
                    <a:pt x="392" y="115"/>
                  </a:lnTo>
                  <a:lnTo>
                    <a:pt x="390" y="117"/>
                  </a:lnTo>
                  <a:lnTo>
                    <a:pt x="389" y="119"/>
                  </a:lnTo>
                  <a:lnTo>
                    <a:pt x="386" y="119"/>
                  </a:lnTo>
                  <a:lnTo>
                    <a:pt x="384" y="119"/>
                  </a:lnTo>
                  <a:lnTo>
                    <a:pt x="381" y="119"/>
                  </a:lnTo>
                  <a:lnTo>
                    <a:pt x="379" y="119"/>
                  </a:lnTo>
                  <a:lnTo>
                    <a:pt x="376" y="117"/>
                  </a:lnTo>
                  <a:lnTo>
                    <a:pt x="374" y="115"/>
                  </a:lnTo>
                  <a:lnTo>
                    <a:pt x="296" y="24"/>
                  </a:lnTo>
                  <a:lnTo>
                    <a:pt x="283" y="27"/>
                  </a:lnTo>
                  <a:lnTo>
                    <a:pt x="265" y="30"/>
                  </a:lnTo>
                  <a:lnTo>
                    <a:pt x="244" y="37"/>
                  </a:lnTo>
                  <a:lnTo>
                    <a:pt x="221" y="44"/>
                  </a:lnTo>
                  <a:lnTo>
                    <a:pt x="198" y="53"/>
                  </a:lnTo>
                  <a:lnTo>
                    <a:pt x="176" y="64"/>
                  </a:lnTo>
                  <a:lnTo>
                    <a:pt x="165" y="70"/>
                  </a:lnTo>
                  <a:lnTo>
                    <a:pt x="155" y="76"/>
                  </a:lnTo>
                  <a:lnTo>
                    <a:pt x="146" y="83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4" y="97"/>
                  </a:lnTo>
                  <a:lnTo>
                    <a:pt x="124" y="114"/>
                  </a:lnTo>
                  <a:lnTo>
                    <a:pt x="111" y="143"/>
                  </a:lnTo>
                  <a:lnTo>
                    <a:pt x="92" y="181"/>
                  </a:lnTo>
                  <a:lnTo>
                    <a:pt x="84" y="204"/>
                  </a:lnTo>
                  <a:lnTo>
                    <a:pt x="74" y="229"/>
                  </a:lnTo>
                  <a:lnTo>
                    <a:pt x="64" y="256"/>
                  </a:lnTo>
                  <a:lnTo>
                    <a:pt x="55" y="284"/>
                  </a:lnTo>
                  <a:lnTo>
                    <a:pt x="47" y="315"/>
                  </a:lnTo>
                  <a:lnTo>
                    <a:pt x="38" y="348"/>
                  </a:lnTo>
                  <a:lnTo>
                    <a:pt x="31" y="381"/>
                  </a:lnTo>
                  <a:lnTo>
                    <a:pt x="25" y="416"/>
                  </a:lnTo>
                  <a:lnTo>
                    <a:pt x="22" y="421"/>
                  </a:lnTo>
                  <a:lnTo>
                    <a:pt x="20" y="425"/>
                  </a:lnTo>
                  <a:lnTo>
                    <a:pt x="15" y="426"/>
                  </a:lnTo>
                  <a:lnTo>
                    <a:pt x="11" y="427"/>
                  </a:lnTo>
                  <a:lnTo>
                    <a:pt x="6" y="425"/>
                  </a:lnTo>
                  <a:lnTo>
                    <a:pt x="3" y="421"/>
                  </a:lnTo>
                  <a:lnTo>
                    <a:pt x="2" y="416"/>
                  </a:lnTo>
                  <a:lnTo>
                    <a:pt x="0" y="411"/>
                  </a:lnTo>
                  <a:lnTo>
                    <a:pt x="8" y="376"/>
                  </a:lnTo>
                  <a:lnTo>
                    <a:pt x="15" y="342"/>
                  </a:lnTo>
                  <a:lnTo>
                    <a:pt x="24" y="308"/>
                  </a:lnTo>
                  <a:lnTo>
                    <a:pt x="32" y="278"/>
                  </a:lnTo>
                  <a:lnTo>
                    <a:pt x="41" y="248"/>
                  </a:lnTo>
                  <a:lnTo>
                    <a:pt x="51" y="220"/>
                  </a:lnTo>
                  <a:lnTo>
                    <a:pt x="60" y="196"/>
                  </a:lnTo>
                  <a:lnTo>
                    <a:pt x="70" y="173"/>
                  </a:lnTo>
                  <a:lnTo>
                    <a:pt x="89" y="133"/>
                  </a:lnTo>
                  <a:lnTo>
                    <a:pt x="103" y="103"/>
                  </a:lnTo>
                  <a:lnTo>
                    <a:pt x="114" y="84"/>
                  </a:lnTo>
                  <a:lnTo>
                    <a:pt x="119" y="76"/>
                  </a:lnTo>
                  <a:lnTo>
                    <a:pt x="129" y="66"/>
                  </a:lnTo>
                  <a:lnTo>
                    <a:pt x="141" y="57"/>
                  </a:lnTo>
                  <a:lnTo>
                    <a:pt x="153" y="49"/>
                  </a:lnTo>
                  <a:lnTo>
                    <a:pt x="168" y="42"/>
                  </a:lnTo>
                  <a:lnTo>
                    <a:pt x="182" y="34"/>
                  </a:lnTo>
                  <a:lnTo>
                    <a:pt x="196" y="28"/>
                  </a:lnTo>
                  <a:lnTo>
                    <a:pt x="211" y="23"/>
                  </a:lnTo>
                  <a:lnTo>
                    <a:pt x="226" y="18"/>
                  </a:lnTo>
                  <a:lnTo>
                    <a:pt x="275" y="5"/>
                  </a:lnTo>
                  <a:lnTo>
                    <a:pt x="298" y="0"/>
                  </a:lnTo>
                  <a:lnTo>
                    <a:pt x="304" y="1"/>
                  </a:lnTo>
                  <a:lnTo>
                    <a:pt x="309" y="5"/>
                  </a:lnTo>
                  <a:lnTo>
                    <a:pt x="383" y="90"/>
                  </a:lnTo>
                  <a:lnTo>
                    <a:pt x="450" y="5"/>
                  </a:lnTo>
                  <a:lnTo>
                    <a:pt x="456" y="1"/>
                  </a:lnTo>
                  <a:lnTo>
                    <a:pt x="461" y="0"/>
                  </a:lnTo>
                  <a:lnTo>
                    <a:pt x="468" y="1"/>
                  </a:lnTo>
                  <a:lnTo>
                    <a:pt x="484" y="5"/>
                  </a:lnTo>
                  <a:lnTo>
                    <a:pt x="506" y="8"/>
                  </a:lnTo>
                  <a:lnTo>
                    <a:pt x="534" y="16"/>
                  </a:lnTo>
                  <a:lnTo>
                    <a:pt x="549" y="21"/>
                  </a:lnTo>
                  <a:lnTo>
                    <a:pt x="564" y="26"/>
                  </a:lnTo>
                  <a:lnTo>
                    <a:pt x="579" y="32"/>
                  </a:lnTo>
                  <a:lnTo>
                    <a:pt x="593" y="38"/>
                  </a:lnTo>
                  <a:lnTo>
                    <a:pt x="608" y="45"/>
                  </a:lnTo>
                  <a:lnTo>
                    <a:pt x="621" y="54"/>
                  </a:lnTo>
                  <a:lnTo>
                    <a:pt x="635" y="64"/>
                  </a:lnTo>
                  <a:lnTo>
                    <a:pt x="646" y="75"/>
                  </a:lnTo>
                  <a:lnTo>
                    <a:pt x="647" y="76"/>
                  </a:lnTo>
                  <a:lnTo>
                    <a:pt x="648" y="76"/>
                  </a:lnTo>
                  <a:lnTo>
                    <a:pt x="655" y="88"/>
                  </a:lnTo>
                  <a:lnTo>
                    <a:pt x="667" y="110"/>
                  </a:lnTo>
                  <a:lnTo>
                    <a:pt x="681" y="141"/>
                  </a:lnTo>
                  <a:lnTo>
                    <a:pt x="700" y="181"/>
                  </a:lnTo>
                  <a:lnTo>
                    <a:pt x="708" y="203"/>
                  </a:lnTo>
                  <a:lnTo>
                    <a:pt x="718" y="228"/>
                  </a:lnTo>
                  <a:lnTo>
                    <a:pt x="727" y="255"/>
                  </a:lnTo>
                  <a:lnTo>
                    <a:pt x="737" y="283"/>
                  </a:lnTo>
                  <a:lnTo>
                    <a:pt x="744" y="313"/>
                  </a:lnTo>
                  <a:lnTo>
                    <a:pt x="753" y="344"/>
                  </a:lnTo>
                  <a:lnTo>
                    <a:pt x="760" y="377"/>
                  </a:lnTo>
                  <a:lnTo>
                    <a:pt x="766" y="411"/>
                  </a:lnTo>
                  <a:lnTo>
                    <a:pt x="766" y="416"/>
                  </a:lnTo>
                  <a:lnTo>
                    <a:pt x="764" y="421"/>
                  </a:lnTo>
                  <a:lnTo>
                    <a:pt x="760" y="425"/>
                  </a:lnTo>
                  <a:lnTo>
                    <a:pt x="756" y="427"/>
                  </a:lnTo>
                  <a:lnTo>
                    <a:pt x="755" y="427"/>
                  </a:lnTo>
                  <a:lnTo>
                    <a:pt x="754" y="427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93" name="Freeform 290"/>
            <p:cNvSpPr>
              <a:spLocks/>
            </p:cNvSpPr>
            <p:nvPr/>
          </p:nvSpPr>
          <p:spPr bwMode="auto">
            <a:xfrm>
              <a:off x="3471863" y="5707063"/>
              <a:ext cx="34925" cy="57150"/>
            </a:xfrm>
            <a:custGeom>
              <a:avLst/>
              <a:gdLst>
                <a:gd name="T0" fmla="*/ 76 w 87"/>
                <a:gd name="T1" fmla="*/ 144 h 144"/>
                <a:gd name="T2" fmla="*/ 72 w 87"/>
                <a:gd name="T3" fmla="*/ 144 h 144"/>
                <a:gd name="T4" fmla="*/ 70 w 87"/>
                <a:gd name="T5" fmla="*/ 143 h 144"/>
                <a:gd name="T6" fmla="*/ 67 w 87"/>
                <a:gd name="T7" fmla="*/ 141 h 144"/>
                <a:gd name="T8" fmla="*/ 65 w 87"/>
                <a:gd name="T9" fmla="*/ 137 h 144"/>
                <a:gd name="T10" fmla="*/ 23 w 87"/>
                <a:gd name="T11" fmla="*/ 59 h 144"/>
                <a:gd name="T12" fmla="*/ 23 w 87"/>
                <a:gd name="T13" fmla="*/ 104 h 144"/>
                <a:gd name="T14" fmla="*/ 22 w 87"/>
                <a:gd name="T15" fmla="*/ 108 h 144"/>
                <a:gd name="T16" fmla="*/ 19 w 87"/>
                <a:gd name="T17" fmla="*/ 111 h 144"/>
                <a:gd name="T18" fmla="*/ 16 w 87"/>
                <a:gd name="T19" fmla="*/ 114 h 144"/>
                <a:gd name="T20" fmla="*/ 11 w 87"/>
                <a:gd name="T21" fmla="*/ 115 h 144"/>
                <a:gd name="T22" fmla="*/ 6 w 87"/>
                <a:gd name="T23" fmla="*/ 114 h 144"/>
                <a:gd name="T24" fmla="*/ 2 w 87"/>
                <a:gd name="T25" fmla="*/ 111 h 144"/>
                <a:gd name="T26" fmla="*/ 0 w 87"/>
                <a:gd name="T27" fmla="*/ 108 h 144"/>
                <a:gd name="T28" fmla="*/ 0 w 87"/>
                <a:gd name="T29" fmla="*/ 104 h 144"/>
                <a:gd name="T30" fmla="*/ 0 w 87"/>
                <a:gd name="T31" fmla="*/ 12 h 144"/>
                <a:gd name="T32" fmla="*/ 0 w 87"/>
                <a:gd name="T33" fmla="*/ 8 h 144"/>
                <a:gd name="T34" fmla="*/ 2 w 87"/>
                <a:gd name="T35" fmla="*/ 5 h 144"/>
                <a:gd name="T36" fmla="*/ 5 w 87"/>
                <a:gd name="T37" fmla="*/ 2 h 144"/>
                <a:gd name="T38" fmla="*/ 8 w 87"/>
                <a:gd name="T39" fmla="*/ 0 h 144"/>
                <a:gd name="T40" fmla="*/ 12 w 87"/>
                <a:gd name="T41" fmla="*/ 0 h 144"/>
                <a:gd name="T42" fmla="*/ 16 w 87"/>
                <a:gd name="T43" fmla="*/ 0 h 144"/>
                <a:gd name="T44" fmla="*/ 19 w 87"/>
                <a:gd name="T45" fmla="*/ 2 h 144"/>
                <a:gd name="T46" fmla="*/ 22 w 87"/>
                <a:gd name="T47" fmla="*/ 7 h 144"/>
                <a:gd name="T48" fmla="*/ 86 w 87"/>
                <a:gd name="T49" fmla="*/ 126 h 144"/>
                <a:gd name="T50" fmla="*/ 87 w 87"/>
                <a:gd name="T51" fmla="*/ 131 h 144"/>
                <a:gd name="T52" fmla="*/ 87 w 87"/>
                <a:gd name="T53" fmla="*/ 136 h 144"/>
                <a:gd name="T54" fmla="*/ 84 w 87"/>
                <a:gd name="T55" fmla="*/ 140 h 144"/>
                <a:gd name="T56" fmla="*/ 81 w 87"/>
                <a:gd name="T57" fmla="*/ 142 h 144"/>
                <a:gd name="T58" fmla="*/ 78 w 87"/>
                <a:gd name="T59" fmla="*/ 144 h 144"/>
                <a:gd name="T60" fmla="*/ 76 w 87"/>
                <a:gd name="T6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7" h="144">
                  <a:moveTo>
                    <a:pt x="76" y="144"/>
                  </a:moveTo>
                  <a:lnTo>
                    <a:pt x="72" y="144"/>
                  </a:lnTo>
                  <a:lnTo>
                    <a:pt x="70" y="143"/>
                  </a:lnTo>
                  <a:lnTo>
                    <a:pt x="67" y="141"/>
                  </a:lnTo>
                  <a:lnTo>
                    <a:pt x="65" y="137"/>
                  </a:lnTo>
                  <a:lnTo>
                    <a:pt x="23" y="59"/>
                  </a:lnTo>
                  <a:lnTo>
                    <a:pt x="23" y="104"/>
                  </a:lnTo>
                  <a:lnTo>
                    <a:pt x="22" y="108"/>
                  </a:lnTo>
                  <a:lnTo>
                    <a:pt x="19" y="111"/>
                  </a:lnTo>
                  <a:lnTo>
                    <a:pt x="16" y="114"/>
                  </a:lnTo>
                  <a:lnTo>
                    <a:pt x="11" y="115"/>
                  </a:lnTo>
                  <a:lnTo>
                    <a:pt x="6" y="114"/>
                  </a:lnTo>
                  <a:lnTo>
                    <a:pt x="2" y="111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5"/>
                  </a:lnTo>
                  <a:lnTo>
                    <a:pt x="5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22" y="7"/>
                  </a:lnTo>
                  <a:lnTo>
                    <a:pt x="86" y="126"/>
                  </a:lnTo>
                  <a:lnTo>
                    <a:pt x="87" y="131"/>
                  </a:lnTo>
                  <a:lnTo>
                    <a:pt x="87" y="136"/>
                  </a:lnTo>
                  <a:lnTo>
                    <a:pt x="84" y="140"/>
                  </a:lnTo>
                  <a:lnTo>
                    <a:pt x="81" y="142"/>
                  </a:lnTo>
                  <a:lnTo>
                    <a:pt x="78" y="144"/>
                  </a:lnTo>
                  <a:lnTo>
                    <a:pt x="76" y="14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94" name="Freeform 291"/>
            <p:cNvSpPr>
              <a:spLocks/>
            </p:cNvSpPr>
            <p:nvPr/>
          </p:nvSpPr>
          <p:spPr bwMode="auto">
            <a:xfrm>
              <a:off x="3417888" y="5729288"/>
              <a:ext cx="36513" cy="31750"/>
            </a:xfrm>
            <a:custGeom>
              <a:avLst/>
              <a:gdLst>
                <a:gd name="T0" fmla="*/ 73 w 94"/>
                <a:gd name="T1" fmla="*/ 82 h 82"/>
                <a:gd name="T2" fmla="*/ 63 w 94"/>
                <a:gd name="T3" fmla="*/ 81 h 82"/>
                <a:gd name="T4" fmla="*/ 43 w 94"/>
                <a:gd name="T5" fmla="*/ 79 h 82"/>
                <a:gd name="T6" fmla="*/ 30 w 94"/>
                <a:gd name="T7" fmla="*/ 77 h 82"/>
                <a:gd name="T8" fmla="*/ 19 w 94"/>
                <a:gd name="T9" fmla="*/ 73 h 82"/>
                <a:gd name="T10" fmla="*/ 14 w 94"/>
                <a:gd name="T11" fmla="*/ 72 h 82"/>
                <a:gd name="T12" fmla="*/ 9 w 94"/>
                <a:gd name="T13" fmla="*/ 70 h 82"/>
                <a:gd name="T14" fmla="*/ 6 w 94"/>
                <a:gd name="T15" fmla="*/ 67 h 82"/>
                <a:gd name="T16" fmla="*/ 3 w 94"/>
                <a:gd name="T17" fmla="*/ 63 h 82"/>
                <a:gd name="T18" fmla="*/ 1 w 94"/>
                <a:gd name="T19" fmla="*/ 59 h 82"/>
                <a:gd name="T20" fmla="*/ 0 w 94"/>
                <a:gd name="T21" fmla="*/ 54 h 82"/>
                <a:gd name="T22" fmla="*/ 0 w 94"/>
                <a:gd name="T23" fmla="*/ 49 h 82"/>
                <a:gd name="T24" fmla="*/ 1 w 94"/>
                <a:gd name="T25" fmla="*/ 43 h 82"/>
                <a:gd name="T26" fmla="*/ 5 w 94"/>
                <a:gd name="T27" fmla="*/ 33 h 82"/>
                <a:gd name="T28" fmla="*/ 11 w 94"/>
                <a:gd name="T29" fmla="*/ 23 h 82"/>
                <a:gd name="T30" fmla="*/ 18 w 94"/>
                <a:gd name="T31" fmla="*/ 13 h 82"/>
                <a:gd name="T32" fmla="*/ 27 w 94"/>
                <a:gd name="T33" fmla="*/ 7 h 82"/>
                <a:gd name="T34" fmla="*/ 30 w 94"/>
                <a:gd name="T35" fmla="*/ 3 h 82"/>
                <a:gd name="T36" fmla="*/ 35 w 94"/>
                <a:gd name="T37" fmla="*/ 2 h 82"/>
                <a:gd name="T38" fmla="*/ 39 w 94"/>
                <a:gd name="T39" fmla="*/ 1 h 82"/>
                <a:gd name="T40" fmla="*/ 43 w 94"/>
                <a:gd name="T41" fmla="*/ 0 h 82"/>
                <a:gd name="T42" fmla="*/ 50 w 94"/>
                <a:gd name="T43" fmla="*/ 2 h 82"/>
                <a:gd name="T44" fmla="*/ 58 w 94"/>
                <a:gd name="T45" fmla="*/ 6 h 82"/>
                <a:gd name="T46" fmla="*/ 67 w 94"/>
                <a:gd name="T47" fmla="*/ 12 h 82"/>
                <a:gd name="T48" fmla="*/ 76 w 94"/>
                <a:gd name="T49" fmla="*/ 18 h 82"/>
                <a:gd name="T50" fmla="*/ 89 w 94"/>
                <a:gd name="T51" fmla="*/ 30 h 82"/>
                <a:gd name="T52" fmla="*/ 94 w 94"/>
                <a:gd name="T53" fmla="*/ 37 h 82"/>
                <a:gd name="T54" fmla="*/ 73 w 94"/>
                <a:gd name="T5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" h="82">
                  <a:moveTo>
                    <a:pt x="73" y="82"/>
                  </a:moveTo>
                  <a:lnTo>
                    <a:pt x="63" y="81"/>
                  </a:lnTo>
                  <a:lnTo>
                    <a:pt x="43" y="79"/>
                  </a:lnTo>
                  <a:lnTo>
                    <a:pt x="30" y="77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9" y="70"/>
                  </a:lnTo>
                  <a:lnTo>
                    <a:pt x="6" y="67"/>
                  </a:lnTo>
                  <a:lnTo>
                    <a:pt x="3" y="63"/>
                  </a:lnTo>
                  <a:lnTo>
                    <a:pt x="1" y="59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1" y="43"/>
                  </a:lnTo>
                  <a:lnTo>
                    <a:pt x="5" y="33"/>
                  </a:lnTo>
                  <a:lnTo>
                    <a:pt x="11" y="23"/>
                  </a:lnTo>
                  <a:lnTo>
                    <a:pt x="18" y="13"/>
                  </a:lnTo>
                  <a:lnTo>
                    <a:pt x="27" y="7"/>
                  </a:lnTo>
                  <a:lnTo>
                    <a:pt x="30" y="3"/>
                  </a:lnTo>
                  <a:lnTo>
                    <a:pt x="35" y="2"/>
                  </a:lnTo>
                  <a:lnTo>
                    <a:pt x="39" y="1"/>
                  </a:lnTo>
                  <a:lnTo>
                    <a:pt x="43" y="0"/>
                  </a:lnTo>
                  <a:lnTo>
                    <a:pt x="50" y="2"/>
                  </a:lnTo>
                  <a:lnTo>
                    <a:pt x="58" y="6"/>
                  </a:lnTo>
                  <a:lnTo>
                    <a:pt x="67" y="12"/>
                  </a:lnTo>
                  <a:lnTo>
                    <a:pt x="76" y="18"/>
                  </a:lnTo>
                  <a:lnTo>
                    <a:pt x="89" y="30"/>
                  </a:lnTo>
                  <a:lnTo>
                    <a:pt x="94" y="37"/>
                  </a:lnTo>
                  <a:lnTo>
                    <a:pt x="73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95" name="Freeform 292"/>
            <p:cNvSpPr>
              <a:spLocks/>
            </p:cNvSpPr>
            <p:nvPr/>
          </p:nvSpPr>
          <p:spPr bwMode="auto">
            <a:xfrm>
              <a:off x="3413125" y="5724525"/>
              <a:ext cx="46038" cy="41275"/>
            </a:xfrm>
            <a:custGeom>
              <a:avLst/>
              <a:gdLst>
                <a:gd name="T0" fmla="*/ 62 w 119"/>
                <a:gd name="T1" fmla="*/ 103 h 104"/>
                <a:gd name="T2" fmla="*/ 30 w 119"/>
                <a:gd name="T3" fmla="*/ 98 h 104"/>
                <a:gd name="T4" fmla="*/ 16 w 119"/>
                <a:gd name="T5" fmla="*/ 90 h 104"/>
                <a:gd name="T6" fmla="*/ 9 w 119"/>
                <a:gd name="T7" fmla="*/ 84 h 104"/>
                <a:gd name="T8" fmla="*/ 3 w 119"/>
                <a:gd name="T9" fmla="*/ 76 h 104"/>
                <a:gd name="T10" fmla="*/ 0 w 119"/>
                <a:gd name="T11" fmla="*/ 65 h 104"/>
                <a:gd name="T12" fmla="*/ 2 w 119"/>
                <a:gd name="T13" fmla="*/ 54 h 104"/>
                <a:gd name="T14" fmla="*/ 5 w 119"/>
                <a:gd name="T15" fmla="*/ 43 h 104"/>
                <a:gd name="T16" fmla="*/ 13 w 119"/>
                <a:gd name="T17" fmla="*/ 29 h 104"/>
                <a:gd name="T18" fmla="*/ 22 w 119"/>
                <a:gd name="T19" fmla="*/ 17 h 104"/>
                <a:gd name="T20" fmla="*/ 36 w 119"/>
                <a:gd name="T21" fmla="*/ 7 h 104"/>
                <a:gd name="T22" fmla="*/ 49 w 119"/>
                <a:gd name="T23" fmla="*/ 1 h 104"/>
                <a:gd name="T24" fmla="*/ 56 w 119"/>
                <a:gd name="T25" fmla="*/ 0 h 104"/>
                <a:gd name="T26" fmla="*/ 74 w 119"/>
                <a:gd name="T27" fmla="*/ 5 h 104"/>
                <a:gd name="T28" fmla="*/ 91 w 119"/>
                <a:gd name="T29" fmla="*/ 17 h 104"/>
                <a:gd name="T30" fmla="*/ 117 w 119"/>
                <a:gd name="T31" fmla="*/ 40 h 104"/>
                <a:gd name="T32" fmla="*/ 119 w 119"/>
                <a:gd name="T33" fmla="*/ 49 h 104"/>
                <a:gd name="T34" fmla="*/ 116 w 119"/>
                <a:gd name="T35" fmla="*/ 56 h 104"/>
                <a:gd name="T36" fmla="*/ 107 w 119"/>
                <a:gd name="T37" fmla="*/ 60 h 104"/>
                <a:gd name="T38" fmla="*/ 98 w 119"/>
                <a:gd name="T39" fmla="*/ 56 h 104"/>
                <a:gd name="T40" fmla="*/ 75 w 119"/>
                <a:gd name="T41" fmla="*/ 35 h 104"/>
                <a:gd name="T42" fmla="*/ 64 w 119"/>
                <a:gd name="T43" fmla="*/ 28 h 104"/>
                <a:gd name="T44" fmla="*/ 56 w 119"/>
                <a:gd name="T45" fmla="*/ 24 h 104"/>
                <a:gd name="T46" fmla="*/ 56 w 119"/>
                <a:gd name="T47" fmla="*/ 24 h 104"/>
                <a:gd name="T48" fmla="*/ 43 w 119"/>
                <a:gd name="T49" fmla="*/ 32 h 104"/>
                <a:gd name="T50" fmla="*/ 30 w 119"/>
                <a:gd name="T51" fmla="*/ 48 h 104"/>
                <a:gd name="T52" fmla="*/ 25 w 119"/>
                <a:gd name="T53" fmla="*/ 57 h 104"/>
                <a:gd name="T54" fmla="*/ 26 w 119"/>
                <a:gd name="T55" fmla="*/ 70 h 104"/>
                <a:gd name="T56" fmla="*/ 47 w 119"/>
                <a:gd name="T57" fmla="*/ 77 h 104"/>
                <a:gd name="T58" fmla="*/ 85 w 119"/>
                <a:gd name="T59" fmla="*/ 79 h 104"/>
                <a:gd name="T60" fmla="*/ 86 w 119"/>
                <a:gd name="T61" fmla="*/ 79 h 104"/>
                <a:gd name="T62" fmla="*/ 93 w 119"/>
                <a:gd name="T63" fmla="*/ 83 h 104"/>
                <a:gd name="T64" fmla="*/ 97 w 119"/>
                <a:gd name="T65" fmla="*/ 93 h 104"/>
                <a:gd name="T66" fmla="*/ 95 w 119"/>
                <a:gd name="T67" fmla="*/ 100 h 104"/>
                <a:gd name="T68" fmla="*/ 86 w 119"/>
                <a:gd name="T69" fmla="*/ 104 h 104"/>
                <a:gd name="T70" fmla="*/ 80 w 119"/>
                <a:gd name="T7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9" h="104">
                  <a:moveTo>
                    <a:pt x="80" y="104"/>
                  </a:moveTo>
                  <a:lnTo>
                    <a:pt x="62" y="103"/>
                  </a:lnTo>
                  <a:lnTo>
                    <a:pt x="41" y="100"/>
                  </a:lnTo>
                  <a:lnTo>
                    <a:pt x="30" y="98"/>
                  </a:lnTo>
                  <a:lnTo>
                    <a:pt x="20" y="93"/>
                  </a:lnTo>
                  <a:lnTo>
                    <a:pt x="16" y="90"/>
                  </a:lnTo>
                  <a:lnTo>
                    <a:pt x="11" y="88"/>
                  </a:lnTo>
                  <a:lnTo>
                    <a:pt x="9" y="84"/>
                  </a:lnTo>
                  <a:lnTo>
                    <a:pt x="7" y="81"/>
                  </a:lnTo>
                  <a:lnTo>
                    <a:pt x="3" y="76"/>
                  </a:lnTo>
                  <a:lnTo>
                    <a:pt x="2" y="71"/>
                  </a:lnTo>
                  <a:lnTo>
                    <a:pt x="0" y="65"/>
                  </a:lnTo>
                  <a:lnTo>
                    <a:pt x="0" y="60"/>
                  </a:lnTo>
                  <a:lnTo>
                    <a:pt x="2" y="54"/>
                  </a:lnTo>
                  <a:lnTo>
                    <a:pt x="3" y="48"/>
                  </a:lnTo>
                  <a:lnTo>
                    <a:pt x="5" y="43"/>
                  </a:lnTo>
                  <a:lnTo>
                    <a:pt x="9" y="37"/>
                  </a:lnTo>
                  <a:lnTo>
                    <a:pt x="13" y="29"/>
                  </a:lnTo>
                  <a:lnTo>
                    <a:pt x="18" y="23"/>
                  </a:lnTo>
                  <a:lnTo>
                    <a:pt x="22" y="17"/>
                  </a:lnTo>
                  <a:lnTo>
                    <a:pt x="29" y="11"/>
                  </a:lnTo>
                  <a:lnTo>
                    <a:pt x="36" y="7"/>
                  </a:lnTo>
                  <a:lnTo>
                    <a:pt x="42" y="3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4" y="1"/>
                  </a:lnTo>
                  <a:lnTo>
                    <a:pt x="74" y="5"/>
                  </a:lnTo>
                  <a:lnTo>
                    <a:pt x="82" y="11"/>
                  </a:lnTo>
                  <a:lnTo>
                    <a:pt x="91" y="17"/>
                  </a:lnTo>
                  <a:lnTo>
                    <a:pt x="106" y="30"/>
                  </a:lnTo>
                  <a:lnTo>
                    <a:pt x="117" y="40"/>
                  </a:lnTo>
                  <a:lnTo>
                    <a:pt x="119" y="44"/>
                  </a:lnTo>
                  <a:lnTo>
                    <a:pt x="119" y="49"/>
                  </a:lnTo>
                  <a:lnTo>
                    <a:pt x="118" y="52"/>
                  </a:lnTo>
                  <a:lnTo>
                    <a:pt x="116" y="56"/>
                  </a:lnTo>
                  <a:lnTo>
                    <a:pt x="112" y="59"/>
                  </a:lnTo>
                  <a:lnTo>
                    <a:pt x="107" y="60"/>
                  </a:lnTo>
                  <a:lnTo>
                    <a:pt x="102" y="59"/>
                  </a:lnTo>
                  <a:lnTo>
                    <a:pt x="98" y="56"/>
                  </a:lnTo>
                  <a:lnTo>
                    <a:pt x="87" y="45"/>
                  </a:lnTo>
                  <a:lnTo>
                    <a:pt x="75" y="35"/>
                  </a:lnTo>
                  <a:lnTo>
                    <a:pt x="69" y="30"/>
                  </a:lnTo>
                  <a:lnTo>
                    <a:pt x="64" y="28"/>
                  </a:lnTo>
                  <a:lnTo>
                    <a:pt x="59" y="25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1" y="27"/>
                  </a:lnTo>
                  <a:lnTo>
                    <a:pt x="43" y="32"/>
                  </a:lnTo>
                  <a:lnTo>
                    <a:pt x="36" y="38"/>
                  </a:lnTo>
                  <a:lnTo>
                    <a:pt x="30" y="48"/>
                  </a:lnTo>
                  <a:lnTo>
                    <a:pt x="27" y="51"/>
                  </a:lnTo>
                  <a:lnTo>
                    <a:pt x="25" y="57"/>
                  </a:lnTo>
                  <a:lnTo>
                    <a:pt x="25" y="63"/>
                  </a:lnTo>
                  <a:lnTo>
                    <a:pt x="26" y="70"/>
                  </a:lnTo>
                  <a:lnTo>
                    <a:pt x="33" y="73"/>
                  </a:lnTo>
                  <a:lnTo>
                    <a:pt x="47" y="77"/>
                  </a:lnTo>
                  <a:lnTo>
                    <a:pt x="6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6" y="79"/>
                  </a:lnTo>
                  <a:lnTo>
                    <a:pt x="90" y="81"/>
                  </a:lnTo>
                  <a:lnTo>
                    <a:pt x="93" y="83"/>
                  </a:lnTo>
                  <a:lnTo>
                    <a:pt x="96" y="88"/>
                  </a:lnTo>
                  <a:lnTo>
                    <a:pt x="97" y="93"/>
                  </a:lnTo>
                  <a:lnTo>
                    <a:pt x="97" y="97"/>
                  </a:lnTo>
                  <a:lnTo>
                    <a:pt x="95" y="100"/>
                  </a:lnTo>
                  <a:lnTo>
                    <a:pt x="91" y="103"/>
                  </a:lnTo>
                  <a:lnTo>
                    <a:pt x="86" y="104"/>
                  </a:lnTo>
                  <a:lnTo>
                    <a:pt x="82" y="104"/>
                  </a:lnTo>
                  <a:lnTo>
                    <a:pt x="80" y="10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96" name="Freeform 293"/>
            <p:cNvSpPr>
              <a:spLocks/>
            </p:cNvSpPr>
            <p:nvPr/>
          </p:nvSpPr>
          <p:spPr bwMode="auto">
            <a:xfrm>
              <a:off x="3443288" y="5740400"/>
              <a:ext cx="107950" cy="80963"/>
            </a:xfrm>
            <a:custGeom>
              <a:avLst/>
              <a:gdLst>
                <a:gd name="T0" fmla="*/ 33 w 273"/>
                <a:gd name="T1" fmla="*/ 0 h 206"/>
                <a:gd name="T2" fmla="*/ 159 w 273"/>
                <a:gd name="T3" fmla="*/ 60 h 206"/>
                <a:gd name="T4" fmla="*/ 251 w 273"/>
                <a:gd name="T5" fmla="*/ 103 h 206"/>
                <a:gd name="T6" fmla="*/ 258 w 273"/>
                <a:gd name="T7" fmla="*/ 109 h 206"/>
                <a:gd name="T8" fmla="*/ 264 w 273"/>
                <a:gd name="T9" fmla="*/ 116 h 206"/>
                <a:gd name="T10" fmla="*/ 269 w 273"/>
                <a:gd name="T11" fmla="*/ 126 h 206"/>
                <a:gd name="T12" fmla="*/ 272 w 273"/>
                <a:gd name="T13" fmla="*/ 136 h 206"/>
                <a:gd name="T14" fmla="*/ 273 w 273"/>
                <a:gd name="T15" fmla="*/ 147 h 206"/>
                <a:gd name="T16" fmla="*/ 273 w 273"/>
                <a:gd name="T17" fmla="*/ 157 h 206"/>
                <a:gd name="T18" fmla="*/ 271 w 273"/>
                <a:gd name="T19" fmla="*/ 168 h 206"/>
                <a:gd name="T20" fmla="*/ 267 w 273"/>
                <a:gd name="T21" fmla="*/ 178 h 206"/>
                <a:gd name="T22" fmla="*/ 264 w 273"/>
                <a:gd name="T23" fmla="*/ 182 h 206"/>
                <a:gd name="T24" fmla="*/ 262 w 273"/>
                <a:gd name="T25" fmla="*/ 187 h 206"/>
                <a:gd name="T26" fmla="*/ 258 w 273"/>
                <a:gd name="T27" fmla="*/ 192 h 206"/>
                <a:gd name="T28" fmla="*/ 255 w 273"/>
                <a:gd name="T29" fmla="*/ 196 h 206"/>
                <a:gd name="T30" fmla="*/ 246 w 273"/>
                <a:gd name="T31" fmla="*/ 201 h 206"/>
                <a:gd name="T32" fmla="*/ 237 w 273"/>
                <a:gd name="T33" fmla="*/ 204 h 206"/>
                <a:gd name="T34" fmla="*/ 228 w 273"/>
                <a:gd name="T35" fmla="*/ 206 h 206"/>
                <a:gd name="T36" fmla="*/ 219 w 273"/>
                <a:gd name="T37" fmla="*/ 206 h 206"/>
                <a:gd name="T38" fmla="*/ 209 w 273"/>
                <a:gd name="T39" fmla="*/ 203 h 206"/>
                <a:gd name="T40" fmla="*/ 201 w 273"/>
                <a:gd name="T41" fmla="*/ 200 h 206"/>
                <a:gd name="T42" fmla="*/ 0 w 273"/>
                <a:gd name="T43" fmla="*/ 67 h 206"/>
                <a:gd name="T44" fmla="*/ 33 w 273"/>
                <a:gd name="T4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3" h="206">
                  <a:moveTo>
                    <a:pt x="33" y="0"/>
                  </a:moveTo>
                  <a:lnTo>
                    <a:pt x="159" y="60"/>
                  </a:lnTo>
                  <a:lnTo>
                    <a:pt x="251" y="103"/>
                  </a:lnTo>
                  <a:lnTo>
                    <a:pt x="258" y="109"/>
                  </a:lnTo>
                  <a:lnTo>
                    <a:pt x="264" y="116"/>
                  </a:lnTo>
                  <a:lnTo>
                    <a:pt x="269" y="126"/>
                  </a:lnTo>
                  <a:lnTo>
                    <a:pt x="272" y="136"/>
                  </a:lnTo>
                  <a:lnTo>
                    <a:pt x="273" y="147"/>
                  </a:lnTo>
                  <a:lnTo>
                    <a:pt x="273" y="157"/>
                  </a:lnTo>
                  <a:lnTo>
                    <a:pt x="271" y="168"/>
                  </a:lnTo>
                  <a:lnTo>
                    <a:pt x="267" y="178"/>
                  </a:lnTo>
                  <a:lnTo>
                    <a:pt x="264" y="182"/>
                  </a:lnTo>
                  <a:lnTo>
                    <a:pt x="262" y="187"/>
                  </a:lnTo>
                  <a:lnTo>
                    <a:pt x="258" y="192"/>
                  </a:lnTo>
                  <a:lnTo>
                    <a:pt x="255" y="196"/>
                  </a:lnTo>
                  <a:lnTo>
                    <a:pt x="246" y="201"/>
                  </a:lnTo>
                  <a:lnTo>
                    <a:pt x="237" y="204"/>
                  </a:lnTo>
                  <a:lnTo>
                    <a:pt x="228" y="206"/>
                  </a:lnTo>
                  <a:lnTo>
                    <a:pt x="219" y="206"/>
                  </a:lnTo>
                  <a:lnTo>
                    <a:pt x="209" y="203"/>
                  </a:lnTo>
                  <a:lnTo>
                    <a:pt x="201" y="200"/>
                  </a:lnTo>
                  <a:lnTo>
                    <a:pt x="0" y="67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97" name="Freeform 294"/>
            <p:cNvSpPr>
              <a:spLocks noEditPoints="1"/>
            </p:cNvSpPr>
            <p:nvPr/>
          </p:nvSpPr>
          <p:spPr bwMode="auto">
            <a:xfrm>
              <a:off x="3438525" y="5735638"/>
              <a:ext cx="119063" cy="90488"/>
            </a:xfrm>
            <a:custGeom>
              <a:avLst/>
              <a:gdLst>
                <a:gd name="T0" fmla="*/ 26 w 297"/>
                <a:gd name="T1" fmla="*/ 74 h 230"/>
                <a:gd name="T2" fmla="*/ 219 w 297"/>
                <a:gd name="T3" fmla="*/ 201 h 230"/>
                <a:gd name="T4" fmla="*/ 226 w 297"/>
                <a:gd name="T5" fmla="*/ 204 h 230"/>
                <a:gd name="T6" fmla="*/ 234 w 297"/>
                <a:gd name="T7" fmla="*/ 205 h 230"/>
                <a:gd name="T8" fmla="*/ 241 w 297"/>
                <a:gd name="T9" fmla="*/ 207 h 230"/>
                <a:gd name="T10" fmla="*/ 248 w 297"/>
                <a:gd name="T11" fmla="*/ 205 h 230"/>
                <a:gd name="T12" fmla="*/ 254 w 297"/>
                <a:gd name="T13" fmla="*/ 201 h 230"/>
                <a:gd name="T14" fmla="*/ 259 w 297"/>
                <a:gd name="T15" fmla="*/ 197 h 230"/>
                <a:gd name="T16" fmla="*/ 264 w 297"/>
                <a:gd name="T17" fmla="*/ 191 h 230"/>
                <a:gd name="T18" fmla="*/ 268 w 297"/>
                <a:gd name="T19" fmla="*/ 185 h 230"/>
                <a:gd name="T20" fmla="*/ 271 w 297"/>
                <a:gd name="T21" fmla="*/ 176 h 230"/>
                <a:gd name="T22" fmla="*/ 273 w 297"/>
                <a:gd name="T23" fmla="*/ 167 h 230"/>
                <a:gd name="T24" fmla="*/ 273 w 297"/>
                <a:gd name="T25" fmla="*/ 159 h 230"/>
                <a:gd name="T26" fmla="*/ 273 w 297"/>
                <a:gd name="T27" fmla="*/ 150 h 230"/>
                <a:gd name="T28" fmla="*/ 270 w 297"/>
                <a:gd name="T29" fmla="*/ 143 h 230"/>
                <a:gd name="T30" fmla="*/ 267 w 297"/>
                <a:gd name="T31" fmla="*/ 136 h 230"/>
                <a:gd name="T32" fmla="*/ 262 w 297"/>
                <a:gd name="T33" fmla="*/ 131 h 230"/>
                <a:gd name="T34" fmla="*/ 257 w 297"/>
                <a:gd name="T35" fmla="*/ 126 h 230"/>
                <a:gd name="T36" fmla="*/ 51 w 297"/>
                <a:gd name="T37" fmla="*/ 27 h 230"/>
                <a:gd name="T38" fmla="*/ 26 w 297"/>
                <a:gd name="T39" fmla="*/ 74 h 230"/>
                <a:gd name="T40" fmla="*/ 238 w 297"/>
                <a:gd name="T41" fmla="*/ 230 h 230"/>
                <a:gd name="T42" fmla="*/ 231 w 297"/>
                <a:gd name="T43" fmla="*/ 229 h 230"/>
                <a:gd name="T44" fmla="*/ 222 w 297"/>
                <a:gd name="T45" fmla="*/ 227 h 230"/>
                <a:gd name="T46" fmla="*/ 214 w 297"/>
                <a:gd name="T47" fmla="*/ 225 h 230"/>
                <a:gd name="T48" fmla="*/ 207 w 297"/>
                <a:gd name="T49" fmla="*/ 220 h 230"/>
                <a:gd name="T50" fmla="*/ 4 w 297"/>
                <a:gd name="T51" fmla="*/ 88 h 230"/>
                <a:gd name="T52" fmla="*/ 2 w 297"/>
                <a:gd name="T53" fmla="*/ 85 h 230"/>
                <a:gd name="T54" fmla="*/ 0 w 297"/>
                <a:gd name="T55" fmla="*/ 82 h 230"/>
                <a:gd name="T56" fmla="*/ 0 w 297"/>
                <a:gd name="T57" fmla="*/ 78 h 230"/>
                <a:gd name="T58" fmla="*/ 1 w 297"/>
                <a:gd name="T59" fmla="*/ 74 h 230"/>
                <a:gd name="T60" fmla="*/ 35 w 297"/>
                <a:gd name="T61" fmla="*/ 7 h 230"/>
                <a:gd name="T62" fmla="*/ 38 w 297"/>
                <a:gd name="T63" fmla="*/ 2 h 230"/>
                <a:gd name="T64" fmla="*/ 41 w 297"/>
                <a:gd name="T65" fmla="*/ 0 h 230"/>
                <a:gd name="T66" fmla="*/ 46 w 297"/>
                <a:gd name="T67" fmla="*/ 0 h 230"/>
                <a:gd name="T68" fmla="*/ 51 w 297"/>
                <a:gd name="T69" fmla="*/ 0 h 230"/>
                <a:gd name="T70" fmla="*/ 268 w 297"/>
                <a:gd name="T71" fmla="*/ 104 h 230"/>
                <a:gd name="T72" fmla="*/ 273 w 297"/>
                <a:gd name="T73" fmla="*/ 107 h 230"/>
                <a:gd name="T74" fmla="*/ 278 w 297"/>
                <a:gd name="T75" fmla="*/ 111 h 230"/>
                <a:gd name="T76" fmla="*/ 283 w 297"/>
                <a:gd name="T77" fmla="*/ 116 h 230"/>
                <a:gd name="T78" fmla="*/ 286 w 297"/>
                <a:gd name="T79" fmla="*/ 121 h 230"/>
                <a:gd name="T80" fmla="*/ 292 w 297"/>
                <a:gd name="T81" fmla="*/ 133 h 230"/>
                <a:gd name="T82" fmla="*/ 296 w 297"/>
                <a:gd name="T83" fmla="*/ 145 h 230"/>
                <a:gd name="T84" fmla="*/ 297 w 297"/>
                <a:gd name="T85" fmla="*/ 158 h 230"/>
                <a:gd name="T86" fmla="*/ 297 w 297"/>
                <a:gd name="T87" fmla="*/ 171 h 230"/>
                <a:gd name="T88" fmla="*/ 295 w 297"/>
                <a:gd name="T89" fmla="*/ 182 h 230"/>
                <a:gd name="T90" fmla="*/ 290 w 297"/>
                <a:gd name="T91" fmla="*/ 193 h 230"/>
                <a:gd name="T92" fmla="*/ 284 w 297"/>
                <a:gd name="T93" fmla="*/ 205 h 230"/>
                <a:gd name="T94" fmla="*/ 276 w 297"/>
                <a:gd name="T95" fmla="*/ 215 h 230"/>
                <a:gd name="T96" fmla="*/ 271 w 297"/>
                <a:gd name="T97" fmla="*/ 219 h 230"/>
                <a:gd name="T98" fmla="*/ 267 w 297"/>
                <a:gd name="T99" fmla="*/ 223 h 230"/>
                <a:gd name="T100" fmla="*/ 262 w 297"/>
                <a:gd name="T101" fmla="*/ 225 h 230"/>
                <a:gd name="T102" fmla="*/ 257 w 297"/>
                <a:gd name="T103" fmla="*/ 227 h 230"/>
                <a:gd name="T104" fmla="*/ 248 w 297"/>
                <a:gd name="T105" fmla="*/ 230 h 230"/>
                <a:gd name="T106" fmla="*/ 238 w 297"/>
                <a:gd name="T10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7" h="230">
                  <a:moveTo>
                    <a:pt x="26" y="74"/>
                  </a:moveTo>
                  <a:lnTo>
                    <a:pt x="219" y="201"/>
                  </a:lnTo>
                  <a:lnTo>
                    <a:pt x="226" y="204"/>
                  </a:lnTo>
                  <a:lnTo>
                    <a:pt x="234" y="205"/>
                  </a:lnTo>
                  <a:lnTo>
                    <a:pt x="241" y="207"/>
                  </a:lnTo>
                  <a:lnTo>
                    <a:pt x="248" y="205"/>
                  </a:lnTo>
                  <a:lnTo>
                    <a:pt x="254" y="201"/>
                  </a:lnTo>
                  <a:lnTo>
                    <a:pt x="259" y="197"/>
                  </a:lnTo>
                  <a:lnTo>
                    <a:pt x="264" y="191"/>
                  </a:lnTo>
                  <a:lnTo>
                    <a:pt x="268" y="185"/>
                  </a:lnTo>
                  <a:lnTo>
                    <a:pt x="271" y="176"/>
                  </a:lnTo>
                  <a:lnTo>
                    <a:pt x="273" y="167"/>
                  </a:lnTo>
                  <a:lnTo>
                    <a:pt x="273" y="159"/>
                  </a:lnTo>
                  <a:lnTo>
                    <a:pt x="273" y="150"/>
                  </a:lnTo>
                  <a:lnTo>
                    <a:pt x="270" y="143"/>
                  </a:lnTo>
                  <a:lnTo>
                    <a:pt x="267" y="136"/>
                  </a:lnTo>
                  <a:lnTo>
                    <a:pt x="262" y="131"/>
                  </a:lnTo>
                  <a:lnTo>
                    <a:pt x="257" y="126"/>
                  </a:lnTo>
                  <a:lnTo>
                    <a:pt x="51" y="27"/>
                  </a:lnTo>
                  <a:lnTo>
                    <a:pt x="26" y="74"/>
                  </a:lnTo>
                  <a:close/>
                  <a:moveTo>
                    <a:pt x="238" y="230"/>
                  </a:moveTo>
                  <a:lnTo>
                    <a:pt x="231" y="229"/>
                  </a:lnTo>
                  <a:lnTo>
                    <a:pt x="222" y="227"/>
                  </a:lnTo>
                  <a:lnTo>
                    <a:pt x="214" y="225"/>
                  </a:lnTo>
                  <a:lnTo>
                    <a:pt x="207" y="220"/>
                  </a:lnTo>
                  <a:lnTo>
                    <a:pt x="4" y="88"/>
                  </a:lnTo>
                  <a:lnTo>
                    <a:pt x="2" y="85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1" y="74"/>
                  </a:lnTo>
                  <a:lnTo>
                    <a:pt x="35" y="7"/>
                  </a:lnTo>
                  <a:lnTo>
                    <a:pt x="38" y="2"/>
                  </a:lnTo>
                  <a:lnTo>
                    <a:pt x="41" y="0"/>
                  </a:lnTo>
                  <a:lnTo>
                    <a:pt x="46" y="0"/>
                  </a:lnTo>
                  <a:lnTo>
                    <a:pt x="51" y="0"/>
                  </a:lnTo>
                  <a:lnTo>
                    <a:pt x="268" y="104"/>
                  </a:lnTo>
                  <a:lnTo>
                    <a:pt x="273" y="107"/>
                  </a:lnTo>
                  <a:lnTo>
                    <a:pt x="278" y="111"/>
                  </a:lnTo>
                  <a:lnTo>
                    <a:pt x="283" y="116"/>
                  </a:lnTo>
                  <a:lnTo>
                    <a:pt x="286" y="121"/>
                  </a:lnTo>
                  <a:lnTo>
                    <a:pt x="292" y="133"/>
                  </a:lnTo>
                  <a:lnTo>
                    <a:pt x="296" y="145"/>
                  </a:lnTo>
                  <a:lnTo>
                    <a:pt x="297" y="158"/>
                  </a:lnTo>
                  <a:lnTo>
                    <a:pt x="297" y="171"/>
                  </a:lnTo>
                  <a:lnTo>
                    <a:pt x="295" y="182"/>
                  </a:lnTo>
                  <a:lnTo>
                    <a:pt x="290" y="193"/>
                  </a:lnTo>
                  <a:lnTo>
                    <a:pt x="284" y="205"/>
                  </a:lnTo>
                  <a:lnTo>
                    <a:pt x="276" y="215"/>
                  </a:lnTo>
                  <a:lnTo>
                    <a:pt x="271" y="219"/>
                  </a:lnTo>
                  <a:lnTo>
                    <a:pt x="267" y="223"/>
                  </a:lnTo>
                  <a:lnTo>
                    <a:pt x="262" y="225"/>
                  </a:lnTo>
                  <a:lnTo>
                    <a:pt x="257" y="227"/>
                  </a:lnTo>
                  <a:lnTo>
                    <a:pt x="248" y="230"/>
                  </a:lnTo>
                  <a:lnTo>
                    <a:pt x="238" y="23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561" name="Прямоугольник 560"/>
          <p:cNvSpPr/>
          <p:nvPr/>
        </p:nvSpPr>
        <p:spPr>
          <a:xfrm>
            <a:off x="5221295" y="1535490"/>
            <a:ext cx="1798755" cy="144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Учет при отгрузке авто-цистерн</a:t>
            </a:r>
          </a:p>
        </p:txBody>
      </p:sp>
      <p:sp>
        <p:nvSpPr>
          <p:cNvPr id="642" name="Прямоугольник 641"/>
          <p:cNvSpPr/>
          <p:nvPr/>
        </p:nvSpPr>
        <p:spPr>
          <a:xfrm>
            <a:off x="5388944" y="2173141"/>
            <a:ext cx="1548172" cy="180020"/>
          </a:xfrm>
          <a:prstGeom prst="rect">
            <a:avLst/>
          </a:prstGeom>
          <a:solidFill>
            <a:srgbClr val="EF6213">
              <a:alpha val="57000"/>
            </a:srgbClr>
          </a:solidFill>
          <a:ln w="31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Автоматизированный учет отгрузки в АЦ на </a:t>
            </a:r>
            <a:r>
              <a:rPr lang="ru-RU" sz="600" b="1" dirty="0" smtClean="0">
                <a:solidFill>
                  <a:schemeClr val="bg1">
                    <a:lumMod val="95000"/>
                  </a:schemeClr>
                </a:solidFill>
              </a:rPr>
              <a:t>АСН</a:t>
            </a:r>
            <a:endParaRPr lang="ru-RU" sz="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48" name="Прямоугольник 647"/>
          <p:cNvSpPr/>
          <p:nvPr/>
        </p:nvSpPr>
        <p:spPr>
          <a:xfrm>
            <a:off x="5388944" y="3886476"/>
            <a:ext cx="1548172" cy="468052"/>
          </a:xfrm>
          <a:prstGeom prst="rect">
            <a:avLst/>
          </a:prstGeom>
          <a:solidFill>
            <a:schemeClr val="bg1">
              <a:alpha val="37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Предел погрешности: </a:t>
            </a:r>
            <a:endParaRPr lang="ru-RU" sz="600" b="1" dirty="0" smtClean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масса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- 0,25%, объем - 0,5</a:t>
            </a: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%</a:t>
            </a:r>
          </a:p>
          <a:p>
            <a:pPr>
              <a:spcBef>
                <a:spcPts val="300"/>
              </a:spcBef>
            </a:pP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Опционально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: автоматизированный учет по КТ-549</a:t>
            </a:r>
          </a:p>
        </p:txBody>
      </p:sp>
      <p:sp>
        <p:nvSpPr>
          <p:cNvPr id="651" name="Прямоугольник 650"/>
          <p:cNvSpPr/>
          <p:nvPr/>
        </p:nvSpPr>
        <p:spPr>
          <a:xfrm>
            <a:off x="5388944" y="3506838"/>
            <a:ext cx="1548172" cy="360040"/>
          </a:xfrm>
          <a:prstGeom prst="rect">
            <a:avLst/>
          </a:prstGeom>
          <a:solidFill>
            <a:srgbClr val="EF6213">
              <a:alpha val="57000"/>
            </a:srgbClr>
          </a:solidFill>
          <a:ln w="31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spcBef>
                <a:spcPts val="450"/>
              </a:spcBef>
            </a:pPr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Автоматизированный учет отгрузки в АЦ с ручным определением плотности НП существующими системами </a:t>
            </a:r>
          </a:p>
        </p:txBody>
      </p:sp>
      <p:grpSp>
        <p:nvGrpSpPr>
          <p:cNvPr id="386" name="knot_z"/>
          <p:cNvGrpSpPr>
            <a:grpSpLocks noChangeAspect="1"/>
          </p:cNvGrpSpPr>
          <p:nvPr/>
        </p:nvGrpSpPr>
        <p:grpSpPr>
          <a:xfrm>
            <a:off x="6758459" y="3721263"/>
            <a:ext cx="182612" cy="145615"/>
            <a:chOff x="5645151" y="4616451"/>
            <a:chExt cx="854075" cy="681038"/>
          </a:xfrm>
        </p:grpSpPr>
        <p:sp>
          <p:nvSpPr>
            <p:cNvPr id="387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88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89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0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1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2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3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4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5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6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7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8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99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00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01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02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03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04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05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06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07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655" name="Прямоугольник 654"/>
          <p:cNvSpPr/>
          <p:nvPr/>
        </p:nvSpPr>
        <p:spPr>
          <a:xfrm>
            <a:off x="7164288" y="1482774"/>
            <a:ext cx="1253041" cy="24943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Система управления</a:t>
            </a:r>
          </a:p>
        </p:txBody>
      </p:sp>
      <p:sp>
        <p:nvSpPr>
          <p:cNvPr id="656" name="Прямоугольник 655"/>
          <p:cNvSpPr/>
          <p:nvPr/>
        </p:nvSpPr>
        <p:spPr>
          <a:xfrm>
            <a:off x="7072313" y="2374486"/>
            <a:ext cx="1548172" cy="47997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Arial" panose="020B0604020202020204" pitchFamily="34" charset="0"/>
              <a:buChar char="&gt;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АСУП НБ (</a:t>
            </a:r>
            <a:r>
              <a:rPr lang="en-US" sz="600" dirty="0">
                <a:solidFill>
                  <a:schemeClr val="bg1">
                    <a:lumMod val="95000"/>
                  </a:schemeClr>
                </a:solidFill>
              </a:rPr>
              <a:t>MES)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 с интеграцией в ЕАСКУ</a:t>
            </a:r>
            <a:r>
              <a:rPr lang="en-US" sz="600" dirty="0">
                <a:solidFill>
                  <a:schemeClr val="bg1">
                    <a:lumMod val="95000"/>
                  </a:schemeClr>
                </a:solidFill>
              </a:rPr>
              <a:t> (ERP</a:t>
            </a:r>
            <a:r>
              <a:rPr lang="en-US" sz="600" dirty="0" smtClean="0">
                <a:solidFill>
                  <a:schemeClr val="bg1">
                    <a:lumMod val="95000"/>
                  </a:schemeClr>
                </a:solidFill>
              </a:rPr>
              <a:t>)</a:t>
            </a: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&gt;"/>
            </a:pP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автоматическая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передача данных</a:t>
            </a:r>
          </a:p>
        </p:txBody>
      </p:sp>
      <p:sp>
        <p:nvSpPr>
          <p:cNvPr id="657" name="Прямоугольник 656"/>
          <p:cNvSpPr/>
          <p:nvPr/>
        </p:nvSpPr>
        <p:spPr>
          <a:xfrm>
            <a:off x="7072313" y="3886476"/>
            <a:ext cx="1548172" cy="46805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Bef>
                <a:spcPts val="450"/>
              </a:spcBef>
              <a:buFont typeface="Arial" panose="020B0604020202020204" pitchFamily="34" charset="0"/>
              <a:buChar char="&gt;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ЕАСКУ</a:t>
            </a:r>
            <a:r>
              <a:rPr lang="en-US" sz="600" dirty="0">
                <a:solidFill>
                  <a:schemeClr val="bg1">
                    <a:lumMod val="95000"/>
                  </a:schemeClr>
                </a:solidFill>
              </a:rPr>
              <a:t> (ERP</a:t>
            </a:r>
            <a:r>
              <a:rPr lang="en-US" sz="600" dirty="0" smtClean="0">
                <a:solidFill>
                  <a:schemeClr val="bg1">
                    <a:lumMod val="95000"/>
                  </a:schemeClr>
                </a:solidFill>
              </a:rPr>
              <a:t>)</a:t>
            </a:r>
            <a:endParaRPr lang="ru-RU" sz="600" dirty="0" smtClean="0">
              <a:solidFill>
                <a:schemeClr val="bg1">
                  <a:lumMod val="95000"/>
                </a:schemeClr>
              </a:solidFill>
            </a:endParaRPr>
          </a:p>
          <a:p>
            <a:pPr marL="171450" indent="-171450">
              <a:spcBef>
                <a:spcPts val="450"/>
              </a:spcBef>
              <a:buFont typeface="Arial" panose="020B0604020202020204" pitchFamily="34" charset="0"/>
              <a:buChar char="&gt;"/>
            </a:pP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ручной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ввод данных в соответствии с установленными требованиями</a:t>
            </a:r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</p:txBody>
      </p:sp>
      <p:grpSp>
        <p:nvGrpSpPr>
          <p:cNvPr id="124" name="gd zisterna_z"/>
          <p:cNvGrpSpPr>
            <a:grpSpLocks noChangeAspect="1"/>
          </p:cNvGrpSpPr>
          <p:nvPr/>
        </p:nvGrpSpPr>
        <p:grpSpPr>
          <a:xfrm>
            <a:off x="2447764" y="1181400"/>
            <a:ext cx="479507" cy="281697"/>
            <a:chOff x="533400" y="663575"/>
            <a:chExt cx="735013" cy="431800"/>
          </a:xfrm>
        </p:grpSpPr>
        <p:sp>
          <p:nvSpPr>
            <p:cNvPr id="125" name="Freeform 169"/>
            <p:cNvSpPr>
              <a:spLocks/>
            </p:cNvSpPr>
            <p:nvPr/>
          </p:nvSpPr>
          <p:spPr bwMode="auto">
            <a:xfrm>
              <a:off x="538163" y="709613"/>
              <a:ext cx="725488" cy="287338"/>
            </a:xfrm>
            <a:custGeom>
              <a:avLst/>
              <a:gdLst>
                <a:gd name="T0" fmla="*/ 924 w 1826"/>
                <a:gd name="T1" fmla="*/ 0 h 724"/>
                <a:gd name="T2" fmla="*/ 1728 w 1826"/>
                <a:gd name="T3" fmla="*/ 0 h 724"/>
                <a:gd name="T4" fmla="*/ 1732 w 1826"/>
                <a:gd name="T5" fmla="*/ 4 h 724"/>
                <a:gd name="T6" fmla="*/ 1744 w 1826"/>
                <a:gd name="T7" fmla="*/ 17 h 724"/>
                <a:gd name="T8" fmla="*/ 1750 w 1826"/>
                <a:gd name="T9" fmla="*/ 27 h 724"/>
                <a:gd name="T10" fmla="*/ 1759 w 1826"/>
                <a:gd name="T11" fmla="*/ 41 h 724"/>
                <a:gd name="T12" fmla="*/ 1767 w 1826"/>
                <a:gd name="T13" fmla="*/ 58 h 724"/>
                <a:gd name="T14" fmla="*/ 1778 w 1826"/>
                <a:gd name="T15" fmla="*/ 76 h 724"/>
                <a:gd name="T16" fmla="*/ 1787 w 1826"/>
                <a:gd name="T17" fmla="*/ 100 h 724"/>
                <a:gd name="T18" fmla="*/ 1795 w 1826"/>
                <a:gd name="T19" fmla="*/ 125 h 724"/>
                <a:gd name="T20" fmla="*/ 1804 w 1826"/>
                <a:gd name="T21" fmla="*/ 155 h 724"/>
                <a:gd name="T22" fmla="*/ 1812 w 1826"/>
                <a:gd name="T23" fmla="*/ 188 h 724"/>
                <a:gd name="T24" fmla="*/ 1817 w 1826"/>
                <a:gd name="T25" fmla="*/ 225 h 724"/>
                <a:gd name="T26" fmla="*/ 1823 w 1826"/>
                <a:gd name="T27" fmla="*/ 267 h 724"/>
                <a:gd name="T28" fmla="*/ 1825 w 1826"/>
                <a:gd name="T29" fmla="*/ 312 h 724"/>
                <a:gd name="T30" fmla="*/ 1826 w 1826"/>
                <a:gd name="T31" fmla="*/ 362 h 724"/>
                <a:gd name="T32" fmla="*/ 1825 w 1826"/>
                <a:gd name="T33" fmla="*/ 412 h 724"/>
                <a:gd name="T34" fmla="*/ 1823 w 1826"/>
                <a:gd name="T35" fmla="*/ 456 h 724"/>
                <a:gd name="T36" fmla="*/ 1817 w 1826"/>
                <a:gd name="T37" fmla="*/ 497 h 724"/>
                <a:gd name="T38" fmla="*/ 1812 w 1826"/>
                <a:gd name="T39" fmla="*/ 535 h 724"/>
                <a:gd name="T40" fmla="*/ 1804 w 1826"/>
                <a:gd name="T41" fmla="*/ 568 h 724"/>
                <a:gd name="T42" fmla="*/ 1795 w 1826"/>
                <a:gd name="T43" fmla="*/ 597 h 724"/>
                <a:gd name="T44" fmla="*/ 1787 w 1826"/>
                <a:gd name="T45" fmla="*/ 624 h 724"/>
                <a:gd name="T46" fmla="*/ 1778 w 1826"/>
                <a:gd name="T47" fmla="*/ 646 h 724"/>
                <a:gd name="T48" fmla="*/ 1767 w 1826"/>
                <a:gd name="T49" fmla="*/ 666 h 724"/>
                <a:gd name="T50" fmla="*/ 1759 w 1826"/>
                <a:gd name="T51" fmla="*/ 682 h 724"/>
                <a:gd name="T52" fmla="*/ 1750 w 1826"/>
                <a:gd name="T53" fmla="*/ 695 h 724"/>
                <a:gd name="T54" fmla="*/ 1744 w 1826"/>
                <a:gd name="T55" fmla="*/ 705 h 724"/>
                <a:gd name="T56" fmla="*/ 1732 w 1826"/>
                <a:gd name="T57" fmla="*/ 718 h 724"/>
                <a:gd name="T58" fmla="*/ 1728 w 1826"/>
                <a:gd name="T59" fmla="*/ 724 h 724"/>
                <a:gd name="T60" fmla="*/ 1728 w 1826"/>
                <a:gd name="T61" fmla="*/ 724 h 724"/>
                <a:gd name="T62" fmla="*/ 100 w 1826"/>
                <a:gd name="T63" fmla="*/ 724 h 724"/>
                <a:gd name="T64" fmla="*/ 95 w 1826"/>
                <a:gd name="T65" fmla="*/ 720 h 724"/>
                <a:gd name="T66" fmla="*/ 84 w 1826"/>
                <a:gd name="T67" fmla="*/ 707 h 724"/>
                <a:gd name="T68" fmla="*/ 76 w 1826"/>
                <a:gd name="T69" fmla="*/ 696 h 724"/>
                <a:gd name="T70" fmla="*/ 68 w 1826"/>
                <a:gd name="T71" fmla="*/ 683 h 724"/>
                <a:gd name="T72" fmla="*/ 59 w 1826"/>
                <a:gd name="T73" fmla="*/ 666 h 724"/>
                <a:gd name="T74" fmla="*/ 50 w 1826"/>
                <a:gd name="T75" fmla="*/ 647 h 724"/>
                <a:gd name="T76" fmla="*/ 39 w 1826"/>
                <a:gd name="T77" fmla="*/ 624 h 724"/>
                <a:gd name="T78" fmla="*/ 31 w 1826"/>
                <a:gd name="T79" fmla="*/ 599 h 724"/>
                <a:gd name="T80" fmla="*/ 22 w 1826"/>
                <a:gd name="T81" fmla="*/ 568 h 724"/>
                <a:gd name="T82" fmla="*/ 14 w 1826"/>
                <a:gd name="T83" fmla="*/ 535 h 724"/>
                <a:gd name="T84" fmla="*/ 9 w 1826"/>
                <a:gd name="T85" fmla="*/ 499 h 724"/>
                <a:gd name="T86" fmla="*/ 4 w 1826"/>
                <a:gd name="T87" fmla="*/ 456 h 724"/>
                <a:gd name="T88" fmla="*/ 0 w 1826"/>
                <a:gd name="T89" fmla="*/ 412 h 724"/>
                <a:gd name="T90" fmla="*/ 0 w 1826"/>
                <a:gd name="T91" fmla="*/ 362 h 724"/>
                <a:gd name="T92" fmla="*/ 0 w 1826"/>
                <a:gd name="T93" fmla="*/ 312 h 724"/>
                <a:gd name="T94" fmla="*/ 4 w 1826"/>
                <a:gd name="T95" fmla="*/ 267 h 724"/>
                <a:gd name="T96" fmla="*/ 9 w 1826"/>
                <a:gd name="T97" fmla="*/ 225 h 724"/>
                <a:gd name="T98" fmla="*/ 14 w 1826"/>
                <a:gd name="T99" fmla="*/ 188 h 724"/>
                <a:gd name="T100" fmla="*/ 22 w 1826"/>
                <a:gd name="T101" fmla="*/ 155 h 724"/>
                <a:gd name="T102" fmla="*/ 31 w 1826"/>
                <a:gd name="T103" fmla="*/ 125 h 724"/>
                <a:gd name="T104" fmla="*/ 39 w 1826"/>
                <a:gd name="T105" fmla="*/ 100 h 724"/>
                <a:gd name="T106" fmla="*/ 50 w 1826"/>
                <a:gd name="T107" fmla="*/ 77 h 724"/>
                <a:gd name="T108" fmla="*/ 59 w 1826"/>
                <a:gd name="T109" fmla="*/ 58 h 724"/>
                <a:gd name="T110" fmla="*/ 68 w 1826"/>
                <a:gd name="T111" fmla="*/ 42 h 724"/>
                <a:gd name="T112" fmla="*/ 76 w 1826"/>
                <a:gd name="T113" fmla="*/ 29 h 724"/>
                <a:gd name="T114" fmla="*/ 84 w 1826"/>
                <a:gd name="T115" fmla="*/ 18 h 724"/>
                <a:gd name="T116" fmla="*/ 95 w 1826"/>
                <a:gd name="T117" fmla="*/ 4 h 724"/>
                <a:gd name="T118" fmla="*/ 100 w 1826"/>
                <a:gd name="T119" fmla="*/ 0 h 724"/>
                <a:gd name="T120" fmla="*/ 100 w 1826"/>
                <a:gd name="T121" fmla="*/ 0 h 724"/>
                <a:gd name="T122" fmla="*/ 922 w 1826"/>
                <a:gd name="T123" fmla="*/ 0 h 724"/>
                <a:gd name="T124" fmla="*/ 924 w 1826"/>
                <a:gd name="T125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26" h="724">
                  <a:moveTo>
                    <a:pt x="924" y="0"/>
                  </a:moveTo>
                  <a:lnTo>
                    <a:pt x="1728" y="0"/>
                  </a:lnTo>
                  <a:lnTo>
                    <a:pt x="1732" y="4"/>
                  </a:lnTo>
                  <a:lnTo>
                    <a:pt x="1744" y="17"/>
                  </a:lnTo>
                  <a:lnTo>
                    <a:pt x="1750" y="27"/>
                  </a:lnTo>
                  <a:lnTo>
                    <a:pt x="1759" y="41"/>
                  </a:lnTo>
                  <a:lnTo>
                    <a:pt x="1767" y="58"/>
                  </a:lnTo>
                  <a:lnTo>
                    <a:pt x="1778" y="76"/>
                  </a:lnTo>
                  <a:lnTo>
                    <a:pt x="1787" y="100"/>
                  </a:lnTo>
                  <a:lnTo>
                    <a:pt x="1795" y="125"/>
                  </a:lnTo>
                  <a:lnTo>
                    <a:pt x="1804" y="155"/>
                  </a:lnTo>
                  <a:lnTo>
                    <a:pt x="1812" y="188"/>
                  </a:lnTo>
                  <a:lnTo>
                    <a:pt x="1817" y="225"/>
                  </a:lnTo>
                  <a:lnTo>
                    <a:pt x="1823" y="267"/>
                  </a:lnTo>
                  <a:lnTo>
                    <a:pt x="1825" y="312"/>
                  </a:lnTo>
                  <a:lnTo>
                    <a:pt x="1826" y="362"/>
                  </a:lnTo>
                  <a:lnTo>
                    <a:pt x="1825" y="412"/>
                  </a:lnTo>
                  <a:lnTo>
                    <a:pt x="1823" y="456"/>
                  </a:lnTo>
                  <a:lnTo>
                    <a:pt x="1817" y="497"/>
                  </a:lnTo>
                  <a:lnTo>
                    <a:pt x="1812" y="535"/>
                  </a:lnTo>
                  <a:lnTo>
                    <a:pt x="1804" y="568"/>
                  </a:lnTo>
                  <a:lnTo>
                    <a:pt x="1795" y="597"/>
                  </a:lnTo>
                  <a:lnTo>
                    <a:pt x="1787" y="624"/>
                  </a:lnTo>
                  <a:lnTo>
                    <a:pt x="1778" y="646"/>
                  </a:lnTo>
                  <a:lnTo>
                    <a:pt x="1767" y="666"/>
                  </a:lnTo>
                  <a:lnTo>
                    <a:pt x="1759" y="682"/>
                  </a:lnTo>
                  <a:lnTo>
                    <a:pt x="1750" y="695"/>
                  </a:lnTo>
                  <a:lnTo>
                    <a:pt x="1744" y="705"/>
                  </a:lnTo>
                  <a:lnTo>
                    <a:pt x="1732" y="718"/>
                  </a:lnTo>
                  <a:lnTo>
                    <a:pt x="1728" y="724"/>
                  </a:lnTo>
                  <a:lnTo>
                    <a:pt x="1728" y="724"/>
                  </a:lnTo>
                  <a:lnTo>
                    <a:pt x="100" y="724"/>
                  </a:lnTo>
                  <a:lnTo>
                    <a:pt x="95" y="720"/>
                  </a:lnTo>
                  <a:lnTo>
                    <a:pt x="84" y="707"/>
                  </a:lnTo>
                  <a:lnTo>
                    <a:pt x="76" y="696"/>
                  </a:lnTo>
                  <a:lnTo>
                    <a:pt x="68" y="683"/>
                  </a:lnTo>
                  <a:lnTo>
                    <a:pt x="59" y="666"/>
                  </a:lnTo>
                  <a:lnTo>
                    <a:pt x="50" y="647"/>
                  </a:lnTo>
                  <a:lnTo>
                    <a:pt x="39" y="624"/>
                  </a:lnTo>
                  <a:lnTo>
                    <a:pt x="31" y="599"/>
                  </a:lnTo>
                  <a:lnTo>
                    <a:pt x="22" y="568"/>
                  </a:lnTo>
                  <a:lnTo>
                    <a:pt x="14" y="535"/>
                  </a:lnTo>
                  <a:lnTo>
                    <a:pt x="9" y="499"/>
                  </a:lnTo>
                  <a:lnTo>
                    <a:pt x="4" y="456"/>
                  </a:lnTo>
                  <a:lnTo>
                    <a:pt x="0" y="412"/>
                  </a:lnTo>
                  <a:lnTo>
                    <a:pt x="0" y="362"/>
                  </a:lnTo>
                  <a:lnTo>
                    <a:pt x="0" y="312"/>
                  </a:lnTo>
                  <a:lnTo>
                    <a:pt x="4" y="267"/>
                  </a:lnTo>
                  <a:lnTo>
                    <a:pt x="9" y="225"/>
                  </a:lnTo>
                  <a:lnTo>
                    <a:pt x="14" y="188"/>
                  </a:lnTo>
                  <a:lnTo>
                    <a:pt x="22" y="155"/>
                  </a:lnTo>
                  <a:lnTo>
                    <a:pt x="31" y="125"/>
                  </a:lnTo>
                  <a:lnTo>
                    <a:pt x="39" y="100"/>
                  </a:lnTo>
                  <a:lnTo>
                    <a:pt x="50" y="77"/>
                  </a:lnTo>
                  <a:lnTo>
                    <a:pt x="59" y="58"/>
                  </a:lnTo>
                  <a:lnTo>
                    <a:pt x="68" y="42"/>
                  </a:lnTo>
                  <a:lnTo>
                    <a:pt x="76" y="29"/>
                  </a:lnTo>
                  <a:lnTo>
                    <a:pt x="84" y="18"/>
                  </a:lnTo>
                  <a:lnTo>
                    <a:pt x="95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22" y="0"/>
                  </a:lnTo>
                  <a:lnTo>
                    <a:pt x="924" y="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26" name="Freeform 170"/>
            <p:cNvSpPr>
              <a:spLocks noEditPoints="1"/>
            </p:cNvSpPr>
            <p:nvPr/>
          </p:nvSpPr>
          <p:spPr bwMode="auto">
            <a:xfrm>
              <a:off x="533400" y="704850"/>
              <a:ext cx="735013" cy="296863"/>
            </a:xfrm>
            <a:custGeom>
              <a:avLst/>
              <a:gdLst>
                <a:gd name="T0" fmla="*/ 1743 w 1853"/>
                <a:gd name="T1" fmla="*/ 715 h 747"/>
                <a:gd name="T2" fmla="*/ 1771 w 1853"/>
                <a:gd name="T3" fmla="*/ 670 h 747"/>
                <a:gd name="T4" fmla="*/ 1795 w 1853"/>
                <a:gd name="T5" fmla="*/ 612 h 747"/>
                <a:gd name="T6" fmla="*/ 1816 w 1853"/>
                <a:gd name="T7" fmla="*/ 529 h 747"/>
                <a:gd name="T8" fmla="*/ 1828 w 1853"/>
                <a:gd name="T9" fmla="*/ 417 h 747"/>
                <a:gd name="T10" fmla="*/ 1825 w 1853"/>
                <a:gd name="T11" fmla="*/ 291 h 747"/>
                <a:gd name="T12" fmla="*/ 1811 w 1853"/>
                <a:gd name="T13" fmla="*/ 189 h 747"/>
                <a:gd name="T14" fmla="*/ 1788 w 1853"/>
                <a:gd name="T15" fmla="*/ 114 h 747"/>
                <a:gd name="T16" fmla="*/ 1764 w 1853"/>
                <a:gd name="T17" fmla="*/ 64 h 747"/>
                <a:gd name="T18" fmla="*/ 1735 w 1853"/>
                <a:gd name="T19" fmla="*/ 24 h 747"/>
                <a:gd name="T20" fmla="*/ 935 w 1853"/>
                <a:gd name="T21" fmla="*/ 24 h 747"/>
                <a:gd name="T22" fmla="*/ 97 w 1853"/>
                <a:gd name="T23" fmla="*/ 50 h 747"/>
                <a:gd name="T24" fmla="*/ 73 w 1853"/>
                <a:gd name="T25" fmla="*/ 93 h 747"/>
                <a:gd name="T26" fmla="*/ 50 w 1853"/>
                <a:gd name="T27" fmla="*/ 161 h 747"/>
                <a:gd name="T28" fmla="*/ 31 w 1853"/>
                <a:gd name="T29" fmla="*/ 253 h 747"/>
                <a:gd name="T30" fmla="*/ 25 w 1853"/>
                <a:gd name="T31" fmla="*/ 374 h 747"/>
                <a:gd name="T32" fmla="*/ 31 w 1853"/>
                <a:gd name="T33" fmla="*/ 493 h 747"/>
                <a:gd name="T34" fmla="*/ 50 w 1853"/>
                <a:gd name="T35" fmla="*/ 586 h 747"/>
                <a:gd name="T36" fmla="*/ 73 w 1853"/>
                <a:gd name="T37" fmla="*/ 651 h 747"/>
                <a:gd name="T38" fmla="*/ 96 w 1853"/>
                <a:gd name="T39" fmla="*/ 696 h 747"/>
                <a:gd name="T40" fmla="*/ 1741 w 1853"/>
                <a:gd name="T41" fmla="*/ 736 h 747"/>
                <a:gd name="T42" fmla="*/ 1741 w 1853"/>
                <a:gd name="T43" fmla="*/ 747 h 747"/>
                <a:gd name="T44" fmla="*/ 105 w 1853"/>
                <a:gd name="T45" fmla="*/ 745 h 747"/>
                <a:gd name="T46" fmla="*/ 79 w 1853"/>
                <a:gd name="T47" fmla="*/ 713 h 747"/>
                <a:gd name="T48" fmla="*/ 51 w 1853"/>
                <a:gd name="T49" fmla="*/ 663 h 747"/>
                <a:gd name="T50" fmla="*/ 23 w 1853"/>
                <a:gd name="T51" fmla="*/ 583 h 747"/>
                <a:gd name="T52" fmla="*/ 5 w 1853"/>
                <a:gd name="T53" fmla="*/ 470 h 747"/>
                <a:gd name="T54" fmla="*/ 1 w 1853"/>
                <a:gd name="T55" fmla="*/ 326 h 747"/>
                <a:gd name="T56" fmla="*/ 14 w 1853"/>
                <a:gd name="T57" fmla="*/ 207 h 747"/>
                <a:gd name="T58" fmla="*/ 38 w 1853"/>
                <a:gd name="T59" fmla="*/ 118 h 747"/>
                <a:gd name="T60" fmla="*/ 64 w 1853"/>
                <a:gd name="T61" fmla="*/ 58 h 747"/>
                <a:gd name="T62" fmla="*/ 94 w 1853"/>
                <a:gd name="T63" fmla="*/ 13 h 747"/>
                <a:gd name="T64" fmla="*/ 113 w 1853"/>
                <a:gd name="T65" fmla="*/ 0 h 747"/>
                <a:gd name="T66" fmla="*/ 937 w 1853"/>
                <a:gd name="T67" fmla="*/ 0 h 747"/>
                <a:gd name="T68" fmla="*/ 1749 w 1853"/>
                <a:gd name="T69" fmla="*/ 3 h 747"/>
                <a:gd name="T70" fmla="*/ 1774 w 1853"/>
                <a:gd name="T71" fmla="*/ 34 h 747"/>
                <a:gd name="T72" fmla="*/ 1801 w 1853"/>
                <a:gd name="T73" fmla="*/ 84 h 747"/>
                <a:gd name="T74" fmla="*/ 1829 w 1853"/>
                <a:gd name="T75" fmla="*/ 164 h 747"/>
                <a:gd name="T76" fmla="*/ 1847 w 1853"/>
                <a:gd name="T77" fmla="*/ 278 h 747"/>
                <a:gd name="T78" fmla="*/ 1851 w 1853"/>
                <a:gd name="T79" fmla="*/ 421 h 747"/>
                <a:gd name="T80" fmla="*/ 1838 w 1853"/>
                <a:gd name="T81" fmla="*/ 541 h 747"/>
                <a:gd name="T82" fmla="*/ 1814 w 1853"/>
                <a:gd name="T83" fmla="*/ 629 h 747"/>
                <a:gd name="T84" fmla="*/ 1788 w 1853"/>
                <a:gd name="T85" fmla="*/ 690 h 747"/>
                <a:gd name="T86" fmla="*/ 1758 w 1853"/>
                <a:gd name="T87" fmla="*/ 734 h 747"/>
                <a:gd name="T88" fmla="*/ 1741 w 1853"/>
                <a:gd name="T89" fmla="*/ 747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3" h="747">
                  <a:moveTo>
                    <a:pt x="117" y="724"/>
                  </a:moveTo>
                  <a:lnTo>
                    <a:pt x="1735" y="724"/>
                  </a:lnTo>
                  <a:lnTo>
                    <a:pt x="1743" y="715"/>
                  </a:lnTo>
                  <a:lnTo>
                    <a:pt x="1755" y="697"/>
                  </a:lnTo>
                  <a:lnTo>
                    <a:pt x="1763" y="684"/>
                  </a:lnTo>
                  <a:lnTo>
                    <a:pt x="1771" y="670"/>
                  </a:lnTo>
                  <a:lnTo>
                    <a:pt x="1779" y="654"/>
                  </a:lnTo>
                  <a:lnTo>
                    <a:pt x="1787" y="634"/>
                  </a:lnTo>
                  <a:lnTo>
                    <a:pt x="1795" y="612"/>
                  </a:lnTo>
                  <a:lnTo>
                    <a:pt x="1803" y="587"/>
                  </a:lnTo>
                  <a:lnTo>
                    <a:pt x="1809" y="559"/>
                  </a:lnTo>
                  <a:lnTo>
                    <a:pt x="1816" y="529"/>
                  </a:lnTo>
                  <a:lnTo>
                    <a:pt x="1821" y="495"/>
                  </a:lnTo>
                  <a:lnTo>
                    <a:pt x="1825" y="458"/>
                  </a:lnTo>
                  <a:lnTo>
                    <a:pt x="1828" y="417"/>
                  </a:lnTo>
                  <a:lnTo>
                    <a:pt x="1828" y="374"/>
                  </a:lnTo>
                  <a:lnTo>
                    <a:pt x="1828" y="330"/>
                  </a:lnTo>
                  <a:lnTo>
                    <a:pt x="1825" y="291"/>
                  </a:lnTo>
                  <a:lnTo>
                    <a:pt x="1821" y="254"/>
                  </a:lnTo>
                  <a:lnTo>
                    <a:pt x="1816" y="220"/>
                  </a:lnTo>
                  <a:lnTo>
                    <a:pt x="1811" y="189"/>
                  </a:lnTo>
                  <a:lnTo>
                    <a:pt x="1803" y="162"/>
                  </a:lnTo>
                  <a:lnTo>
                    <a:pt x="1796" y="137"/>
                  </a:lnTo>
                  <a:lnTo>
                    <a:pt x="1788" y="114"/>
                  </a:lnTo>
                  <a:lnTo>
                    <a:pt x="1780" y="96"/>
                  </a:lnTo>
                  <a:lnTo>
                    <a:pt x="1772" y="79"/>
                  </a:lnTo>
                  <a:lnTo>
                    <a:pt x="1764" y="64"/>
                  </a:lnTo>
                  <a:lnTo>
                    <a:pt x="1757" y="51"/>
                  </a:lnTo>
                  <a:lnTo>
                    <a:pt x="1743" y="34"/>
                  </a:lnTo>
                  <a:lnTo>
                    <a:pt x="1735" y="24"/>
                  </a:lnTo>
                  <a:lnTo>
                    <a:pt x="937" y="24"/>
                  </a:lnTo>
                  <a:lnTo>
                    <a:pt x="937" y="24"/>
                  </a:lnTo>
                  <a:lnTo>
                    <a:pt x="935" y="24"/>
                  </a:lnTo>
                  <a:lnTo>
                    <a:pt x="118" y="24"/>
                  </a:lnTo>
                  <a:lnTo>
                    <a:pt x="110" y="33"/>
                  </a:lnTo>
                  <a:lnTo>
                    <a:pt x="97" y="50"/>
                  </a:lnTo>
                  <a:lnTo>
                    <a:pt x="89" y="62"/>
                  </a:lnTo>
                  <a:lnTo>
                    <a:pt x="81" y="76"/>
                  </a:lnTo>
                  <a:lnTo>
                    <a:pt x="73" y="93"/>
                  </a:lnTo>
                  <a:lnTo>
                    <a:pt x="65" y="113"/>
                  </a:lnTo>
                  <a:lnTo>
                    <a:pt x="58" y="136"/>
                  </a:lnTo>
                  <a:lnTo>
                    <a:pt x="50" y="161"/>
                  </a:lnTo>
                  <a:lnTo>
                    <a:pt x="43" y="188"/>
                  </a:lnTo>
                  <a:lnTo>
                    <a:pt x="37" y="218"/>
                  </a:lnTo>
                  <a:lnTo>
                    <a:pt x="31" y="253"/>
                  </a:lnTo>
                  <a:lnTo>
                    <a:pt x="27" y="289"/>
                  </a:lnTo>
                  <a:lnTo>
                    <a:pt x="25" y="330"/>
                  </a:lnTo>
                  <a:lnTo>
                    <a:pt x="25" y="374"/>
                  </a:lnTo>
                  <a:lnTo>
                    <a:pt x="25" y="417"/>
                  </a:lnTo>
                  <a:lnTo>
                    <a:pt x="27" y="457"/>
                  </a:lnTo>
                  <a:lnTo>
                    <a:pt x="31" y="493"/>
                  </a:lnTo>
                  <a:lnTo>
                    <a:pt x="37" y="528"/>
                  </a:lnTo>
                  <a:lnTo>
                    <a:pt x="43" y="558"/>
                  </a:lnTo>
                  <a:lnTo>
                    <a:pt x="50" y="586"/>
                  </a:lnTo>
                  <a:lnTo>
                    <a:pt x="56" y="611"/>
                  </a:lnTo>
                  <a:lnTo>
                    <a:pt x="64" y="633"/>
                  </a:lnTo>
                  <a:lnTo>
                    <a:pt x="73" y="651"/>
                  </a:lnTo>
                  <a:lnTo>
                    <a:pt x="81" y="669"/>
                  </a:lnTo>
                  <a:lnTo>
                    <a:pt x="89" y="683"/>
                  </a:lnTo>
                  <a:lnTo>
                    <a:pt x="96" y="696"/>
                  </a:lnTo>
                  <a:lnTo>
                    <a:pt x="109" y="713"/>
                  </a:lnTo>
                  <a:lnTo>
                    <a:pt x="117" y="724"/>
                  </a:lnTo>
                  <a:close/>
                  <a:moveTo>
                    <a:pt x="1741" y="736"/>
                  </a:moveTo>
                  <a:lnTo>
                    <a:pt x="1741" y="736"/>
                  </a:lnTo>
                  <a:lnTo>
                    <a:pt x="1741" y="736"/>
                  </a:lnTo>
                  <a:close/>
                  <a:moveTo>
                    <a:pt x="1741" y="747"/>
                  </a:moveTo>
                  <a:lnTo>
                    <a:pt x="113" y="747"/>
                  </a:lnTo>
                  <a:lnTo>
                    <a:pt x="108" y="747"/>
                  </a:lnTo>
                  <a:lnTo>
                    <a:pt x="105" y="745"/>
                  </a:lnTo>
                  <a:lnTo>
                    <a:pt x="98" y="740"/>
                  </a:lnTo>
                  <a:lnTo>
                    <a:pt x="87" y="725"/>
                  </a:lnTo>
                  <a:lnTo>
                    <a:pt x="79" y="713"/>
                  </a:lnTo>
                  <a:lnTo>
                    <a:pt x="69" y="700"/>
                  </a:lnTo>
                  <a:lnTo>
                    <a:pt x="60" y="683"/>
                  </a:lnTo>
                  <a:lnTo>
                    <a:pt x="51" y="663"/>
                  </a:lnTo>
                  <a:lnTo>
                    <a:pt x="42" y="640"/>
                  </a:lnTo>
                  <a:lnTo>
                    <a:pt x="33" y="613"/>
                  </a:lnTo>
                  <a:lnTo>
                    <a:pt x="23" y="583"/>
                  </a:lnTo>
                  <a:lnTo>
                    <a:pt x="15" y="549"/>
                  </a:lnTo>
                  <a:lnTo>
                    <a:pt x="9" y="512"/>
                  </a:lnTo>
                  <a:lnTo>
                    <a:pt x="5" y="470"/>
                  </a:lnTo>
                  <a:lnTo>
                    <a:pt x="1" y="424"/>
                  </a:lnTo>
                  <a:lnTo>
                    <a:pt x="0" y="374"/>
                  </a:lnTo>
                  <a:lnTo>
                    <a:pt x="1" y="326"/>
                  </a:lnTo>
                  <a:lnTo>
                    <a:pt x="4" y="283"/>
                  </a:lnTo>
                  <a:lnTo>
                    <a:pt x="9" y="243"/>
                  </a:lnTo>
                  <a:lnTo>
                    <a:pt x="14" y="207"/>
                  </a:lnTo>
                  <a:lnTo>
                    <a:pt x="21" y="174"/>
                  </a:lnTo>
                  <a:lnTo>
                    <a:pt x="29" y="145"/>
                  </a:lnTo>
                  <a:lnTo>
                    <a:pt x="38" y="118"/>
                  </a:lnTo>
                  <a:lnTo>
                    <a:pt x="46" y="95"/>
                  </a:lnTo>
                  <a:lnTo>
                    <a:pt x="55" y="75"/>
                  </a:lnTo>
                  <a:lnTo>
                    <a:pt x="64" y="58"/>
                  </a:lnTo>
                  <a:lnTo>
                    <a:pt x="73" y="43"/>
                  </a:lnTo>
                  <a:lnTo>
                    <a:pt x="81" y="30"/>
                  </a:lnTo>
                  <a:lnTo>
                    <a:pt x="94" y="13"/>
                  </a:lnTo>
                  <a:lnTo>
                    <a:pt x="102" y="4"/>
                  </a:lnTo>
                  <a:lnTo>
                    <a:pt x="108" y="1"/>
                  </a:lnTo>
                  <a:lnTo>
                    <a:pt x="113" y="0"/>
                  </a:lnTo>
                  <a:lnTo>
                    <a:pt x="935" y="0"/>
                  </a:lnTo>
                  <a:lnTo>
                    <a:pt x="937" y="0"/>
                  </a:lnTo>
                  <a:lnTo>
                    <a:pt x="937" y="0"/>
                  </a:lnTo>
                  <a:lnTo>
                    <a:pt x="1741" y="0"/>
                  </a:lnTo>
                  <a:lnTo>
                    <a:pt x="1745" y="0"/>
                  </a:lnTo>
                  <a:lnTo>
                    <a:pt x="1749" y="3"/>
                  </a:lnTo>
                  <a:lnTo>
                    <a:pt x="1754" y="8"/>
                  </a:lnTo>
                  <a:lnTo>
                    <a:pt x="1766" y="22"/>
                  </a:lnTo>
                  <a:lnTo>
                    <a:pt x="1774" y="34"/>
                  </a:lnTo>
                  <a:lnTo>
                    <a:pt x="1783" y="47"/>
                  </a:lnTo>
                  <a:lnTo>
                    <a:pt x="1792" y="64"/>
                  </a:lnTo>
                  <a:lnTo>
                    <a:pt x="1801" y="84"/>
                  </a:lnTo>
                  <a:lnTo>
                    <a:pt x="1812" y="108"/>
                  </a:lnTo>
                  <a:lnTo>
                    <a:pt x="1821" y="134"/>
                  </a:lnTo>
                  <a:lnTo>
                    <a:pt x="1829" y="164"/>
                  </a:lnTo>
                  <a:lnTo>
                    <a:pt x="1837" y="199"/>
                  </a:lnTo>
                  <a:lnTo>
                    <a:pt x="1843" y="236"/>
                  </a:lnTo>
                  <a:lnTo>
                    <a:pt x="1847" y="278"/>
                  </a:lnTo>
                  <a:lnTo>
                    <a:pt x="1851" y="324"/>
                  </a:lnTo>
                  <a:lnTo>
                    <a:pt x="1853" y="374"/>
                  </a:lnTo>
                  <a:lnTo>
                    <a:pt x="1851" y="421"/>
                  </a:lnTo>
                  <a:lnTo>
                    <a:pt x="1849" y="465"/>
                  </a:lnTo>
                  <a:lnTo>
                    <a:pt x="1843" y="504"/>
                  </a:lnTo>
                  <a:lnTo>
                    <a:pt x="1838" y="541"/>
                  </a:lnTo>
                  <a:lnTo>
                    <a:pt x="1832" y="574"/>
                  </a:lnTo>
                  <a:lnTo>
                    <a:pt x="1824" y="603"/>
                  </a:lnTo>
                  <a:lnTo>
                    <a:pt x="1814" y="629"/>
                  </a:lnTo>
                  <a:lnTo>
                    <a:pt x="1807" y="653"/>
                  </a:lnTo>
                  <a:lnTo>
                    <a:pt x="1797" y="672"/>
                  </a:lnTo>
                  <a:lnTo>
                    <a:pt x="1788" y="690"/>
                  </a:lnTo>
                  <a:lnTo>
                    <a:pt x="1780" y="704"/>
                  </a:lnTo>
                  <a:lnTo>
                    <a:pt x="1771" y="717"/>
                  </a:lnTo>
                  <a:lnTo>
                    <a:pt x="1758" y="734"/>
                  </a:lnTo>
                  <a:lnTo>
                    <a:pt x="1750" y="742"/>
                  </a:lnTo>
                  <a:lnTo>
                    <a:pt x="1746" y="746"/>
                  </a:lnTo>
                  <a:lnTo>
                    <a:pt x="1741" y="747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27" name="Rectangle 171"/>
            <p:cNvSpPr>
              <a:spLocks noChangeArrowheads="1"/>
            </p:cNvSpPr>
            <p:nvPr/>
          </p:nvSpPr>
          <p:spPr bwMode="auto">
            <a:xfrm>
              <a:off x="855663" y="688975"/>
              <a:ext cx="92075" cy="20638"/>
            </a:xfrm>
            <a:prstGeom prst="rect">
              <a:avLst/>
            </a:pr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28" name="Freeform 172"/>
            <p:cNvSpPr>
              <a:spLocks noEditPoints="1"/>
            </p:cNvSpPr>
            <p:nvPr/>
          </p:nvSpPr>
          <p:spPr bwMode="auto">
            <a:xfrm>
              <a:off x="852488" y="685800"/>
              <a:ext cx="100013" cy="28575"/>
            </a:xfrm>
            <a:custGeom>
              <a:avLst/>
              <a:gdLst>
                <a:gd name="T0" fmla="*/ 24 w 253"/>
                <a:gd name="T1" fmla="*/ 50 h 74"/>
                <a:gd name="T2" fmla="*/ 229 w 253"/>
                <a:gd name="T3" fmla="*/ 50 h 74"/>
                <a:gd name="T4" fmla="*/ 229 w 253"/>
                <a:gd name="T5" fmla="*/ 24 h 74"/>
                <a:gd name="T6" fmla="*/ 24 w 253"/>
                <a:gd name="T7" fmla="*/ 24 h 74"/>
                <a:gd name="T8" fmla="*/ 24 w 253"/>
                <a:gd name="T9" fmla="*/ 50 h 74"/>
                <a:gd name="T10" fmla="*/ 241 w 253"/>
                <a:gd name="T11" fmla="*/ 74 h 74"/>
                <a:gd name="T12" fmla="*/ 12 w 253"/>
                <a:gd name="T13" fmla="*/ 74 h 74"/>
                <a:gd name="T14" fmla="*/ 8 w 253"/>
                <a:gd name="T15" fmla="*/ 72 h 74"/>
                <a:gd name="T16" fmla="*/ 4 w 253"/>
                <a:gd name="T17" fmla="*/ 70 h 74"/>
                <a:gd name="T18" fmla="*/ 1 w 253"/>
                <a:gd name="T19" fmla="*/ 66 h 74"/>
                <a:gd name="T20" fmla="*/ 0 w 253"/>
                <a:gd name="T21" fmla="*/ 62 h 74"/>
                <a:gd name="T22" fmla="*/ 0 w 253"/>
                <a:gd name="T23" fmla="*/ 10 h 74"/>
                <a:gd name="T24" fmla="*/ 1 w 253"/>
                <a:gd name="T25" fmla="*/ 7 h 74"/>
                <a:gd name="T26" fmla="*/ 4 w 253"/>
                <a:gd name="T27" fmla="*/ 3 h 74"/>
                <a:gd name="T28" fmla="*/ 8 w 253"/>
                <a:gd name="T29" fmla="*/ 0 h 74"/>
                <a:gd name="T30" fmla="*/ 12 w 253"/>
                <a:gd name="T31" fmla="*/ 0 h 74"/>
                <a:gd name="T32" fmla="*/ 241 w 253"/>
                <a:gd name="T33" fmla="*/ 0 h 74"/>
                <a:gd name="T34" fmla="*/ 245 w 253"/>
                <a:gd name="T35" fmla="*/ 0 h 74"/>
                <a:gd name="T36" fmla="*/ 249 w 253"/>
                <a:gd name="T37" fmla="*/ 3 h 74"/>
                <a:gd name="T38" fmla="*/ 251 w 253"/>
                <a:gd name="T39" fmla="*/ 7 h 74"/>
                <a:gd name="T40" fmla="*/ 253 w 253"/>
                <a:gd name="T41" fmla="*/ 10 h 74"/>
                <a:gd name="T42" fmla="*/ 253 w 253"/>
                <a:gd name="T43" fmla="*/ 62 h 74"/>
                <a:gd name="T44" fmla="*/ 251 w 253"/>
                <a:gd name="T45" fmla="*/ 66 h 74"/>
                <a:gd name="T46" fmla="*/ 249 w 253"/>
                <a:gd name="T47" fmla="*/ 70 h 74"/>
                <a:gd name="T48" fmla="*/ 245 w 253"/>
                <a:gd name="T49" fmla="*/ 72 h 74"/>
                <a:gd name="T50" fmla="*/ 241 w 253"/>
                <a:gd name="T5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3" h="74">
                  <a:moveTo>
                    <a:pt x="24" y="50"/>
                  </a:moveTo>
                  <a:lnTo>
                    <a:pt x="229" y="50"/>
                  </a:lnTo>
                  <a:lnTo>
                    <a:pt x="229" y="24"/>
                  </a:lnTo>
                  <a:lnTo>
                    <a:pt x="24" y="24"/>
                  </a:lnTo>
                  <a:lnTo>
                    <a:pt x="24" y="50"/>
                  </a:lnTo>
                  <a:close/>
                  <a:moveTo>
                    <a:pt x="241" y="74"/>
                  </a:moveTo>
                  <a:lnTo>
                    <a:pt x="12" y="74"/>
                  </a:lnTo>
                  <a:lnTo>
                    <a:pt x="8" y="72"/>
                  </a:lnTo>
                  <a:lnTo>
                    <a:pt x="4" y="70"/>
                  </a:lnTo>
                  <a:lnTo>
                    <a:pt x="1" y="66"/>
                  </a:lnTo>
                  <a:lnTo>
                    <a:pt x="0" y="62"/>
                  </a:lnTo>
                  <a:lnTo>
                    <a:pt x="0" y="10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2" y="0"/>
                  </a:lnTo>
                  <a:lnTo>
                    <a:pt x="241" y="0"/>
                  </a:lnTo>
                  <a:lnTo>
                    <a:pt x="245" y="0"/>
                  </a:lnTo>
                  <a:lnTo>
                    <a:pt x="249" y="3"/>
                  </a:lnTo>
                  <a:lnTo>
                    <a:pt x="251" y="7"/>
                  </a:lnTo>
                  <a:lnTo>
                    <a:pt x="253" y="10"/>
                  </a:lnTo>
                  <a:lnTo>
                    <a:pt x="253" y="62"/>
                  </a:lnTo>
                  <a:lnTo>
                    <a:pt x="251" y="66"/>
                  </a:lnTo>
                  <a:lnTo>
                    <a:pt x="249" y="70"/>
                  </a:lnTo>
                  <a:lnTo>
                    <a:pt x="245" y="72"/>
                  </a:lnTo>
                  <a:lnTo>
                    <a:pt x="241" y="7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29" name="Freeform 173"/>
            <p:cNvSpPr>
              <a:spLocks/>
            </p:cNvSpPr>
            <p:nvPr/>
          </p:nvSpPr>
          <p:spPr bwMode="auto">
            <a:xfrm>
              <a:off x="841375" y="668338"/>
              <a:ext cx="120650" cy="20638"/>
            </a:xfrm>
            <a:custGeom>
              <a:avLst/>
              <a:gdLst>
                <a:gd name="T0" fmla="*/ 278 w 306"/>
                <a:gd name="T1" fmla="*/ 52 h 52"/>
                <a:gd name="T2" fmla="*/ 28 w 306"/>
                <a:gd name="T3" fmla="*/ 52 h 52"/>
                <a:gd name="T4" fmla="*/ 23 w 306"/>
                <a:gd name="T5" fmla="*/ 52 h 52"/>
                <a:gd name="T6" fmla="*/ 18 w 306"/>
                <a:gd name="T7" fmla="*/ 51 h 52"/>
                <a:gd name="T8" fmla="*/ 14 w 306"/>
                <a:gd name="T9" fmla="*/ 49 h 52"/>
                <a:gd name="T10" fmla="*/ 10 w 306"/>
                <a:gd name="T11" fmla="*/ 46 h 52"/>
                <a:gd name="T12" fmla="*/ 6 w 306"/>
                <a:gd name="T13" fmla="*/ 42 h 52"/>
                <a:gd name="T14" fmla="*/ 3 w 306"/>
                <a:gd name="T15" fmla="*/ 37 h 52"/>
                <a:gd name="T16" fmla="*/ 2 w 306"/>
                <a:gd name="T17" fmla="*/ 31 h 52"/>
                <a:gd name="T18" fmla="*/ 0 w 306"/>
                <a:gd name="T19" fmla="*/ 26 h 52"/>
                <a:gd name="T20" fmla="*/ 0 w 306"/>
                <a:gd name="T21" fmla="*/ 26 h 52"/>
                <a:gd name="T22" fmla="*/ 2 w 306"/>
                <a:gd name="T23" fmla="*/ 21 h 52"/>
                <a:gd name="T24" fmla="*/ 3 w 306"/>
                <a:gd name="T25" fmla="*/ 16 h 52"/>
                <a:gd name="T26" fmla="*/ 6 w 306"/>
                <a:gd name="T27" fmla="*/ 12 h 52"/>
                <a:gd name="T28" fmla="*/ 10 w 306"/>
                <a:gd name="T29" fmla="*/ 8 h 52"/>
                <a:gd name="T30" fmla="*/ 14 w 306"/>
                <a:gd name="T31" fmla="*/ 4 h 52"/>
                <a:gd name="T32" fmla="*/ 18 w 306"/>
                <a:gd name="T33" fmla="*/ 1 h 52"/>
                <a:gd name="T34" fmla="*/ 23 w 306"/>
                <a:gd name="T35" fmla="*/ 0 h 52"/>
                <a:gd name="T36" fmla="*/ 28 w 306"/>
                <a:gd name="T37" fmla="*/ 0 h 52"/>
                <a:gd name="T38" fmla="*/ 278 w 306"/>
                <a:gd name="T39" fmla="*/ 0 h 52"/>
                <a:gd name="T40" fmla="*/ 283 w 306"/>
                <a:gd name="T41" fmla="*/ 0 h 52"/>
                <a:gd name="T42" fmla="*/ 289 w 306"/>
                <a:gd name="T43" fmla="*/ 1 h 52"/>
                <a:gd name="T44" fmla="*/ 294 w 306"/>
                <a:gd name="T45" fmla="*/ 4 h 52"/>
                <a:gd name="T46" fmla="*/ 298 w 306"/>
                <a:gd name="T47" fmla="*/ 8 h 52"/>
                <a:gd name="T48" fmla="*/ 301 w 306"/>
                <a:gd name="T49" fmla="*/ 12 h 52"/>
                <a:gd name="T50" fmla="*/ 303 w 306"/>
                <a:gd name="T51" fmla="*/ 16 h 52"/>
                <a:gd name="T52" fmla="*/ 304 w 306"/>
                <a:gd name="T53" fmla="*/ 21 h 52"/>
                <a:gd name="T54" fmla="*/ 306 w 306"/>
                <a:gd name="T55" fmla="*/ 26 h 52"/>
                <a:gd name="T56" fmla="*/ 306 w 306"/>
                <a:gd name="T57" fmla="*/ 26 h 52"/>
                <a:gd name="T58" fmla="*/ 304 w 306"/>
                <a:gd name="T59" fmla="*/ 31 h 52"/>
                <a:gd name="T60" fmla="*/ 303 w 306"/>
                <a:gd name="T61" fmla="*/ 37 h 52"/>
                <a:gd name="T62" fmla="*/ 301 w 306"/>
                <a:gd name="T63" fmla="*/ 42 h 52"/>
                <a:gd name="T64" fmla="*/ 298 w 306"/>
                <a:gd name="T65" fmla="*/ 46 h 52"/>
                <a:gd name="T66" fmla="*/ 294 w 306"/>
                <a:gd name="T67" fmla="*/ 49 h 52"/>
                <a:gd name="T68" fmla="*/ 289 w 306"/>
                <a:gd name="T69" fmla="*/ 51 h 52"/>
                <a:gd name="T70" fmla="*/ 283 w 306"/>
                <a:gd name="T71" fmla="*/ 52 h 52"/>
                <a:gd name="T72" fmla="*/ 278 w 306"/>
                <a:gd name="T7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6" h="52">
                  <a:moveTo>
                    <a:pt x="278" y="52"/>
                  </a:moveTo>
                  <a:lnTo>
                    <a:pt x="28" y="52"/>
                  </a:lnTo>
                  <a:lnTo>
                    <a:pt x="23" y="52"/>
                  </a:lnTo>
                  <a:lnTo>
                    <a:pt x="18" y="51"/>
                  </a:lnTo>
                  <a:lnTo>
                    <a:pt x="14" y="49"/>
                  </a:lnTo>
                  <a:lnTo>
                    <a:pt x="10" y="46"/>
                  </a:lnTo>
                  <a:lnTo>
                    <a:pt x="6" y="42"/>
                  </a:lnTo>
                  <a:lnTo>
                    <a:pt x="3" y="37"/>
                  </a:lnTo>
                  <a:lnTo>
                    <a:pt x="2" y="3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1"/>
                  </a:lnTo>
                  <a:lnTo>
                    <a:pt x="3" y="16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278" y="0"/>
                  </a:lnTo>
                  <a:lnTo>
                    <a:pt x="283" y="0"/>
                  </a:lnTo>
                  <a:lnTo>
                    <a:pt x="289" y="1"/>
                  </a:lnTo>
                  <a:lnTo>
                    <a:pt x="294" y="4"/>
                  </a:lnTo>
                  <a:lnTo>
                    <a:pt x="298" y="8"/>
                  </a:lnTo>
                  <a:lnTo>
                    <a:pt x="301" y="12"/>
                  </a:lnTo>
                  <a:lnTo>
                    <a:pt x="303" y="16"/>
                  </a:lnTo>
                  <a:lnTo>
                    <a:pt x="304" y="21"/>
                  </a:lnTo>
                  <a:lnTo>
                    <a:pt x="306" y="26"/>
                  </a:lnTo>
                  <a:lnTo>
                    <a:pt x="306" y="26"/>
                  </a:lnTo>
                  <a:lnTo>
                    <a:pt x="304" y="31"/>
                  </a:lnTo>
                  <a:lnTo>
                    <a:pt x="303" y="37"/>
                  </a:lnTo>
                  <a:lnTo>
                    <a:pt x="301" y="42"/>
                  </a:lnTo>
                  <a:lnTo>
                    <a:pt x="298" y="46"/>
                  </a:lnTo>
                  <a:lnTo>
                    <a:pt x="294" y="49"/>
                  </a:lnTo>
                  <a:lnTo>
                    <a:pt x="289" y="51"/>
                  </a:lnTo>
                  <a:lnTo>
                    <a:pt x="283" y="52"/>
                  </a:lnTo>
                  <a:lnTo>
                    <a:pt x="278" y="52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30" name="Freeform 174"/>
            <p:cNvSpPr>
              <a:spLocks noEditPoints="1"/>
            </p:cNvSpPr>
            <p:nvPr/>
          </p:nvSpPr>
          <p:spPr bwMode="auto">
            <a:xfrm>
              <a:off x="836613" y="663575"/>
              <a:ext cx="130175" cy="31750"/>
            </a:xfrm>
            <a:custGeom>
              <a:avLst/>
              <a:gdLst>
                <a:gd name="T0" fmla="*/ 39 w 329"/>
                <a:gd name="T1" fmla="*/ 24 h 78"/>
                <a:gd name="T2" fmla="*/ 33 w 329"/>
                <a:gd name="T3" fmla="*/ 25 h 78"/>
                <a:gd name="T4" fmla="*/ 29 w 329"/>
                <a:gd name="T5" fmla="*/ 28 h 78"/>
                <a:gd name="T6" fmla="*/ 25 w 329"/>
                <a:gd name="T7" fmla="*/ 33 h 78"/>
                <a:gd name="T8" fmla="*/ 25 w 329"/>
                <a:gd name="T9" fmla="*/ 38 h 78"/>
                <a:gd name="T10" fmla="*/ 25 w 329"/>
                <a:gd name="T11" fmla="*/ 45 h 78"/>
                <a:gd name="T12" fmla="*/ 29 w 329"/>
                <a:gd name="T13" fmla="*/ 49 h 78"/>
                <a:gd name="T14" fmla="*/ 33 w 329"/>
                <a:gd name="T15" fmla="*/ 53 h 78"/>
                <a:gd name="T16" fmla="*/ 39 w 329"/>
                <a:gd name="T17" fmla="*/ 54 h 78"/>
                <a:gd name="T18" fmla="*/ 289 w 329"/>
                <a:gd name="T19" fmla="*/ 54 h 78"/>
                <a:gd name="T20" fmla="*/ 296 w 329"/>
                <a:gd name="T21" fmla="*/ 53 h 78"/>
                <a:gd name="T22" fmla="*/ 300 w 329"/>
                <a:gd name="T23" fmla="*/ 49 h 78"/>
                <a:gd name="T24" fmla="*/ 304 w 329"/>
                <a:gd name="T25" fmla="*/ 45 h 78"/>
                <a:gd name="T26" fmla="*/ 305 w 329"/>
                <a:gd name="T27" fmla="*/ 38 h 78"/>
                <a:gd name="T28" fmla="*/ 304 w 329"/>
                <a:gd name="T29" fmla="*/ 33 h 78"/>
                <a:gd name="T30" fmla="*/ 300 w 329"/>
                <a:gd name="T31" fmla="*/ 28 h 78"/>
                <a:gd name="T32" fmla="*/ 296 w 329"/>
                <a:gd name="T33" fmla="*/ 25 h 78"/>
                <a:gd name="T34" fmla="*/ 289 w 329"/>
                <a:gd name="T35" fmla="*/ 24 h 78"/>
                <a:gd name="T36" fmla="*/ 39 w 329"/>
                <a:gd name="T37" fmla="*/ 24 h 78"/>
                <a:gd name="T38" fmla="*/ 289 w 329"/>
                <a:gd name="T39" fmla="*/ 78 h 78"/>
                <a:gd name="T40" fmla="*/ 39 w 329"/>
                <a:gd name="T41" fmla="*/ 78 h 78"/>
                <a:gd name="T42" fmla="*/ 31 w 329"/>
                <a:gd name="T43" fmla="*/ 76 h 78"/>
                <a:gd name="T44" fmla="*/ 23 w 329"/>
                <a:gd name="T45" fmla="*/ 74 h 78"/>
                <a:gd name="T46" fmla="*/ 17 w 329"/>
                <a:gd name="T47" fmla="*/ 71 h 78"/>
                <a:gd name="T48" fmla="*/ 11 w 329"/>
                <a:gd name="T49" fmla="*/ 66 h 78"/>
                <a:gd name="T50" fmla="*/ 6 w 329"/>
                <a:gd name="T51" fmla="*/ 61 h 78"/>
                <a:gd name="T52" fmla="*/ 4 w 329"/>
                <a:gd name="T53" fmla="*/ 54 h 78"/>
                <a:gd name="T54" fmla="*/ 1 w 329"/>
                <a:gd name="T55" fmla="*/ 46 h 78"/>
                <a:gd name="T56" fmla="*/ 0 w 329"/>
                <a:gd name="T57" fmla="*/ 38 h 78"/>
                <a:gd name="T58" fmla="*/ 1 w 329"/>
                <a:gd name="T59" fmla="*/ 30 h 78"/>
                <a:gd name="T60" fmla="*/ 4 w 329"/>
                <a:gd name="T61" fmla="*/ 24 h 78"/>
                <a:gd name="T62" fmla="*/ 6 w 329"/>
                <a:gd name="T63" fmla="*/ 17 h 78"/>
                <a:gd name="T64" fmla="*/ 11 w 329"/>
                <a:gd name="T65" fmla="*/ 11 h 78"/>
                <a:gd name="T66" fmla="*/ 17 w 329"/>
                <a:gd name="T67" fmla="*/ 7 h 78"/>
                <a:gd name="T68" fmla="*/ 23 w 329"/>
                <a:gd name="T69" fmla="*/ 3 h 78"/>
                <a:gd name="T70" fmla="*/ 31 w 329"/>
                <a:gd name="T71" fmla="*/ 0 h 78"/>
                <a:gd name="T72" fmla="*/ 39 w 329"/>
                <a:gd name="T73" fmla="*/ 0 h 78"/>
                <a:gd name="T74" fmla="*/ 289 w 329"/>
                <a:gd name="T75" fmla="*/ 0 h 78"/>
                <a:gd name="T76" fmla="*/ 297 w 329"/>
                <a:gd name="T77" fmla="*/ 0 h 78"/>
                <a:gd name="T78" fmla="*/ 305 w 329"/>
                <a:gd name="T79" fmla="*/ 3 h 78"/>
                <a:gd name="T80" fmla="*/ 312 w 329"/>
                <a:gd name="T81" fmla="*/ 7 h 78"/>
                <a:gd name="T82" fmla="*/ 317 w 329"/>
                <a:gd name="T83" fmla="*/ 11 h 78"/>
                <a:gd name="T84" fmla="*/ 322 w 329"/>
                <a:gd name="T85" fmla="*/ 17 h 78"/>
                <a:gd name="T86" fmla="*/ 326 w 329"/>
                <a:gd name="T87" fmla="*/ 24 h 78"/>
                <a:gd name="T88" fmla="*/ 327 w 329"/>
                <a:gd name="T89" fmla="*/ 30 h 78"/>
                <a:gd name="T90" fmla="*/ 329 w 329"/>
                <a:gd name="T91" fmla="*/ 38 h 78"/>
                <a:gd name="T92" fmla="*/ 327 w 329"/>
                <a:gd name="T93" fmla="*/ 46 h 78"/>
                <a:gd name="T94" fmla="*/ 326 w 329"/>
                <a:gd name="T95" fmla="*/ 54 h 78"/>
                <a:gd name="T96" fmla="*/ 322 w 329"/>
                <a:gd name="T97" fmla="*/ 61 h 78"/>
                <a:gd name="T98" fmla="*/ 317 w 329"/>
                <a:gd name="T99" fmla="*/ 66 h 78"/>
                <a:gd name="T100" fmla="*/ 312 w 329"/>
                <a:gd name="T101" fmla="*/ 71 h 78"/>
                <a:gd name="T102" fmla="*/ 305 w 329"/>
                <a:gd name="T103" fmla="*/ 74 h 78"/>
                <a:gd name="T104" fmla="*/ 297 w 329"/>
                <a:gd name="T105" fmla="*/ 76 h 78"/>
                <a:gd name="T106" fmla="*/ 289 w 329"/>
                <a:gd name="T10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9" h="78">
                  <a:moveTo>
                    <a:pt x="39" y="24"/>
                  </a:moveTo>
                  <a:lnTo>
                    <a:pt x="33" y="25"/>
                  </a:lnTo>
                  <a:lnTo>
                    <a:pt x="29" y="28"/>
                  </a:lnTo>
                  <a:lnTo>
                    <a:pt x="25" y="33"/>
                  </a:lnTo>
                  <a:lnTo>
                    <a:pt x="25" y="38"/>
                  </a:lnTo>
                  <a:lnTo>
                    <a:pt x="25" y="45"/>
                  </a:lnTo>
                  <a:lnTo>
                    <a:pt x="29" y="49"/>
                  </a:lnTo>
                  <a:lnTo>
                    <a:pt x="33" y="53"/>
                  </a:lnTo>
                  <a:lnTo>
                    <a:pt x="39" y="54"/>
                  </a:lnTo>
                  <a:lnTo>
                    <a:pt x="289" y="54"/>
                  </a:lnTo>
                  <a:lnTo>
                    <a:pt x="296" y="53"/>
                  </a:lnTo>
                  <a:lnTo>
                    <a:pt x="300" y="49"/>
                  </a:lnTo>
                  <a:lnTo>
                    <a:pt x="304" y="45"/>
                  </a:lnTo>
                  <a:lnTo>
                    <a:pt x="305" y="38"/>
                  </a:lnTo>
                  <a:lnTo>
                    <a:pt x="304" y="33"/>
                  </a:lnTo>
                  <a:lnTo>
                    <a:pt x="300" y="28"/>
                  </a:lnTo>
                  <a:lnTo>
                    <a:pt x="296" y="25"/>
                  </a:lnTo>
                  <a:lnTo>
                    <a:pt x="289" y="24"/>
                  </a:lnTo>
                  <a:lnTo>
                    <a:pt x="39" y="24"/>
                  </a:lnTo>
                  <a:close/>
                  <a:moveTo>
                    <a:pt x="289" y="78"/>
                  </a:moveTo>
                  <a:lnTo>
                    <a:pt x="39" y="78"/>
                  </a:lnTo>
                  <a:lnTo>
                    <a:pt x="31" y="76"/>
                  </a:lnTo>
                  <a:lnTo>
                    <a:pt x="23" y="74"/>
                  </a:lnTo>
                  <a:lnTo>
                    <a:pt x="17" y="71"/>
                  </a:lnTo>
                  <a:lnTo>
                    <a:pt x="11" y="66"/>
                  </a:lnTo>
                  <a:lnTo>
                    <a:pt x="6" y="61"/>
                  </a:lnTo>
                  <a:lnTo>
                    <a:pt x="4" y="54"/>
                  </a:lnTo>
                  <a:lnTo>
                    <a:pt x="1" y="46"/>
                  </a:lnTo>
                  <a:lnTo>
                    <a:pt x="0" y="38"/>
                  </a:lnTo>
                  <a:lnTo>
                    <a:pt x="1" y="30"/>
                  </a:lnTo>
                  <a:lnTo>
                    <a:pt x="4" y="24"/>
                  </a:lnTo>
                  <a:lnTo>
                    <a:pt x="6" y="17"/>
                  </a:lnTo>
                  <a:lnTo>
                    <a:pt x="11" y="11"/>
                  </a:lnTo>
                  <a:lnTo>
                    <a:pt x="17" y="7"/>
                  </a:lnTo>
                  <a:lnTo>
                    <a:pt x="23" y="3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289" y="0"/>
                  </a:lnTo>
                  <a:lnTo>
                    <a:pt x="297" y="0"/>
                  </a:lnTo>
                  <a:lnTo>
                    <a:pt x="305" y="3"/>
                  </a:lnTo>
                  <a:lnTo>
                    <a:pt x="312" y="7"/>
                  </a:lnTo>
                  <a:lnTo>
                    <a:pt x="317" y="11"/>
                  </a:lnTo>
                  <a:lnTo>
                    <a:pt x="322" y="17"/>
                  </a:lnTo>
                  <a:lnTo>
                    <a:pt x="326" y="24"/>
                  </a:lnTo>
                  <a:lnTo>
                    <a:pt x="327" y="30"/>
                  </a:lnTo>
                  <a:lnTo>
                    <a:pt x="329" y="38"/>
                  </a:lnTo>
                  <a:lnTo>
                    <a:pt x="327" y="46"/>
                  </a:lnTo>
                  <a:lnTo>
                    <a:pt x="326" y="54"/>
                  </a:lnTo>
                  <a:lnTo>
                    <a:pt x="322" y="61"/>
                  </a:lnTo>
                  <a:lnTo>
                    <a:pt x="317" y="66"/>
                  </a:lnTo>
                  <a:lnTo>
                    <a:pt x="312" y="71"/>
                  </a:lnTo>
                  <a:lnTo>
                    <a:pt x="305" y="74"/>
                  </a:lnTo>
                  <a:lnTo>
                    <a:pt x="297" y="76"/>
                  </a:lnTo>
                  <a:lnTo>
                    <a:pt x="289" y="78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31" name="Freeform 175"/>
            <p:cNvSpPr>
              <a:spLocks/>
            </p:cNvSpPr>
            <p:nvPr/>
          </p:nvSpPr>
          <p:spPr bwMode="auto">
            <a:xfrm>
              <a:off x="566738" y="1027113"/>
              <a:ext cx="58738" cy="63500"/>
            </a:xfrm>
            <a:custGeom>
              <a:avLst/>
              <a:gdLst>
                <a:gd name="T0" fmla="*/ 152 w 152"/>
                <a:gd name="T1" fmla="*/ 123 h 162"/>
                <a:gd name="T2" fmla="*/ 145 w 152"/>
                <a:gd name="T3" fmla="*/ 131 h 162"/>
                <a:gd name="T4" fmla="*/ 138 w 152"/>
                <a:gd name="T5" fmla="*/ 139 h 162"/>
                <a:gd name="T6" fmla="*/ 131 w 152"/>
                <a:gd name="T7" fmla="*/ 145 h 162"/>
                <a:gd name="T8" fmla="*/ 123 w 152"/>
                <a:gd name="T9" fmla="*/ 152 h 162"/>
                <a:gd name="T10" fmla="*/ 113 w 152"/>
                <a:gd name="T11" fmla="*/ 156 h 162"/>
                <a:gd name="T12" fmla="*/ 103 w 152"/>
                <a:gd name="T13" fmla="*/ 160 h 162"/>
                <a:gd name="T14" fmla="*/ 92 w 152"/>
                <a:gd name="T15" fmla="*/ 161 h 162"/>
                <a:gd name="T16" fmla="*/ 82 w 152"/>
                <a:gd name="T17" fmla="*/ 162 h 162"/>
                <a:gd name="T18" fmla="*/ 74 w 152"/>
                <a:gd name="T19" fmla="*/ 162 h 162"/>
                <a:gd name="T20" fmla="*/ 65 w 152"/>
                <a:gd name="T21" fmla="*/ 161 h 162"/>
                <a:gd name="T22" fmla="*/ 58 w 152"/>
                <a:gd name="T23" fmla="*/ 158 h 162"/>
                <a:gd name="T24" fmla="*/ 50 w 152"/>
                <a:gd name="T25" fmla="*/ 156 h 162"/>
                <a:gd name="T26" fmla="*/ 44 w 152"/>
                <a:gd name="T27" fmla="*/ 153 h 162"/>
                <a:gd name="T28" fmla="*/ 36 w 152"/>
                <a:gd name="T29" fmla="*/ 149 h 162"/>
                <a:gd name="T30" fmla="*/ 31 w 152"/>
                <a:gd name="T31" fmla="*/ 144 h 162"/>
                <a:gd name="T32" fmla="*/ 24 w 152"/>
                <a:gd name="T33" fmla="*/ 139 h 162"/>
                <a:gd name="T34" fmla="*/ 19 w 152"/>
                <a:gd name="T35" fmla="*/ 133 h 162"/>
                <a:gd name="T36" fmla="*/ 15 w 152"/>
                <a:gd name="T37" fmla="*/ 127 h 162"/>
                <a:gd name="T38" fmla="*/ 11 w 152"/>
                <a:gd name="T39" fmla="*/ 120 h 162"/>
                <a:gd name="T40" fmla="*/ 7 w 152"/>
                <a:gd name="T41" fmla="*/ 113 h 162"/>
                <a:gd name="T42" fmla="*/ 4 w 152"/>
                <a:gd name="T43" fmla="*/ 106 h 162"/>
                <a:gd name="T44" fmla="*/ 3 w 152"/>
                <a:gd name="T45" fmla="*/ 98 h 162"/>
                <a:gd name="T46" fmla="*/ 2 w 152"/>
                <a:gd name="T47" fmla="*/ 90 h 162"/>
                <a:gd name="T48" fmla="*/ 0 w 152"/>
                <a:gd name="T49" fmla="*/ 82 h 162"/>
                <a:gd name="T50" fmla="*/ 2 w 152"/>
                <a:gd name="T51" fmla="*/ 74 h 162"/>
                <a:gd name="T52" fmla="*/ 3 w 152"/>
                <a:gd name="T53" fmla="*/ 65 h 162"/>
                <a:gd name="T54" fmla="*/ 4 w 152"/>
                <a:gd name="T55" fmla="*/ 58 h 162"/>
                <a:gd name="T56" fmla="*/ 7 w 152"/>
                <a:gd name="T57" fmla="*/ 50 h 162"/>
                <a:gd name="T58" fmla="*/ 11 w 152"/>
                <a:gd name="T59" fmla="*/ 44 h 162"/>
                <a:gd name="T60" fmla="*/ 15 w 152"/>
                <a:gd name="T61" fmla="*/ 37 h 162"/>
                <a:gd name="T62" fmla="*/ 19 w 152"/>
                <a:gd name="T63" fmla="*/ 31 h 162"/>
                <a:gd name="T64" fmla="*/ 24 w 152"/>
                <a:gd name="T65" fmla="*/ 24 h 162"/>
                <a:gd name="T66" fmla="*/ 31 w 152"/>
                <a:gd name="T67" fmla="*/ 19 h 162"/>
                <a:gd name="T68" fmla="*/ 36 w 152"/>
                <a:gd name="T69" fmla="*/ 15 h 162"/>
                <a:gd name="T70" fmla="*/ 44 w 152"/>
                <a:gd name="T71" fmla="*/ 11 h 162"/>
                <a:gd name="T72" fmla="*/ 50 w 152"/>
                <a:gd name="T73" fmla="*/ 7 h 162"/>
                <a:gd name="T74" fmla="*/ 58 w 152"/>
                <a:gd name="T75" fmla="*/ 4 h 162"/>
                <a:gd name="T76" fmla="*/ 65 w 152"/>
                <a:gd name="T77" fmla="*/ 2 h 162"/>
                <a:gd name="T78" fmla="*/ 74 w 152"/>
                <a:gd name="T79" fmla="*/ 2 h 162"/>
                <a:gd name="T80" fmla="*/ 82 w 152"/>
                <a:gd name="T81" fmla="*/ 0 h 162"/>
                <a:gd name="T82" fmla="*/ 92 w 152"/>
                <a:gd name="T83" fmla="*/ 2 h 162"/>
                <a:gd name="T84" fmla="*/ 102 w 152"/>
                <a:gd name="T85" fmla="*/ 3 h 162"/>
                <a:gd name="T86" fmla="*/ 111 w 152"/>
                <a:gd name="T87" fmla="*/ 7 h 162"/>
                <a:gd name="T88" fmla="*/ 120 w 152"/>
                <a:gd name="T89" fmla="*/ 11 h 162"/>
                <a:gd name="T90" fmla="*/ 128 w 152"/>
                <a:gd name="T91" fmla="*/ 16 h 162"/>
                <a:gd name="T92" fmla="*/ 136 w 152"/>
                <a:gd name="T93" fmla="*/ 21 h 162"/>
                <a:gd name="T94" fmla="*/ 142 w 152"/>
                <a:gd name="T95" fmla="*/ 29 h 162"/>
                <a:gd name="T96" fmla="*/ 149 w 152"/>
                <a:gd name="T97" fmla="*/ 37 h 162"/>
                <a:gd name="T98" fmla="*/ 152 w 152"/>
                <a:gd name="T99" fmla="*/ 12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2" h="162">
                  <a:moveTo>
                    <a:pt x="152" y="123"/>
                  </a:moveTo>
                  <a:lnTo>
                    <a:pt x="145" y="131"/>
                  </a:lnTo>
                  <a:lnTo>
                    <a:pt x="138" y="139"/>
                  </a:lnTo>
                  <a:lnTo>
                    <a:pt x="131" y="145"/>
                  </a:lnTo>
                  <a:lnTo>
                    <a:pt x="123" y="152"/>
                  </a:lnTo>
                  <a:lnTo>
                    <a:pt x="113" y="156"/>
                  </a:lnTo>
                  <a:lnTo>
                    <a:pt x="103" y="160"/>
                  </a:lnTo>
                  <a:lnTo>
                    <a:pt x="92" y="161"/>
                  </a:lnTo>
                  <a:lnTo>
                    <a:pt x="82" y="162"/>
                  </a:lnTo>
                  <a:lnTo>
                    <a:pt x="74" y="162"/>
                  </a:lnTo>
                  <a:lnTo>
                    <a:pt x="65" y="161"/>
                  </a:lnTo>
                  <a:lnTo>
                    <a:pt x="58" y="158"/>
                  </a:lnTo>
                  <a:lnTo>
                    <a:pt x="50" y="156"/>
                  </a:lnTo>
                  <a:lnTo>
                    <a:pt x="44" y="153"/>
                  </a:lnTo>
                  <a:lnTo>
                    <a:pt x="36" y="149"/>
                  </a:lnTo>
                  <a:lnTo>
                    <a:pt x="31" y="144"/>
                  </a:lnTo>
                  <a:lnTo>
                    <a:pt x="24" y="139"/>
                  </a:lnTo>
                  <a:lnTo>
                    <a:pt x="19" y="133"/>
                  </a:lnTo>
                  <a:lnTo>
                    <a:pt x="15" y="127"/>
                  </a:lnTo>
                  <a:lnTo>
                    <a:pt x="11" y="120"/>
                  </a:lnTo>
                  <a:lnTo>
                    <a:pt x="7" y="113"/>
                  </a:lnTo>
                  <a:lnTo>
                    <a:pt x="4" y="106"/>
                  </a:lnTo>
                  <a:lnTo>
                    <a:pt x="3" y="98"/>
                  </a:lnTo>
                  <a:lnTo>
                    <a:pt x="2" y="90"/>
                  </a:lnTo>
                  <a:lnTo>
                    <a:pt x="0" y="82"/>
                  </a:lnTo>
                  <a:lnTo>
                    <a:pt x="2" y="74"/>
                  </a:lnTo>
                  <a:lnTo>
                    <a:pt x="3" y="65"/>
                  </a:lnTo>
                  <a:lnTo>
                    <a:pt x="4" y="58"/>
                  </a:lnTo>
                  <a:lnTo>
                    <a:pt x="7" y="50"/>
                  </a:lnTo>
                  <a:lnTo>
                    <a:pt x="11" y="44"/>
                  </a:lnTo>
                  <a:lnTo>
                    <a:pt x="15" y="37"/>
                  </a:lnTo>
                  <a:lnTo>
                    <a:pt x="19" y="31"/>
                  </a:lnTo>
                  <a:lnTo>
                    <a:pt x="24" y="24"/>
                  </a:lnTo>
                  <a:lnTo>
                    <a:pt x="31" y="19"/>
                  </a:lnTo>
                  <a:lnTo>
                    <a:pt x="36" y="15"/>
                  </a:lnTo>
                  <a:lnTo>
                    <a:pt x="44" y="11"/>
                  </a:lnTo>
                  <a:lnTo>
                    <a:pt x="50" y="7"/>
                  </a:lnTo>
                  <a:lnTo>
                    <a:pt x="58" y="4"/>
                  </a:lnTo>
                  <a:lnTo>
                    <a:pt x="65" y="2"/>
                  </a:lnTo>
                  <a:lnTo>
                    <a:pt x="74" y="2"/>
                  </a:lnTo>
                  <a:lnTo>
                    <a:pt x="82" y="0"/>
                  </a:lnTo>
                  <a:lnTo>
                    <a:pt x="92" y="2"/>
                  </a:lnTo>
                  <a:lnTo>
                    <a:pt x="102" y="3"/>
                  </a:lnTo>
                  <a:lnTo>
                    <a:pt x="111" y="7"/>
                  </a:lnTo>
                  <a:lnTo>
                    <a:pt x="120" y="11"/>
                  </a:lnTo>
                  <a:lnTo>
                    <a:pt x="128" y="16"/>
                  </a:lnTo>
                  <a:lnTo>
                    <a:pt x="136" y="21"/>
                  </a:lnTo>
                  <a:lnTo>
                    <a:pt x="142" y="29"/>
                  </a:lnTo>
                  <a:lnTo>
                    <a:pt x="149" y="37"/>
                  </a:lnTo>
                  <a:lnTo>
                    <a:pt x="152" y="123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32" name="Freeform 176"/>
            <p:cNvSpPr>
              <a:spLocks/>
            </p:cNvSpPr>
            <p:nvPr/>
          </p:nvSpPr>
          <p:spPr bwMode="auto">
            <a:xfrm>
              <a:off x="561975" y="1022350"/>
              <a:ext cx="68263" cy="73025"/>
            </a:xfrm>
            <a:custGeom>
              <a:avLst/>
              <a:gdLst>
                <a:gd name="T0" fmla="*/ 85 w 175"/>
                <a:gd name="T1" fmla="*/ 186 h 186"/>
                <a:gd name="T2" fmla="*/ 66 w 175"/>
                <a:gd name="T3" fmla="*/ 182 h 186"/>
                <a:gd name="T4" fmla="*/ 49 w 175"/>
                <a:gd name="T5" fmla="*/ 176 h 186"/>
                <a:gd name="T6" fmla="*/ 35 w 175"/>
                <a:gd name="T7" fmla="*/ 165 h 186"/>
                <a:gd name="T8" fmla="*/ 21 w 175"/>
                <a:gd name="T9" fmla="*/ 153 h 186"/>
                <a:gd name="T10" fmla="*/ 12 w 175"/>
                <a:gd name="T11" fmla="*/ 137 h 186"/>
                <a:gd name="T12" fmla="*/ 4 w 175"/>
                <a:gd name="T13" fmla="*/ 122 h 186"/>
                <a:gd name="T14" fmla="*/ 2 w 175"/>
                <a:gd name="T15" fmla="*/ 103 h 186"/>
                <a:gd name="T16" fmla="*/ 2 w 175"/>
                <a:gd name="T17" fmla="*/ 85 h 186"/>
                <a:gd name="T18" fmla="*/ 4 w 175"/>
                <a:gd name="T19" fmla="*/ 66 h 186"/>
                <a:gd name="T20" fmla="*/ 12 w 175"/>
                <a:gd name="T21" fmla="*/ 49 h 186"/>
                <a:gd name="T22" fmla="*/ 21 w 175"/>
                <a:gd name="T23" fmla="*/ 35 h 186"/>
                <a:gd name="T24" fmla="*/ 35 w 175"/>
                <a:gd name="T25" fmla="*/ 22 h 186"/>
                <a:gd name="T26" fmla="*/ 49 w 175"/>
                <a:gd name="T27" fmla="*/ 12 h 186"/>
                <a:gd name="T28" fmla="*/ 66 w 175"/>
                <a:gd name="T29" fmla="*/ 4 h 186"/>
                <a:gd name="T30" fmla="*/ 85 w 175"/>
                <a:gd name="T31" fmla="*/ 2 h 186"/>
                <a:gd name="T32" fmla="*/ 106 w 175"/>
                <a:gd name="T33" fmla="*/ 2 h 186"/>
                <a:gd name="T34" fmla="*/ 127 w 175"/>
                <a:gd name="T35" fmla="*/ 7 h 186"/>
                <a:gd name="T36" fmla="*/ 147 w 175"/>
                <a:gd name="T37" fmla="*/ 18 h 186"/>
                <a:gd name="T38" fmla="*/ 164 w 175"/>
                <a:gd name="T39" fmla="*/ 33 h 186"/>
                <a:gd name="T40" fmla="*/ 173 w 175"/>
                <a:gd name="T41" fmla="*/ 47 h 186"/>
                <a:gd name="T42" fmla="*/ 170 w 175"/>
                <a:gd name="T43" fmla="*/ 54 h 186"/>
                <a:gd name="T44" fmla="*/ 164 w 175"/>
                <a:gd name="T45" fmla="*/ 61 h 186"/>
                <a:gd name="T46" fmla="*/ 154 w 175"/>
                <a:gd name="T47" fmla="*/ 58 h 186"/>
                <a:gd name="T48" fmla="*/ 145 w 175"/>
                <a:gd name="T49" fmla="*/ 48 h 186"/>
                <a:gd name="T50" fmla="*/ 133 w 175"/>
                <a:gd name="T51" fmla="*/ 37 h 186"/>
                <a:gd name="T52" fmla="*/ 119 w 175"/>
                <a:gd name="T53" fmla="*/ 29 h 186"/>
                <a:gd name="T54" fmla="*/ 102 w 175"/>
                <a:gd name="T55" fmla="*/ 25 h 186"/>
                <a:gd name="T56" fmla="*/ 87 w 175"/>
                <a:gd name="T57" fmla="*/ 25 h 186"/>
                <a:gd name="T58" fmla="*/ 73 w 175"/>
                <a:gd name="T59" fmla="*/ 28 h 186"/>
                <a:gd name="T60" fmla="*/ 56 w 175"/>
                <a:gd name="T61" fmla="*/ 36 h 186"/>
                <a:gd name="T62" fmla="*/ 36 w 175"/>
                <a:gd name="T63" fmla="*/ 56 h 186"/>
                <a:gd name="T64" fmla="*/ 28 w 175"/>
                <a:gd name="T65" fmla="*/ 73 h 186"/>
                <a:gd name="T66" fmla="*/ 25 w 175"/>
                <a:gd name="T67" fmla="*/ 86 h 186"/>
                <a:gd name="T68" fmla="*/ 25 w 175"/>
                <a:gd name="T69" fmla="*/ 100 h 186"/>
                <a:gd name="T70" fmla="*/ 28 w 175"/>
                <a:gd name="T71" fmla="*/ 114 h 186"/>
                <a:gd name="T72" fmla="*/ 36 w 175"/>
                <a:gd name="T73" fmla="*/ 132 h 186"/>
                <a:gd name="T74" fmla="*/ 56 w 175"/>
                <a:gd name="T75" fmla="*/ 151 h 186"/>
                <a:gd name="T76" fmla="*/ 73 w 175"/>
                <a:gd name="T77" fmla="*/ 160 h 186"/>
                <a:gd name="T78" fmla="*/ 87 w 175"/>
                <a:gd name="T79" fmla="*/ 162 h 186"/>
                <a:gd name="T80" fmla="*/ 103 w 175"/>
                <a:gd name="T81" fmla="*/ 162 h 186"/>
                <a:gd name="T82" fmla="*/ 120 w 175"/>
                <a:gd name="T83" fmla="*/ 157 h 186"/>
                <a:gd name="T84" fmla="*/ 136 w 175"/>
                <a:gd name="T85" fmla="*/ 148 h 186"/>
                <a:gd name="T86" fmla="*/ 148 w 175"/>
                <a:gd name="T87" fmla="*/ 136 h 186"/>
                <a:gd name="T88" fmla="*/ 156 w 175"/>
                <a:gd name="T89" fmla="*/ 124 h 186"/>
                <a:gd name="T90" fmla="*/ 165 w 175"/>
                <a:gd name="T91" fmla="*/ 123 h 186"/>
                <a:gd name="T92" fmla="*/ 173 w 175"/>
                <a:gd name="T93" fmla="*/ 127 h 186"/>
                <a:gd name="T94" fmla="*/ 175 w 175"/>
                <a:gd name="T95" fmla="*/ 136 h 186"/>
                <a:gd name="T96" fmla="*/ 166 w 175"/>
                <a:gd name="T97" fmla="*/ 151 h 186"/>
                <a:gd name="T98" fmla="*/ 150 w 175"/>
                <a:gd name="T99" fmla="*/ 168 h 186"/>
                <a:gd name="T100" fmla="*/ 129 w 175"/>
                <a:gd name="T101" fmla="*/ 179 h 186"/>
                <a:gd name="T102" fmla="*/ 106 w 175"/>
                <a:gd name="T103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5" h="186">
                  <a:moveTo>
                    <a:pt x="94" y="186"/>
                  </a:moveTo>
                  <a:lnTo>
                    <a:pt x="85" y="186"/>
                  </a:lnTo>
                  <a:lnTo>
                    <a:pt x="75" y="185"/>
                  </a:lnTo>
                  <a:lnTo>
                    <a:pt x="66" y="182"/>
                  </a:lnTo>
                  <a:lnTo>
                    <a:pt x="57" y="179"/>
                  </a:lnTo>
                  <a:lnTo>
                    <a:pt x="49" y="176"/>
                  </a:lnTo>
                  <a:lnTo>
                    <a:pt x="41" y="170"/>
                  </a:lnTo>
                  <a:lnTo>
                    <a:pt x="35" y="165"/>
                  </a:lnTo>
                  <a:lnTo>
                    <a:pt x="28" y="160"/>
                  </a:lnTo>
                  <a:lnTo>
                    <a:pt x="21" y="153"/>
                  </a:lnTo>
                  <a:lnTo>
                    <a:pt x="16" y="145"/>
                  </a:lnTo>
                  <a:lnTo>
                    <a:pt x="12" y="137"/>
                  </a:lnTo>
                  <a:lnTo>
                    <a:pt x="8" y="129"/>
                  </a:lnTo>
                  <a:lnTo>
                    <a:pt x="4" y="122"/>
                  </a:lnTo>
                  <a:lnTo>
                    <a:pt x="3" y="112"/>
                  </a:lnTo>
                  <a:lnTo>
                    <a:pt x="2" y="103"/>
                  </a:lnTo>
                  <a:lnTo>
                    <a:pt x="0" y="94"/>
                  </a:lnTo>
                  <a:lnTo>
                    <a:pt x="2" y="85"/>
                  </a:lnTo>
                  <a:lnTo>
                    <a:pt x="3" y="75"/>
                  </a:lnTo>
                  <a:lnTo>
                    <a:pt x="4" y="66"/>
                  </a:lnTo>
                  <a:lnTo>
                    <a:pt x="8" y="57"/>
                  </a:lnTo>
                  <a:lnTo>
                    <a:pt x="12" y="49"/>
                  </a:lnTo>
                  <a:lnTo>
                    <a:pt x="16" y="41"/>
                  </a:lnTo>
                  <a:lnTo>
                    <a:pt x="21" y="35"/>
                  </a:lnTo>
                  <a:lnTo>
                    <a:pt x="28" y="28"/>
                  </a:lnTo>
                  <a:lnTo>
                    <a:pt x="35" y="22"/>
                  </a:lnTo>
                  <a:lnTo>
                    <a:pt x="41" y="16"/>
                  </a:lnTo>
                  <a:lnTo>
                    <a:pt x="49" y="12"/>
                  </a:lnTo>
                  <a:lnTo>
                    <a:pt x="57" y="8"/>
                  </a:lnTo>
                  <a:lnTo>
                    <a:pt x="66" y="4"/>
                  </a:lnTo>
                  <a:lnTo>
                    <a:pt x="75" y="3"/>
                  </a:lnTo>
                  <a:lnTo>
                    <a:pt x="85" y="2"/>
                  </a:lnTo>
                  <a:lnTo>
                    <a:pt x="94" y="0"/>
                  </a:lnTo>
                  <a:lnTo>
                    <a:pt x="106" y="2"/>
                  </a:lnTo>
                  <a:lnTo>
                    <a:pt x="116" y="3"/>
                  </a:lnTo>
                  <a:lnTo>
                    <a:pt x="127" y="7"/>
                  </a:lnTo>
                  <a:lnTo>
                    <a:pt x="137" y="12"/>
                  </a:lnTo>
                  <a:lnTo>
                    <a:pt x="147" y="18"/>
                  </a:lnTo>
                  <a:lnTo>
                    <a:pt x="156" y="24"/>
                  </a:lnTo>
                  <a:lnTo>
                    <a:pt x="164" y="33"/>
                  </a:lnTo>
                  <a:lnTo>
                    <a:pt x="170" y="41"/>
                  </a:lnTo>
                  <a:lnTo>
                    <a:pt x="173" y="47"/>
                  </a:lnTo>
                  <a:lnTo>
                    <a:pt x="173" y="50"/>
                  </a:lnTo>
                  <a:lnTo>
                    <a:pt x="170" y="54"/>
                  </a:lnTo>
                  <a:lnTo>
                    <a:pt x="168" y="58"/>
                  </a:lnTo>
                  <a:lnTo>
                    <a:pt x="164" y="61"/>
                  </a:lnTo>
                  <a:lnTo>
                    <a:pt x="158" y="61"/>
                  </a:lnTo>
                  <a:lnTo>
                    <a:pt x="154" y="58"/>
                  </a:lnTo>
                  <a:lnTo>
                    <a:pt x="150" y="56"/>
                  </a:lnTo>
                  <a:lnTo>
                    <a:pt x="145" y="48"/>
                  </a:lnTo>
                  <a:lnTo>
                    <a:pt x="140" y="43"/>
                  </a:lnTo>
                  <a:lnTo>
                    <a:pt x="133" y="37"/>
                  </a:lnTo>
                  <a:lnTo>
                    <a:pt x="125" y="33"/>
                  </a:lnTo>
                  <a:lnTo>
                    <a:pt x="119" y="29"/>
                  </a:lnTo>
                  <a:lnTo>
                    <a:pt x="111" y="27"/>
                  </a:lnTo>
                  <a:lnTo>
                    <a:pt x="102" y="25"/>
                  </a:lnTo>
                  <a:lnTo>
                    <a:pt x="94" y="24"/>
                  </a:lnTo>
                  <a:lnTo>
                    <a:pt x="87" y="25"/>
                  </a:lnTo>
                  <a:lnTo>
                    <a:pt x="79" y="27"/>
                  </a:lnTo>
                  <a:lnTo>
                    <a:pt x="73" y="28"/>
                  </a:lnTo>
                  <a:lnTo>
                    <a:pt x="66" y="31"/>
                  </a:lnTo>
                  <a:lnTo>
                    <a:pt x="56" y="36"/>
                  </a:lnTo>
                  <a:lnTo>
                    <a:pt x="45" y="45"/>
                  </a:lnTo>
                  <a:lnTo>
                    <a:pt x="36" y="56"/>
                  </a:lnTo>
                  <a:lnTo>
                    <a:pt x="31" y="66"/>
                  </a:lnTo>
                  <a:lnTo>
                    <a:pt x="28" y="73"/>
                  </a:lnTo>
                  <a:lnTo>
                    <a:pt x="27" y="79"/>
                  </a:lnTo>
                  <a:lnTo>
                    <a:pt x="25" y="86"/>
                  </a:lnTo>
                  <a:lnTo>
                    <a:pt x="25" y="94"/>
                  </a:lnTo>
                  <a:lnTo>
                    <a:pt x="25" y="100"/>
                  </a:lnTo>
                  <a:lnTo>
                    <a:pt x="27" y="107"/>
                  </a:lnTo>
                  <a:lnTo>
                    <a:pt x="28" y="114"/>
                  </a:lnTo>
                  <a:lnTo>
                    <a:pt x="31" y="120"/>
                  </a:lnTo>
                  <a:lnTo>
                    <a:pt x="36" y="132"/>
                  </a:lnTo>
                  <a:lnTo>
                    <a:pt x="45" y="143"/>
                  </a:lnTo>
                  <a:lnTo>
                    <a:pt x="56" y="151"/>
                  </a:lnTo>
                  <a:lnTo>
                    <a:pt x="66" y="157"/>
                  </a:lnTo>
                  <a:lnTo>
                    <a:pt x="73" y="160"/>
                  </a:lnTo>
                  <a:lnTo>
                    <a:pt x="79" y="161"/>
                  </a:lnTo>
                  <a:lnTo>
                    <a:pt x="87" y="162"/>
                  </a:lnTo>
                  <a:lnTo>
                    <a:pt x="94" y="162"/>
                  </a:lnTo>
                  <a:lnTo>
                    <a:pt x="103" y="162"/>
                  </a:lnTo>
                  <a:lnTo>
                    <a:pt x="111" y="160"/>
                  </a:lnTo>
                  <a:lnTo>
                    <a:pt x="120" y="157"/>
                  </a:lnTo>
                  <a:lnTo>
                    <a:pt x="128" y="153"/>
                  </a:lnTo>
                  <a:lnTo>
                    <a:pt x="136" y="148"/>
                  </a:lnTo>
                  <a:lnTo>
                    <a:pt x="143" y="143"/>
                  </a:lnTo>
                  <a:lnTo>
                    <a:pt x="148" y="136"/>
                  </a:lnTo>
                  <a:lnTo>
                    <a:pt x="153" y="128"/>
                  </a:lnTo>
                  <a:lnTo>
                    <a:pt x="156" y="124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70" y="124"/>
                  </a:lnTo>
                  <a:lnTo>
                    <a:pt x="173" y="127"/>
                  </a:lnTo>
                  <a:lnTo>
                    <a:pt x="175" y="131"/>
                  </a:lnTo>
                  <a:lnTo>
                    <a:pt x="175" y="136"/>
                  </a:lnTo>
                  <a:lnTo>
                    <a:pt x="174" y="140"/>
                  </a:lnTo>
                  <a:lnTo>
                    <a:pt x="166" y="151"/>
                  </a:lnTo>
                  <a:lnTo>
                    <a:pt x="158" y="160"/>
                  </a:lnTo>
                  <a:lnTo>
                    <a:pt x="150" y="168"/>
                  </a:lnTo>
                  <a:lnTo>
                    <a:pt x="140" y="174"/>
                  </a:lnTo>
                  <a:lnTo>
                    <a:pt x="129" y="179"/>
                  </a:lnTo>
                  <a:lnTo>
                    <a:pt x="118" y="183"/>
                  </a:lnTo>
                  <a:lnTo>
                    <a:pt x="106" y="186"/>
                  </a:lnTo>
                  <a:lnTo>
                    <a:pt x="94" y="18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33" name="Freeform 177"/>
            <p:cNvSpPr>
              <a:spLocks/>
            </p:cNvSpPr>
            <p:nvPr/>
          </p:nvSpPr>
          <p:spPr bwMode="auto">
            <a:xfrm>
              <a:off x="660400" y="1027113"/>
              <a:ext cx="60325" cy="63500"/>
            </a:xfrm>
            <a:custGeom>
              <a:avLst/>
              <a:gdLst>
                <a:gd name="T0" fmla="*/ 0 w 151"/>
                <a:gd name="T1" fmla="*/ 123 h 162"/>
                <a:gd name="T2" fmla="*/ 6 w 151"/>
                <a:gd name="T3" fmla="*/ 131 h 162"/>
                <a:gd name="T4" fmla="*/ 14 w 151"/>
                <a:gd name="T5" fmla="*/ 139 h 162"/>
                <a:gd name="T6" fmla="*/ 20 w 151"/>
                <a:gd name="T7" fmla="*/ 145 h 162"/>
                <a:gd name="T8" fmla="*/ 29 w 151"/>
                <a:gd name="T9" fmla="*/ 152 h 162"/>
                <a:gd name="T10" fmla="*/ 39 w 151"/>
                <a:gd name="T11" fmla="*/ 156 h 162"/>
                <a:gd name="T12" fmla="*/ 49 w 151"/>
                <a:gd name="T13" fmla="*/ 160 h 162"/>
                <a:gd name="T14" fmla="*/ 60 w 151"/>
                <a:gd name="T15" fmla="*/ 161 h 162"/>
                <a:gd name="T16" fmla="*/ 70 w 151"/>
                <a:gd name="T17" fmla="*/ 162 h 162"/>
                <a:gd name="T18" fmla="*/ 78 w 151"/>
                <a:gd name="T19" fmla="*/ 162 h 162"/>
                <a:gd name="T20" fmla="*/ 86 w 151"/>
                <a:gd name="T21" fmla="*/ 161 h 162"/>
                <a:gd name="T22" fmla="*/ 94 w 151"/>
                <a:gd name="T23" fmla="*/ 158 h 162"/>
                <a:gd name="T24" fmla="*/ 102 w 151"/>
                <a:gd name="T25" fmla="*/ 156 h 162"/>
                <a:gd name="T26" fmla="*/ 108 w 151"/>
                <a:gd name="T27" fmla="*/ 153 h 162"/>
                <a:gd name="T28" fmla="*/ 115 w 151"/>
                <a:gd name="T29" fmla="*/ 149 h 162"/>
                <a:gd name="T30" fmla="*/ 122 w 151"/>
                <a:gd name="T31" fmla="*/ 144 h 162"/>
                <a:gd name="T32" fmla="*/ 127 w 151"/>
                <a:gd name="T33" fmla="*/ 139 h 162"/>
                <a:gd name="T34" fmla="*/ 132 w 151"/>
                <a:gd name="T35" fmla="*/ 133 h 162"/>
                <a:gd name="T36" fmla="*/ 137 w 151"/>
                <a:gd name="T37" fmla="*/ 127 h 162"/>
                <a:gd name="T38" fmla="*/ 141 w 151"/>
                <a:gd name="T39" fmla="*/ 120 h 162"/>
                <a:gd name="T40" fmla="*/ 145 w 151"/>
                <a:gd name="T41" fmla="*/ 113 h 162"/>
                <a:gd name="T42" fmla="*/ 148 w 151"/>
                <a:gd name="T43" fmla="*/ 106 h 162"/>
                <a:gd name="T44" fmla="*/ 149 w 151"/>
                <a:gd name="T45" fmla="*/ 98 h 162"/>
                <a:gd name="T46" fmla="*/ 151 w 151"/>
                <a:gd name="T47" fmla="*/ 90 h 162"/>
                <a:gd name="T48" fmla="*/ 151 w 151"/>
                <a:gd name="T49" fmla="*/ 82 h 162"/>
                <a:gd name="T50" fmla="*/ 151 w 151"/>
                <a:gd name="T51" fmla="*/ 74 h 162"/>
                <a:gd name="T52" fmla="*/ 149 w 151"/>
                <a:gd name="T53" fmla="*/ 65 h 162"/>
                <a:gd name="T54" fmla="*/ 148 w 151"/>
                <a:gd name="T55" fmla="*/ 58 h 162"/>
                <a:gd name="T56" fmla="*/ 145 w 151"/>
                <a:gd name="T57" fmla="*/ 50 h 162"/>
                <a:gd name="T58" fmla="*/ 141 w 151"/>
                <a:gd name="T59" fmla="*/ 44 h 162"/>
                <a:gd name="T60" fmla="*/ 137 w 151"/>
                <a:gd name="T61" fmla="*/ 37 h 162"/>
                <a:gd name="T62" fmla="*/ 132 w 151"/>
                <a:gd name="T63" fmla="*/ 31 h 162"/>
                <a:gd name="T64" fmla="*/ 127 w 151"/>
                <a:gd name="T65" fmla="*/ 24 h 162"/>
                <a:gd name="T66" fmla="*/ 122 w 151"/>
                <a:gd name="T67" fmla="*/ 19 h 162"/>
                <a:gd name="T68" fmla="*/ 115 w 151"/>
                <a:gd name="T69" fmla="*/ 15 h 162"/>
                <a:gd name="T70" fmla="*/ 108 w 151"/>
                <a:gd name="T71" fmla="*/ 11 h 162"/>
                <a:gd name="T72" fmla="*/ 102 w 151"/>
                <a:gd name="T73" fmla="*/ 7 h 162"/>
                <a:gd name="T74" fmla="*/ 94 w 151"/>
                <a:gd name="T75" fmla="*/ 4 h 162"/>
                <a:gd name="T76" fmla="*/ 86 w 151"/>
                <a:gd name="T77" fmla="*/ 2 h 162"/>
                <a:gd name="T78" fmla="*/ 78 w 151"/>
                <a:gd name="T79" fmla="*/ 2 h 162"/>
                <a:gd name="T80" fmla="*/ 70 w 151"/>
                <a:gd name="T81" fmla="*/ 0 h 162"/>
                <a:gd name="T82" fmla="*/ 60 w 151"/>
                <a:gd name="T83" fmla="*/ 2 h 162"/>
                <a:gd name="T84" fmla="*/ 50 w 151"/>
                <a:gd name="T85" fmla="*/ 3 h 162"/>
                <a:gd name="T86" fmla="*/ 41 w 151"/>
                <a:gd name="T87" fmla="*/ 7 h 162"/>
                <a:gd name="T88" fmla="*/ 32 w 151"/>
                <a:gd name="T89" fmla="*/ 11 h 162"/>
                <a:gd name="T90" fmla="*/ 23 w 151"/>
                <a:gd name="T91" fmla="*/ 16 h 162"/>
                <a:gd name="T92" fmla="*/ 16 w 151"/>
                <a:gd name="T93" fmla="*/ 21 h 162"/>
                <a:gd name="T94" fmla="*/ 10 w 151"/>
                <a:gd name="T95" fmla="*/ 29 h 162"/>
                <a:gd name="T96" fmla="*/ 3 w 151"/>
                <a:gd name="T97" fmla="*/ 37 h 162"/>
                <a:gd name="T98" fmla="*/ 0 w 151"/>
                <a:gd name="T99" fmla="*/ 12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1" h="162">
                  <a:moveTo>
                    <a:pt x="0" y="123"/>
                  </a:moveTo>
                  <a:lnTo>
                    <a:pt x="6" y="131"/>
                  </a:lnTo>
                  <a:lnTo>
                    <a:pt x="14" y="139"/>
                  </a:lnTo>
                  <a:lnTo>
                    <a:pt x="20" y="145"/>
                  </a:lnTo>
                  <a:lnTo>
                    <a:pt x="29" y="152"/>
                  </a:lnTo>
                  <a:lnTo>
                    <a:pt x="39" y="156"/>
                  </a:lnTo>
                  <a:lnTo>
                    <a:pt x="49" y="160"/>
                  </a:lnTo>
                  <a:lnTo>
                    <a:pt x="60" y="161"/>
                  </a:lnTo>
                  <a:lnTo>
                    <a:pt x="70" y="162"/>
                  </a:lnTo>
                  <a:lnTo>
                    <a:pt x="78" y="162"/>
                  </a:lnTo>
                  <a:lnTo>
                    <a:pt x="86" y="161"/>
                  </a:lnTo>
                  <a:lnTo>
                    <a:pt x="94" y="158"/>
                  </a:lnTo>
                  <a:lnTo>
                    <a:pt x="102" y="156"/>
                  </a:lnTo>
                  <a:lnTo>
                    <a:pt x="108" y="153"/>
                  </a:lnTo>
                  <a:lnTo>
                    <a:pt x="115" y="149"/>
                  </a:lnTo>
                  <a:lnTo>
                    <a:pt x="122" y="144"/>
                  </a:lnTo>
                  <a:lnTo>
                    <a:pt x="127" y="139"/>
                  </a:lnTo>
                  <a:lnTo>
                    <a:pt x="132" y="133"/>
                  </a:lnTo>
                  <a:lnTo>
                    <a:pt x="137" y="127"/>
                  </a:lnTo>
                  <a:lnTo>
                    <a:pt x="141" y="120"/>
                  </a:lnTo>
                  <a:lnTo>
                    <a:pt x="145" y="113"/>
                  </a:lnTo>
                  <a:lnTo>
                    <a:pt x="148" y="106"/>
                  </a:lnTo>
                  <a:lnTo>
                    <a:pt x="149" y="98"/>
                  </a:lnTo>
                  <a:lnTo>
                    <a:pt x="151" y="90"/>
                  </a:lnTo>
                  <a:lnTo>
                    <a:pt x="151" y="82"/>
                  </a:lnTo>
                  <a:lnTo>
                    <a:pt x="151" y="74"/>
                  </a:lnTo>
                  <a:lnTo>
                    <a:pt x="149" y="65"/>
                  </a:lnTo>
                  <a:lnTo>
                    <a:pt x="148" y="58"/>
                  </a:lnTo>
                  <a:lnTo>
                    <a:pt x="145" y="50"/>
                  </a:lnTo>
                  <a:lnTo>
                    <a:pt x="141" y="44"/>
                  </a:lnTo>
                  <a:lnTo>
                    <a:pt x="137" y="37"/>
                  </a:lnTo>
                  <a:lnTo>
                    <a:pt x="132" y="31"/>
                  </a:lnTo>
                  <a:lnTo>
                    <a:pt x="127" y="24"/>
                  </a:lnTo>
                  <a:lnTo>
                    <a:pt x="122" y="19"/>
                  </a:lnTo>
                  <a:lnTo>
                    <a:pt x="115" y="15"/>
                  </a:lnTo>
                  <a:lnTo>
                    <a:pt x="108" y="11"/>
                  </a:lnTo>
                  <a:lnTo>
                    <a:pt x="102" y="7"/>
                  </a:lnTo>
                  <a:lnTo>
                    <a:pt x="94" y="4"/>
                  </a:lnTo>
                  <a:lnTo>
                    <a:pt x="86" y="2"/>
                  </a:lnTo>
                  <a:lnTo>
                    <a:pt x="78" y="2"/>
                  </a:lnTo>
                  <a:lnTo>
                    <a:pt x="70" y="0"/>
                  </a:lnTo>
                  <a:lnTo>
                    <a:pt x="60" y="2"/>
                  </a:lnTo>
                  <a:lnTo>
                    <a:pt x="50" y="3"/>
                  </a:lnTo>
                  <a:lnTo>
                    <a:pt x="41" y="7"/>
                  </a:lnTo>
                  <a:lnTo>
                    <a:pt x="32" y="11"/>
                  </a:lnTo>
                  <a:lnTo>
                    <a:pt x="23" y="16"/>
                  </a:lnTo>
                  <a:lnTo>
                    <a:pt x="16" y="21"/>
                  </a:lnTo>
                  <a:lnTo>
                    <a:pt x="10" y="29"/>
                  </a:lnTo>
                  <a:lnTo>
                    <a:pt x="3" y="37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40" name="Freeform 178"/>
            <p:cNvSpPr>
              <a:spLocks/>
            </p:cNvSpPr>
            <p:nvPr/>
          </p:nvSpPr>
          <p:spPr bwMode="auto">
            <a:xfrm>
              <a:off x="655638" y="1022350"/>
              <a:ext cx="69850" cy="73025"/>
            </a:xfrm>
            <a:custGeom>
              <a:avLst/>
              <a:gdLst>
                <a:gd name="T0" fmla="*/ 69 w 175"/>
                <a:gd name="T1" fmla="*/ 186 h 186"/>
                <a:gd name="T2" fmla="*/ 46 w 175"/>
                <a:gd name="T3" fmla="*/ 179 h 186"/>
                <a:gd name="T4" fmla="*/ 25 w 175"/>
                <a:gd name="T5" fmla="*/ 168 h 186"/>
                <a:gd name="T6" fmla="*/ 8 w 175"/>
                <a:gd name="T7" fmla="*/ 151 h 186"/>
                <a:gd name="T8" fmla="*/ 0 w 175"/>
                <a:gd name="T9" fmla="*/ 136 h 186"/>
                <a:gd name="T10" fmla="*/ 2 w 175"/>
                <a:gd name="T11" fmla="*/ 127 h 186"/>
                <a:gd name="T12" fmla="*/ 10 w 175"/>
                <a:gd name="T13" fmla="*/ 123 h 186"/>
                <a:gd name="T14" fmla="*/ 18 w 175"/>
                <a:gd name="T15" fmla="*/ 124 h 186"/>
                <a:gd name="T16" fmla="*/ 27 w 175"/>
                <a:gd name="T17" fmla="*/ 136 h 186"/>
                <a:gd name="T18" fmla="*/ 39 w 175"/>
                <a:gd name="T19" fmla="*/ 148 h 186"/>
                <a:gd name="T20" fmla="*/ 55 w 175"/>
                <a:gd name="T21" fmla="*/ 157 h 186"/>
                <a:gd name="T22" fmla="*/ 72 w 175"/>
                <a:gd name="T23" fmla="*/ 162 h 186"/>
                <a:gd name="T24" fmla="*/ 88 w 175"/>
                <a:gd name="T25" fmla="*/ 162 h 186"/>
                <a:gd name="T26" fmla="*/ 102 w 175"/>
                <a:gd name="T27" fmla="*/ 160 h 186"/>
                <a:gd name="T28" fmla="*/ 119 w 175"/>
                <a:gd name="T29" fmla="*/ 151 h 186"/>
                <a:gd name="T30" fmla="*/ 138 w 175"/>
                <a:gd name="T31" fmla="*/ 132 h 186"/>
                <a:gd name="T32" fmla="*/ 147 w 175"/>
                <a:gd name="T33" fmla="*/ 114 h 186"/>
                <a:gd name="T34" fmla="*/ 150 w 175"/>
                <a:gd name="T35" fmla="*/ 100 h 186"/>
                <a:gd name="T36" fmla="*/ 150 w 175"/>
                <a:gd name="T37" fmla="*/ 86 h 186"/>
                <a:gd name="T38" fmla="*/ 147 w 175"/>
                <a:gd name="T39" fmla="*/ 73 h 186"/>
                <a:gd name="T40" fmla="*/ 138 w 175"/>
                <a:gd name="T41" fmla="*/ 56 h 186"/>
                <a:gd name="T42" fmla="*/ 119 w 175"/>
                <a:gd name="T43" fmla="*/ 36 h 186"/>
                <a:gd name="T44" fmla="*/ 102 w 175"/>
                <a:gd name="T45" fmla="*/ 28 h 186"/>
                <a:gd name="T46" fmla="*/ 88 w 175"/>
                <a:gd name="T47" fmla="*/ 25 h 186"/>
                <a:gd name="T48" fmla="*/ 73 w 175"/>
                <a:gd name="T49" fmla="*/ 25 h 186"/>
                <a:gd name="T50" fmla="*/ 56 w 175"/>
                <a:gd name="T51" fmla="*/ 29 h 186"/>
                <a:gd name="T52" fmla="*/ 42 w 175"/>
                <a:gd name="T53" fmla="*/ 37 h 186"/>
                <a:gd name="T54" fmla="*/ 30 w 175"/>
                <a:gd name="T55" fmla="*/ 48 h 186"/>
                <a:gd name="T56" fmla="*/ 21 w 175"/>
                <a:gd name="T57" fmla="*/ 58 h 186"/>
                <a:gd name="T58" fmla="*/ 11 w 175"/>
                <a:gd name="T59" fmla="*/ 61 h 186"/>
                <a:gd name="T60" fmla="*/ 5 w 175"/>
                <a:gd name="T61" fmla="*/ 54 h 186"/>
                <a:gd name="T62" fmla="*/ 2 w 175"/>
                <a:gd name="T63" fmla="*/ 47 h 186"/>
                <a:gd name="T64" fmla="*/ 11 w 175"/>
                <a:gd name="T65" fmla="*/ 33 h 186"/>
                <a:gd name="T66" fmla="*/ 29 w 175"/>
                <a:gd name="T67" fmla="*/ 18 h 186"/>
                <a:gd name="T68" fmla="*/ 48 w 175"/>
                <a:gd name="T69" fmla="*/ 7 h 186"/>
                <a:gd name="T70" fmla="*/ 69 w 175"/>
                <a:gd name="T71" fmla="*/ 2 h 186"/>
                <a:gd name="T72" fmla="*/ 90 w 175"/>
                <a:gd name="T73" fmla="*/ 2 h 186"/>
                <a:gd name="T74" fmla="*/ 109 w 175"/>
                <a:gd name="T75" fmla="*/ 4 h 186"/>
                <a:gd name="T76" fmla="*/ 126 w 175"/>
                <a:gd name="T77" fmla="*/ 12 h 186"/>
                <a:gd name="T78" fmla="*/ 140 w 175"/>
                <a:gd name="T79" fmla="*/ 22 h 186"/>
                <a:gd name="T80" fmla="*/ 152 w 175"/>
                <a:gd name="T81" fmla="*/ 35 h 186"/>
                <a:gd name="T82" fmla="*/ 163 w 175"/>
                <a:gd name="T83" fmla="*/ 49 h 186"/>
                <a:gd name="T84" fmla="*/ 169 w 175"/>
                <a:gd name="T85" fmla="*/ 66 h 186"/>
                <a:gd name="T86" fmla="*/ 173 w 175"/>
                <a:gd name="T87" fmla="*/ 85 h 186"/>
                <a:gd name="T88" fmla="*/ 173 w 175"/>
                <a:gd name="T89" fmla="*/ 103 h 186"/>
                <a:gd name="T90" fmla="*/ 169 w 175"/>
                <a:gd name="T91" fmla="*/ 122 h 186"/>
                <a:gd name="T92" fmla="*/ 163 w 175"/>
                <a:gd name="T93" fmla="*/ 137 h 186"/>
                <a:gd name="T94" fmla="*/ 152 w 175"/>
                <a:gd name="T95" fmla="*/ 153 h 186"/>
                <a:gd name="T96" fmla="*/ 140 w 175"/>
                <a:gd name="T97" fmla="*/ 165 h 186"/>
                <a:gd name="T98" fmla="*/ 126 w 175"/>
                <a:gd name="T99" fmla="*/ 176 h 186"/>
                <a:gd name="T100" fmla="*/ 109 w 175"/>
                <a:gd name="T101" fmla="*/ 182 h 186"/>
                <a:gd name="T102" fmla="*/ 90 w 175"/>
                <a:gd name="T103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5" h="186">
                  <a:moveTo>
                    <a:pt x="81" y="186"/>
                  </a:moveTo>
                  <a:lnTo>
                    <a:pt x="69" y="186"/>
                  </a:lnTo>
                  <a:lnTo>
                    <a:pt x="58" y="183"/>
                  </a:lnTo>
                  <a:lnTo>
                    <a:pt x="46" y="179"/>
                  </a:lnTo>
                  <a:lnTo>
                    <a:pt x="35" y="174"/>
                  </a:lnTo>
                  <a:lnTo>
                    <a:pt x="25" y="168"/>
                  </a:lnTo>
                  <a:lnTo>
                    <a:pt x="15" y="160"/>
                  </a:lnTo>
                  <a:lnTo>
                    <a:pt x="8" y="151"/>
                  </a:lnTo>
                  <a:lnTo>
                    <a:pt x="1" y="140"/>
                  </a:lnTo>
                  <a:lnTo>
                    <a:pt x="0" y="136"/>
                  </a:lnTo>
                  <a:lnTo>
                    <a:pt x="0" y="131"/>
                  </a:lnTo>
                  <a:lnTo>
                    <a:pt x="2" y="127"/>
                  </a:lnTo>
                  <a:lnTo>
                    <a:pt x="5" y="124"/>
                  </a:lnTo>
                  <a:lnTo>
                    <a:pt x="10" y="123"/>
                  </a:lnTo>
                  <a:lnTo>
                    <a:pt x="14" y="123"/>
                  </a:lnTo>
                  <a:lnTo>
                    <a:pt x="18" y="124"/>
                  </a:lnTo>
                  <a:lnTo>
                    <a:pt x="22" y="128"/>
                  </a:lnTo>
                  <a:lnTo>
                    <a:pt x="27" y="136"/>
                  </a:lnTo>
                  <a:lnTo>
                    <a:pt x="33" y="143"/>
                  </a:lnTo>
                  <a:lnTo>
                    <a:pt x="39" y="148"/>
                  </a:lnTo>
                  <a:lnTo>
                    <a:pt x="47" y="153"/>
                  </a:lnTo>
                  <a:lnTo>
                    <a:pt x="55" y="157"/>
                  </a:lnTo>
                  <a:lnTo>
                    <a:pt x="63" y="160"/>
                  </a:lnTo>
                  <a:lnTo>
                    <a:pt x="72" y="162"/>
                  </a:lnTo>
                  <a:lnTo>
                    <a:pt x="81" y="162"/>
                  </a:lnTo>
                  <a:lnTo>
                    <a:pt x="88" y="162"/>
                  </a:lnTo>
                  <a:lnTo>
                    <a:pt x="96" y="161"/>
                  </a:lnTo>
                  <a:lnTo>
                    <a:pt x="102" y="160"/>
                  </a:lnTo>
                  <a:lnTo>
                    <a:pt x="108" y="157"/>
                  </a:lnTo>
                  <a:lnTo>
                    <a:pt x="119" y="151"/>
                  </a:lnTo>
                  <a:lnTo>
                    <a:pt x="130" y="143"/>
                  </a:lnTo>
                  <a:lnTo>
                    <a:pt x="138" y="132"/>
                  </a:lnTo>
                  <a:lnTo>
                    <a:pt x="144" y="120"/>
                  </a:lnTo>
                  <a:lnTo>
                    <a:pt x="147" y="114"/>
                  </a:lnTo>
                  <a:lnTo>
                    <a:pt x="148" y="107"/>
                  </a:lnTo>
                  <a:lnTo>
                    <a:pt x="150" y="100"/>
                  </a:lnTo>
                  <a:lnTo>
                    <a:pt x="150" y="94"/>
                  </a:lnTo>
                  <a:lnTo>
                    <a:pt x="150" y="86"/>
                  </a:lnTo>
                  <a:lnTo>
                    <a:pt x="148" y="79"/>
                  </a:lnTo>
                  <a:lnTo>
                    <a:pt x="147" y="73"/>
                  </a:lnTo>
                  <a:lnTo>
                    <a:pt x="144" y="66"/>
                  </a:lnTo>
                  <a:lnTo>
                    <a:pt x="138" y="56"/>
                  </a:lnTo>
                  <a:lnTo>
                    <a:pt x="130" y="45"/>
                  </a:lnTo>
                  <a:lnTo>
                    <a:pt x="119" y="36"/>
                  </a:lnTo>
                  <a:lnTo>
                    <a:pt x="108" y="31"/>
                  </a:lnTo>
                  <a:lnTo>
                    <a:pt x="102" y="28"/>
                  </a:lnTo>
                  <a:lnTo>
                    <a:pt x="96" y="27"/>
                  </a:lnTo>
                  <a:lnTo>
                    <a:pt x="88" y="25"/>
                  </a:lnTo>
                  <a:lnTo>
                    <a:pt x="81" y="24"/>
                  </a:lnTo>
                  <a:lnTo>
                    <a:pt x="73" y="25"/>
                  </a:lnTo>
                  <a:lnTo>
                    <a:pt x="64" y="27"/>
                  </a:lnTo>
                  <a:lnTo>
                    <a:pt x="56" y="29"/>
                  </a:lnTo>
                  <a:lnTo>
                    <a:pt x="48" y="33"/>
                  </a:lnTo>
                  <a:lnTo>
                    <a:pt x="42" y="37"/>
                  </a:lnTo>
                  <a:lnTo>
                    <a:pt x="35" y="43"/>
                  </a:lnTo>
                  <a:lnTo>
                    <a:pt x="30" y="48"/>
                  </a:lnTo>
                  <a:lnTo>
                    <a:pt x="25" y="56"/>
                  </a:lnTo>
                  <a:lnTo>
                    <a:pt x="21" y="58"/>
                  </a:lnTo>
                  <a:lnTo>
                    <a:pt x="17" y="61"/>
                  </a:lnTo>
                  <a:lnTo>
                    <a:pt x="11" y="61"/>
                  </a:lnTo>
                  <a:lnTo>
                    <a:pt x="8" y="58"/>
                  </a:lnTo>
                  <a:lnTo>
                    <a:pt x="5" y="54"/>
                  </a:lnTo>
                  <a:lnTo>
                    <a:pt x="2" y="50"/>
                  </a:lnTo>
                  <a:lnTo>
                    <a:pt x="2" y="47"/>
                  </a:lnTo>
                  <a:lnTo>
                    <a:pt x="5" y="41"/>
                  </a:lnTo>
                  <a:lnTo>
                    <a:pt x="11" y="33"/>
                  </a:lnTo>
                  <a:lnTo>
                    <a:pt x="19" y="24"/>
                  </a:lnTo>
                  <a:lnTo>
                    <a:pt x="29" y="18"/>
                  </a:lnTo>
                  <a:lnTo>
                    <a:pt x="38" y="12"/>
                  </a:lnTo>
                  <a:lnTo>
                    <a:pt x="48" y="7"/>
                  </a:lnTo>
                  <a:lnTo>
                    <a:pt x="59" y="3"/>
                  </a:lnTo>
                  <a:lnTo>
                    <a:pt x="69" y="2"/>
                  </a:lnTo>
                  <a:lnTo>
                    <a:pt x="81" y="0"/>
                  </a:lnTo>
                  <a:lnTo>
                    <a:pt x="90" y="2"/>
                  </a:lnTo>
                  <a:lnTo>
                    <a:pt x="100" y="3"/>
                  </a:lnTo>
                  <a:lnTo>
                    <a:pt x="109" y="4"/>
                  </a:lnTo>
                  <a:lnTo>
                    <a:pt x="117" y="8"/>
                  </a:lnTo>
                  <a:lnTo>
                    <a:pt x="126" y="12"/>
                  </a:lnTo>
                  <a:lnTo>
                    <a:pt x="133" y="16"/>
                  </a:lnTo>
                  <a:lnTo>
                    <a:pt x="140" y="22"/>
                  </a:lnTo>
                  <a:lnTo>
                    <a:pt x="147" y="28"/>
                  </a:lnTo>
                  <a:lnTo>
                    <a:pt x="152" y="35"/>
                  </a:lnTo>
                  <a:lnTo>
                    <a:pt x="158" y="41"/>
                  </a:lnTo>
                  <a:lnTo>
                    <a:pt x="163" y="49"/>
                  </a:lnTo>
                  <a:lnTo>
                    <a:pt x="167" y="57"/>
                  </a:lnTo>
                  <a:lnTo>
                    <a:pt x="169" y="66"/>
                  </a:lnTo>
                  <a:lnTo>
                    <a:pt x="172" y="75"/>
                  </a:lnTo>
                  <a:lnTo>
                    <a:pt x="173" y="85"/>
                  </a:lnTo>
                  <a:lnTo>
                    <a:pt x="175" y="94"/>
                  </a:lnTo>
                  <a:lnTo>
                    <a:pt x="173" y="103"/>
                  </a:lnTo>
                  <a:lnTo>
                    <a:pt x="172" y="112"/>
                  </a:lnTo>
                  <a:lnTo>
                    <a:pt x="169" y="122"/>
                  </a:lnTo>
                  <a:lnTo>
                    <a:pt x="167" y="129"/>
                  </a:lnTo>
                  <a:lnTo>
                    <a:pt x="163" y="137"/>
                  </a:lnTo>
                  <a:lnTo>
                    <a:pt x="158" y="145"/>
                  </a:lnTo>
                  <a:lnTo>
                    <a:pt x="152" y="153"/>
                  </a:lnTo>
                  <a:lnTo>
                    <a:pt x="147" y="160"/>
                  </a:lnTo>
                  <a:lnTo>
                    <a:pt x="140" y="165"/>
                  </a:lnTo>
                  <a:lnTo>
                    <a:pt x="133" y="170"/>
                  </a:lnTo>
                  <a:lnTo>
                    <a:pt x="126" y="176"/>
                  </a:lnTo>
                  <a:lnTo>
                    <a:pt x="117" y="179"/>
                  </a:lnTo>
                  <a:lnTo>
                    <a:pt x="109" y="182"/>
                  </a:lnTo>
                  <a:lnTo>
                    <a:pt x="100" y="185"/>
                  </a:lnTo>
                  <a:lnTo>
                    <a:pt x="90" y="186"/>
                  </a:lnTo>
                  <a:lnTo>
                    <a:pt x="81" y="18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42" name="Freeform 179"/>
            <p:cNvSpPr>
              <a:spLocks/>
            </p:cNvSpPr>
            <p:nvPr/>
          </p:nvSpPr>
          <p:spPr bwMode="auto">
            <a:xfrm>
              <a:off x="592138" y="1044575"/>
              <a:ext cx="98425" cy="26988"/>
            </a:xfrm>
            <a:custGeom>
              <a:avLst/>
              <a:gdLst>
                <a:gd name="T0" fmla="*/ 214 w 246"/>
                <a:gd name="T1" fmla="*/ 67 h 67"/>
                <a:gd name="T2" fmla="*/ 33 w 246"/>
                <a:gd name="T3" fmla="*/ 67 h 67"/>
                <a:gd name="T4" fmla="*/ 27 w 246"/>
                <a:gd name="T5" fmla="*/ 67 h 67"/>
                <a:gd name="T6" fmla="*/ 20 w 246"/>
                <a:gd name="T7" fmla="*/ 64 h 67"/>
                <a:gd name="T8" fmla="*/ 15 w 246"/>
                <a:gd name="T9" fmla="*/ 62 h 67"/>
                <a:gd name="T10" fmla="*/ 10 w 246"/>
                <a:gd name="T11" fmla="*/ 58 h 67"/>
                <a:gd name="T12" fmla="*/ 6 w 246"/>
                <a:gd name="T13" fmla="*/ 52 h 67"/>
                <a:gd name="T14" fmla="*/ 3 w 246"/>
                <a:gd name="T15" fmla="*/ 47 h 67"/>
                <a:gd name="T16" fmla="*/ 0 w 246"/>
                <a:gd name="T17" fmla="*/ 40 h 67"/>
                <a:gd name="T18" fmla="*/ 0 w 246"/>
                <a:gd name="T19" fmla="*/ 34 h 67"/>
                <a:gd name="T20" fmla="*/ 0 w 246"/>
                <a:gd name="T21" fmla="*/ 34 h 67"/>
                <a:gd name="T22" fmla="*/ 0 w 246"/>
                <a:gd name="T23" fmla="*/ 27 h 67"/>
                <a:gd name="T24" fmla="*/ 3 w 246"/>
                <a:gd name="T25" fmla="*/ 21 h 67"/>
                <a:gd name="T26" fmla="*/ 6 w 246"/>
                <a:gd name="T27" fmla="*/ 15 h 67"/>
                <a:gd name="T28" fmla="*/ 10 w 246"/>
                <a:gd name="T29" fmla="*/ 10 h 67"/>
                <a:gd name="T30" fmla="*/ 15 w 246"/>
                <a:gd name="T31" fmla="*/ 6 h 67"/>
                <a:gd name="T32" fmla="*/ 20 w 246"/>
                <a:gd name="T33" fmla="*/ 2 h 67"/>
                <a:gd name="T34" fmla="*/ 27 w 246"/>
                <a:gd name="T35" fmla="*/ 1 h 67"/>
                <a:gd name="T36" fmla="*/ 33 w 246"/>
                <a:gd name="T37" fmla="*/ 0 h 67"/>
                <a:gd name="T38" fmla="*/ 214 w 246"/>
                <a:gd name="T39" fmla="*/ 0 h 67"/>
                <a:gd name="T40" fmla="*/ 220 w 246"/>
                <a:gd name="T41" fmla="*/ 1 h 67"/>
                <a:gd name="T42" fmla="*/ 227 w 246"/>
                <a:gd name="T43" fmla="*/ 2 h 67"/>
                <a:gd name="T44" fmla="*/ 232 w 246"/>
                <a:gd name="T45" fmla="*/ 6 h 67"/>
                <a:gd name="T46" fmla="*/ 237 w 246"/>
                <a:gd name="T47" fmla="*/ 10 h 67"/>
                <a:gd name="T48" fmla="*/ 241 w 246"/>
                <a:gd name="T49" fmla="*/ 15 h 67"/>
                <a:gd name="T50" fmla="*/ 244 w 246"/>
                <a:gd name="T51" fmla="*/ 21 h 67"/>
                <a:gd name="T52" fmla="*/ 246 w 246"/>
                <a:gd name="T53" fmla="*/ 27 h 67"/>
                <a:gd name="T54" fmla="*/ 246 w 246"/>
                <a:gd name="T55" fmla="*/ 34 h 67"/>
                <a:gd name="T56" fmla="*/ 246 w 246"/>
                <a:gd name="T57" fmla="*/ 34 h 67"/>
                <a:gd name="T58" fmla="*/ 246 w 246"/>
                <a:gd name="T59" fmla="*/ 40 h 67"/>
                <a:gd name="T60" fmla="*/ 244 w 246"/>
                <a:gd name="T61" fmla="*/ 47 h 67"/>
                <a:gd name="T62" fmla="*/ 241 w 246"/>
                <a:gd name="T63" fmla="*/ 52 h 67"/>
                <a:gd name="T64" fmla="*/ 237 w 246"/>
                <a:gd name="T65" fmla="*/ 58 h 67"/>
                <a:gd name="T66" fmla="*/ 232 w 246"/>
                <a:gd name="T67" fmla="*/ 62 h 67"/>
                <a:gd name="T68" fmla="*/ 227 w 246"/>
                <a:gd name="T69" fmla="*/ 64 h 67"/>
                <a:gd name="T70" fmla="*/ 220 w 246"/>
                <a:gd name="T71" fmla="*/ 67 h 67"/>
                <a:gd name="T72" fmla="*/ 214 w 246"/>
                <a:gd name="T7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6" h="67">
                  <a:moveTo>
                    <a:pt x="214" y="67"/>
                  </a:moveTo>
                  <a:lnTo>
                    <a:pt x="33" y="67"/>
                  </a:lnTo>
                  <a:lnTo>
                    <a:pt x="27" y="67"/>
                  </a:lnTo>
                  <a:lnTo>
                    <a:pt x="20" y="64"/>
                  </a:lnTo>
                  <a:lnTo>
                    <a:pt x="15" y="62"/>
                  </a:lnTo>
                  <a:lnTo>
                    <a:pt x="10" y="58"/>
                  </a:lnTo>
                  <a:lnTo>
                    <a:pt x="6" y="52"/>
                  </a:lnTo>
                  <a:lnTo>
                    <a:pt x="3" y="47"/>
                  </a:lnTo>
                  <a:lnTo>
                    <a:pt x="0" y="4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3" y="21"/>
                  </a:lnTo>
                  <a:lnTo>
                    <a:pt x="6" y="15"/>
                  </a:lnTo>
                  <a:lnTo>
                    <a:pt x="10" y="10"/>
                  </a:lnTo>
                  <a:lnTo>
                    <a:pt x="15" y="6"/>
                  </a:lnTo>
                  <a:lnTo>
                    <a:pt x="20" y="2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214" y="0"/>
                  </a:lnTo>
                  <a:lnTo>
                    <a:pt x="220" y="1"/>
                  </a:lnTo>
                  <a:lnTo>
                    <a:pt x="227" y="2"/>
                  </a:lnTo>
                  <a:lnTo>
                    <a:pt x="232" y="6"/>
                  </a:lnTo>
                  <a:lnTo>
                    <a:pt x="237" y="10"/>
                  </a:lnTo>
                  <a:lnTo>
                    <a:pt x="241" y="15"/>
                  </a:lnTo>
                  <a:lnTo>
                    <a:pt x="244" y="21"/>
                  </a:lnTo>
                  <a:lnTo>
                    <a:pt x="246" y="27"/>
                  </a:lnTo>
                  <a:lnTo>
                    <a:pt x="246" y="34"/>
                  </a:lnTo>
                  <a:lnTo>
                    <a:pt x="246" y="34"/>
                  </a:lnTo>
                  <a:lnTo>
                    <a:pt x="246" y="40"/>
                  </a:lnTo>
                  <a:lnTo>
                    <a:pt x="244" y="47"/>
                  </a:lnTo>
                  <a:lnTo>
                    <a:pt x="241" y="52"/>
                  </a:lnTo>
                  <a:lnTo>
                    <a:pt x="237" y="58"/>
                  </a:lnTo>
                  <a:lnTo>
                    <a:pt x="232" y="62"/>
                  </a:lnTo>
                  <a:lnTo>
                    <a:pt x="227" y="64"/>
                  </a:lnTo>
                  <a:lnTo>
                    <a:pt x="220" y="67"/>
                  </a:lnTo>
                  <a:lnTo>
                    <a:pt x="214" y="67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43" name="Freeform 180"/>
            <p:cNvSpPr>
              <a:spLocks noEditPoints="1"/>
            </p:cNvSpPr>
            <p:nvPr/>
          </p:nvSpPr>
          <p:spPr bwMode="auto">
            <a:xfrm>
              <a:off x="587375" y="1039813"/>
              <a:ext cx="107950" cy="36513"/>
            </a:xfrm>
            <a:custGeom>
              <a:avLst/>
              <a:gdLst>
                <a:gd name="T0" fmla="*/ 40 w 269"/>
                <a:gd name="T1" fmla="*/ 25 h 91"/>
                <a:gd name="T2" fmla="*/ 32 w 269"/>
                <a:gd name="T3" fmla="*/ 27 h 91"/>
                <a:gd name="T4" fmla="*/ 27 w 269"/>
                <a:gd name="T5" fmla="*/ 34 h 91"/>
                <a:gd name="T6" fmla="*/ 23 w 269"/>
                <a:gd name="T7" fmla="*/ 41 h 91"/>
                <a:gd name="T8" fmla="*/ 23 w 269"/>
                <a:gd name="T9" fmla="*/ 50 h 91"/>
                <a:gd name="T10" fmla="*/ 27 w 269"/>
                <a:gd name="T11" fmla="*/ 58 h 91"/>
                <a:gd name="T12" fmla="*/ 32 w 269"/>
                <a:gd name="T13" fmla="*/ 64 h 91"/>
                <a:gd name="T14" fmla="*/ 40 w 269"/>
                <a:gd name="T15" fmla="*/ 67 h 91"/>
                <a:gd name="T16" fmla="*/ 225 w 269"/>
                <a:gd name="T17" fmla="*/ 67 h 91"/>
                <a:gd name="T18" fmla="*/ 232 w 269"/>
                <a:gd name="T19" fmla="*/ 66 h 91"/>
                <a:gd name="T20" fmla="*/ 239 w 269"/>
                <a:gd name="T21" fmla="*/ 60 h 91"/>
                <a:gd name="T22" fmla="*/ 244 w 269"/>
                <a:gd name="T23" fmla="*/ 54 h 91"/>
                <a:gd name="T24" fmla="*/ 246 w 269"/>
                <a:gd name="T25" fmla="*/ 46 h 91"/>
                <a:gd name="T26" fmla="*/ 244 w 269"/>
                <a:gd name="T27" fmla="*/ 37 h 91"/>
                <a:gd name="T28" fmla="*/ 239 w 269"/>
                <a:gd name="T29" fmla="*/ 30 h 91"/>
                <a:gd name="T30" fmla="*/ 232 w 269"/>
                <a:gd name="T31" fmla="*/ 26 h 91"/>
                <a:gd name="T32" fmla="*/ 225 w 269"/>
                <a:gd name="T33" fmla="*/ 24 h 91"/>
                <a:gd name="T34" fmla="*/ 225 w 269"/>
                <a:gd name="T35" fmla="*/ 91 h 91"/>
                <a:gd name="T36" fmla="*/ 35 w 269"/>
                <a:gd name="T37" fmla="*/ 91 h 91"/>
                <a:gd name="T38" fmla="*/ 19 w 269"/>
                <a:gd name="T39" fmla="*/ 84 h 91"/>
                <a:gd name="T40" fmla="*/ 7 w 269"/>
                <a:gd name="T41" fmla="*/ 71 h 91"/>
                <a:gd name="T42" fmla="*/ 0 w 269"/>
                <a:gd name="T43" fmla="*/ 55 h 91"/>
                <a:gd name="T44" fmla="*/ 0 w 269"/>
                <a:gd name="T45" fmla="*/ 37 h 91"/>
                <a:gd name="T46" fmla="*/ 7 w 269"/>
                <a:gd name="T47" fmla="*/ 20 h 91"/>
                <a:gd name="T48" fmla="*/ 19 w 269"/>
                <a:gd name="T49" fmla="*/ 8 h 91"/>
                <a:gd name="T50" fmla="*/ 35 w 269"/>
                <a:gd name="T51" fmla="*/ 1 h 91"/>
                <a:gd name="T52" fmla="*/ 225 w 269"/>
                <a:gd name="T53" fmla="*/ 0 h 91"/>
                <a:gd name="T54" fmla="*/ 242 w 269"/>
                <a:gd name="T55" fmla="*/ 4 h 91"/>
                <a:gd name="T56" fmla="*/ 256 w 269"/>
                <a:gd name="T57" fmla="*/ 13 h 91"/>
                <a:gd name="T58" fmla="*/ 267 w 269"/>
                <a:gd name="T59" fmla="*/ 27 h 91"/>
                <a:gd name="T60" fmla="*/ 269 w 269"/>
                <a:gd name="T61" fmla="*/ 46 h 91"/>
                <a:gd name="T62" fmla="*/ 267 w 269"/>
                <a:gd name="T63" fmla="*/ 63 h 91"/>
                <a:gd name="T64" fmla="*/ 256 w 269"/>
                <a:gd name="T65" fmla="*/ 77 h 91"/>
                <a:gd name="T66" fmla="*/ 242 w 269"/>
                <a:gd name="T67" fmla="*/ 88 h 91"/>
                <a:gd name="T68" fmla="*/ 225 w 269"/>
                <a:gd name="T6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9" h="91">
                  <a:moveTo>
                    <a:pt x="44" y="24"/>
                  </a:moveTo>
                  <a:lnTo>
                    <a:pt x="40" y="25"/>
                  </a:lnTo>
                  <a:lnTo>
                    <a:pt x="36" y="26"/>
                  </a:lnTo>
                  <a:lnTo>
                    <a:pt x="32" y="27"/>
                  </a:lnTo>
                  <a:lnTo>
                    <a:pt x="30" y="30"/>
                  </a:lnTo>
                  <a:lnTo>
                    <a:pt x="27" y="34"/>
                  </a:lnTo>
                  <a:lnTo>
                    <a:pt x="25" y="37"/>
                  </a:lnTo>
                  <a:lnTo>
                    <a:pt x="23" y="41"/>
                  </a:lnTo>
                  <a:lnTo>
                    <a:pt x="23" y="46"/>
                  </a:lnTo>
                  <a:lnTo>
                    <a:pt x="23" y="50"/>
                  </a:lnTo>
                  <a:lnTo>
                    <a:pt x="25" y="54"/>
                  </a:lnTo>
                  <a:lnTo>
                    <a:pt x="27" y="58"/>
                  </a:lnTo>
                  <a:lnTo>
                    <a:pt x="30" y="60"/>
                  </a:lnTo>
                  <a:lnTo>
                    <a:pt x="32" y="64"/>
                  </a:lnTo>
                  <a:lnTo>
                    <a:pt x="36" y="66"/>
                  </a:lnTo>
                  <a:lnTo>
                    <a:pt x="40" y="67"/>
                  </a:lnTo>
                  <a:lnTo>
                    <a:pt x="44" y="67"/>
                  </a:lnTo>
                  <a:lnTo>
                    <a:pt x="225" y="67"/>
                  </a:lnTo>
                  <a:lnTo>
                    <a:pt x="229" y="67"/>
                  </a:lnTo>
                  <a:lnTo>
                    <a:pt x="232" y="66"/>
                  </a:lnTo>
                  <a:lnTo>
                    <a:pt x="236" y="64"/>
                  </a:lnTo>
                  <a:lnTo>
                    <a:pt x="239" y="60"/>
                  </a:lnTo>
                  <a:lnTo>
                    <a:pt x="242" y="58"/>
                  </a:lnTo>
                  <a:lnTo>
                    <a:pt x="244" y="54"/>
                  </a:lnTo>
                  <a:lnTo>
                    <a:pt x="246" y="50"/>
                  </a:lnTo>
                  <a:lnTo>
                    <a:pt x="246" y="46"/>
                  </a:lnTo>
                  <a:lnTo>
                    <a:pt x="246" y="41"/>
                  </a:lnTo>
                  <a:lnTo>
                    <a:pt x="244" y="37"/>
                  </a:lnTo>
                  <a:lnTo>
                    <a:pt x="242" y="34"/>
                  </a:lnTo>
                  <a:lnTo>
                    <a:pt x="239" y="30"/>
                  </a:lnTo>
                  <a:lnTo>
                    <a:pt x="236" y="27"/>
                  </a:lnTo>
                  <a:lnTo>
                    <a:pt x="232" y="26"/>
                  </a:lnTo>
                  <a:lnTo>
                    <a:pt x="229" y="25"/>
                  </a:lnTo>
                  <a:lnTo>
                    <a:pt x="225" y="24"/>
                  </a:lnTo>
                  <a:lnTo>
                    <a:pt x="44" y="24"/>
                  </a:lnTo>
                  <a:close/>
                  <a:moveTo>
                    <a:pt x="225" y="91"/>
                  </a:moveTo>
                  <a:lnTo>
                    <a:pt x="44" y="91"/>
                  </a:lnTo>
                  <a:lnTo>
                    <a:pt x="35" y="91"/>
                  </a:lnTo>
                  <a:lnTo>
                    <a:pt x="27" y="88"/>
                  </a:lnTo>
                  <a:lnTo>
                    <a:pt x="19" y="84"/>
                  </a:lnTo>
                  <a:lnTo>
                    <a:pt x="13" y="77"/>
                  </a:lnTo>
                  <a:lnTo>
                    <a:pt x="7" y="71"/>
                  </a:lnTo>
                  <a:lnTo>
                    <a:pt x="2" y="63"/>
                  </a:lnTo>
                  <a:lnTo>
                    <a:pt x="0" y="55"/>
                  </a:lnTo>
                  <a:lnTo>
                    <a:pt x="0" y="46"/>
                  </a:lnTo>
                  <a:lnTo>
                    <a:pt x="0" y="37"/>
                  </a:lnTo>
                  <a:lnTo>
                    <a:pt x="2" y="27"/>
                  </a:lnTo>
                  <a:lnTo>
                    <a:pt x="7" y="20"/>
                  </a:lnTo>
                  <a:lnTo>
                    <a:pt x="13" y="13"/>
                  </a:lnTo>
                  <a:lnTo>
                    <a:pt x="19" y="8"/>
                  </a:lnTo>
                  <a:lnTo>
                    <a:pt x="27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225" y="0"/>
                  </a:lnTo>
                  <a:lnTo>
                    <a:pt x="234" y="1"/>
                  </a:lnTo>
                  <a:lnTo>
                    <a:pt x="242" y="4"/>
                  </a:lnTo>
                  <a:lnTo>
                    <a:pt x="250" y="8"/>
                  </a:lnTo>
                  <a:lnTo>
                    <a:pt x="256" y="13"/>
                  </a:lnTo>
                  <a:lnTo>
                    <a:pt x="261" y="20"/>
                  </a:lnTo>
                  <a:lnTo>
                    <a:pt x="267" y="27"/>
                  </a:lnTo>
                  <a:lnTo>
                    <a:pt x="269" y="37"/>
                  </a:lnTo>
                  <a:lnTo>
                    <a:pt x="269" y="46"/>
                  </a:lnTo>
                  <a:lnTo>
                    <a:pt x="269" y="55"/>
                  </a:lnTo>
                  <a:lnTo>
                    <a:pt x="267" y="63"/>
                  </a:lnTo>
                  <a:lnTo>
                    <a:pt x="261" y="71"/>
                  </a:lnTo>
                  <a:lnTo>
                    <a:pt x="256" y="77"/>
                  </a:lnTo>
                  <a:lnTo>
                    <a:pt x="250" y="84"/>
                  </a:lnTo>
                  <a:lnTo>
                    <a:pt x="242" y="88"/>
                  </a:lnTo>
                  <a:lnTo>
                    <a:pt x="234" y="91"/>
                  </a:lnTo>
                  <a:lnTo>
                    <a:pt x="225" y="9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44" name="Freeform 181"/>
            <p:cNvSpPr>
              <a:spLocks/>
            </p:cNvSpPr>
            <p:nvPr/>
          </p:nvSpPr>
          <p:spPr bwMode="auto">
            <a:xfrm>
              <a:off x="1082675" y="1027113"/>
              <a:ext cx="58738" cy="63500"/>
            </a:xfrm>
            <a:custGeom>
              <a:avLst/>
              <a:gdLst>
                <a:gd name="T0" fmla="*/ 150 w 150"/>
                <a:gd name="T1" fmla="*/ 123 h 162"/>
                <a:gd name="T2" fmla="*/ 145 w 150"/>
                <a:gd name="T3" fmla="*/ 131 h 162"/>
                <a:gd name="T4" fmla="*/ 138 w 150"/>
                <a:gd name="T5" fmla="*/ 139 h 162"/>
                <a:gd name="T6" fmla="*/ 130 w 150"/>
                <a:gd name="T7" fmla="*/ 145 h 162"/>
                <a:gd name="T8" fmla="*/ 121 w 150"/>
                <a:gd name="T9" fmla="*/ 152 h 162"/>
                <a:gd name="T10" fmla="*/ 112 w 150"/>
                <a:gd name="T11" fmla="*/ 156 h 162"/>
                <a:gd name="T12" fmla="*/ 102 w 150"/>
                <a:gd name="T13" fmla="*/ 160 h 162"/>
                <a:gd name="T14" fmla="*/ 92 w 150"/>
                <a:gd name="T15" fmla="*/ 161 h 162"/>
                <a:gd name="T16" fmla="*/ 80 w 150"/>
                <a:gd name="T17" fmla="*/ 162 h 162"/>
                <a:gd name="T18" fmla="*/ 72 w 150"/>
                <a:gd name="T19" fmla="*/ 162 h 162"/>
                <a:gd name="T20" fmla="*/ 64 w 150"/>
                <a:gd name="T21" fmla="*/ 161 h 162"/>
                <a:gd name="T22" fmla="*/ 56 w 150"/>
                <a:gd name="T23" fmla="*/ 158 h 162"/>
                <a:gd name="T24" fmla="*/ 48 w 150"/>
                <a:gd name="T25" fmla="*/ 156 h 162"/>
                <a:gd name="T26" fmla="*/ 42 w 150"/>
                <a:gd name="T27" fmla="*/ 153 h 162"/>
                <a:gd name="T28" fmla="*/ 35 w 150"/>
                <a:gd name="T29" fmla="*/ 149 h 162"/>
                <a:gd name="T30" fmla="*/ 29 w 150"/>
                <a:gd name="T31" fmla="*/ 144 h 162"/>
                <a:gd name="T32" fmla="*/ 23 w 150"/>
                <a:gd name="T33" fmla="*/ 139 h 162"/>
                <a:gd name="T34" fmla="*/ 18 w 150"/>
                <a:gd name="T35" fmla="*/ 133 h 162"/>
                <a:gd name="T36" fmla="*/ 13 w 150"/>
                <a:gd name="T37" fmla="*/ 127 h 162"/>
                <a:gd name="T38" fmla="*/ 9 w 150"/>
                <a:gd name="T39" fmla="*/ 120 h 162"/>
                <a:gd name="T40" fmla="*/ 6 w 150"/>
                <a:gd name="T41" fmla="*/ 113 h 162"/>
                <a:gd name="T42" fmla="*/ 2 w 150"/>
                <a:gd name="T43" fmla="*/ 106 h 162"/>
                <a:gd name="T44" fmla="*/ 1 w 150"/>
                <a:gd name="T45" fmla="*/ 98 h 162"/>
                <a:gd name="T46" fmla="*/ 0 w 150"/>
                <a:gd name="T47" fmla="*/ 90 h 162"/>
                <a:gd name="T48" fmla="*/ 0 w 150"/>
                <a:gd name="T49" fmla="*/ 82 h 162"/>
                <a:gd name="T50" fmla="*/ 0 w 150"/>
                <a:gd name="T51" fmla="*/ 74 h 162"/>
                <a:gd name="T52" fmla="*/ 1 w 150"/>
                <a:gd name="T53" fmla="*/ 65 h 162"/>
                <a:gd name="T54" fmla="*/ 2 w 150"/>
                <a:gd name="T55" fmla="*/ 58 h 162"/>
                <a:gd name="T56" fmla="*/ 6 w 150"/>
                <a:gd name="T57" fmla="*/ 50 h 162"/>
                <a:gd name="T58" fmla="*/ 9 w 150"/>
                <a:gd name="T59" fmla="*/ 44 h 162"/>
                <a:gd name="T60" fmla="*/ 13 w 150"/>
                <a:gd name="T61" fmla="*/ 37 h 162"/>
                <a:gd name="T62" fmla="*/ 18 w 150"/>
                <a:gd name="T63" fmla="*/ 31 h 162"/>
                <a:gd name="T64" fmla="*/ 23 w 150"/>
                <a:gd name="T65" fmla="*/ 24 h 162"/>
                <a:gd name="T66" fmla="*/ 29 w 150"/>
                <a:gd name="T67" fmla="*/ 19 h 162"/>
                <a:gd name="T68" fmla="*/ 35 w 150"/>
                <a:gd name="T69" fmla="*/ 15 h 162"/>
                <a:gd name="T70" fmla="*/ 42 w 150"/>
                <a:gd name="T71" fmla="*/ 11 h 162"/>
                <a:gd name="T72" fmla="*/ 48 w 150"/>
                <a:gd name="T73" fmla="*/ 7 h 162"/>
                <a:gd name="T74" fmla="*/ 56 w 150"/>
                <a:gd name="T75" fmla="*/ 4 h 162"/>
                <a:gd name="T76" fmla="*/ 64 w 150"/>
                <a:gd name="T77" fmla="*/ 2 h 162"/>
                <a:gd name="T78" fmla="*/ 72 w 150"/>
                <a:gd name="T79" fmla="*/ 2 h 162"/>
                <a:gd name="T80" fmla="*/ 80 w 150"/>
                <a:gd name="T81" fmla="*/ 0 h 162"/>
                <a:gd name="T82" fmla="*/ 91 w 150"/>
                <a:gd name="T83" fmla="*/ 2 h 162"/>
                <a:gd name="T84" fmla="*/ 101 w 150"/>
                <a:gd name="T85" fmla="*/ 3 h 162"/>
                <a:gd name="T86" fmla="*/ 110 w 150"/>
                <a:gd name="T87" fmla="*/ 7 h 162"/>
                <a:gd name="T88" fmla="*/ 118 w 150"/>
                <a:gd name="T89" fmla="*/ 11 h 162"/>
                <a:gd name="T90" fmla="*/ 127 w 150"/>
                <a:gd name="T91" fmla="*/ 16 h 162"/>
                <a:gd name="T92" fmla="*/ 134 w 150"/>
                <a:gd name="T93" fmla="*/ 21 h 162"/>
                <a:gd name="T94" fmla="*/ 142 w 150"/>
                <a:gd name="T95" fmla="*/ 29 h 162"/>
                <a:gd name="T96" fmla="*/ 147 w 150"/>
                <a:gd name="T97" fmla="*/ 37 h 162"/>
                <a:gd name="T98" fmla="*/ 150 w 150"/>
                <a:gd name="T99" fmla="*/ 12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" h="162">
                  <a:moveTo>
                    <a:pt x="150" y="123"/>
                  </a:moveTo>
                  <a:lnTo>
                    <a:pt x="145" y="131"/>
                  </a:lnTo>
                  <a:lnTo>
                    <a:pt x="138" y="139"/>
                  </a:lnTo>
                  <a:lnTo>
                    <a:pt x="130" y="145"/>
                  </a:lnTo>
                  <a:lnTo>
                    <a:pt x="121" y="152"/>
                  </a:lnTo>
                  <a:lnTo>
                    <a:pt x="112" y="156"/>
                  </a:lnTo>
                  <a:lnTo>
                    <a:pt x="102" y="160"/>
                  </a:lnTo>
                  <a:lnTo>
                    <a:pt x="92" y="161"/>
                  </a:lnTo>
                  <a:lnTo>
                    <a:pt x="80" y="162"/>
                  </a:lnTo>
                  <a:lnTo>
                    <a:pt x="72" y="162"/>
                  </a:lnTo>
                  <a:lnTo>
                    <a:pt x="64" y="161"/>
                  </a:lnTo>
                  <a:lnTo>
                    <a:pt x="56" y="158"/>
                  </a:lnTo>
                  <a:lnTo>
                    <a:pt x="48" y="156"/>
                  </a:lnTo>
                  <a:lnTo>
                    <a:pt x="42" y="153"/>
                  </a:lnTo>
                  <a:lnTo>
                    <a:pt x="35" y="149"/>
                  </a:lnTo>
                  <a:lnTo>
                    <a:pt x="29" y="144"/>
                  </a:lnTo>
                  <a:lnTo>
                    <a:pt x="23" y="139"/>
                  </a:lnTo>
                  <a:lnTo>
                    <a:pt x="18" y="133"/>
                  </a:lnTo>
                  <a:lnTo>
                    <a:pt x="13" y="127"/>
                  </a:lnTo>
                  <a:lnTo>
                    <a:pt x="9" y="120"/>
                  </a:lnTo>
                  <a:lnTo>
                    <a:pt x="6" y="113"/>
                  </a:lnTo>
                  <a:lnTo>
                    <a:pt x="2" y="106"/>
                  </a:lnTo>
                  <a:lnTo>
                    <a:pt x="1" y="98"/>
                  </a:lnTo>
                  <a:lnTo>
                    <a:pt x="0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1" y="65"/>
                  </a:lnTo>
                  <a:lnTo>
                    <a:pt x="2" y="58"/>
                  </a:lnTo>
                  <a:lnTo>
                    <a:pt x="6" y="50"/>
                  </a:lnTo>
                  <a:lnTo>
                    <a:pt x="9" y="44"/>
                  </a:lnTo>
                  <a:lnTo>
                    <a:pt x="13" y="37"/>
                  </a:lnTo>
                  <a:lnTo>
                    <a:pt x="18" y="31"/>
                  </a:lnTo>
                  <a:lnTo>
                    <a:pt x="23" y="24"/>
                  </a:lnTo>
                  <a:lnTo>
                    <a:pt x="29" y="19"/>
                  </a:lnTo>
                  <a:lnTo>
                    <a:pt x="35" y="15"/>
                  </a:lnTo>
                  <a:lnTo>
                    <a:pt x="42" y="11"/>
                  </a:lnTo>
                  <a:lnTo>
                    <a:pt x="48" y="7"/>
                  </a:lnTo>
                  <a:lnTo>
                    <a:pt x="56" y="4"/>
                  </a:lnTo>
                  <a:lnTo>
                    <a:pt x="64" y="2"/>
                  </a:lnTo>
                  <a:lnTo>
                    <a:pt x="72" y="2"/>
                  </a:lnTo>
                  <a:lnTo>
                    <a:pt x="80" y="0"/>
                  </a:lnTo>
                  <a:lnTo>
                    <a:pt x="91" y="2"/>
                  </a:lnTo>
                  <a:lnTo>
                    <a:pt x="101" y="3"/>
                  </a:lnTo>
                  <a:lnTo>
                    <a:pt x="110" y="7"/>
                  </a:lnTo>
                  <a:lnTo>
                    <a:pt x="118" y="11"/>
                  </a:lnTo>
                  <a:lnTo>
                    <a:pt x="127" y="16"/>
                  </a:lnTo>
                  <a:lnTo>
                    <a:pt x="134" y="21"/>
                  </a:lnTo>
                  <a:lnTo>
                    <a:pt x="142" y="29"/>
                  </a:lnTo>
                  <a:lnTo>
                    <a:pt x="147" y="37"/>
                  </a:lnTo>
                  <a:lnTo>
                    <a:pt x="150" y="123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45" name="Freeform 182"/>
            <p:cNvSpPr>
              <a:spLocks/>
            </p:cNvSpPr>
            <p:nvPr/>
          </p:nvSpPr>
          <p:spPr bwMode="auto">
            <a:xfrm>
              <a:off x="1077913" y="1022350"/>
              <a:ext cx="68263" cy="73025"/>
            </a:xfrm>
            <a:custGeom>
              <a:avLst/>
              <a:gdLst>
                <a:gd name="T0" fmla="*/ 83 w 174"/>
                <a:gd name="T1" fmla="*/ 186 h 186"/>
                <a:gd name="T2" fmla="*/ 64 w 174"/>
                <a:gd name="T3" fmla="*/ 182 h 186"/>
                <a:gd name="T4" fmla="*/ 49 w 174"/>
                <a:gd name="T5" fmla="*/ 176 h 186"/>
                <a:gd name="T6" fmla="*/ 33 w 174"/>
                <a:gd name="T7" fmla="*/ 165 h 186"/>
                <a:gd name="T8" fmla="*/ 21 w 174"/>
                <a:gd name="T9" fmla="*/ 153 h 186"/>
                <a:gd name="T10" fmla="*/ 10 w 174"/>
                <a:gd name="T11" fmla="*/ 137 h 186"/>
                <a:gd name="T12" fmla="*/ 4 w 174"/>
                <a:gd name="T13" fmla="*/ 122 h 186"/>
                <a:gd name="T14" fmla="*/ 0 w 174"/>
                <a:gd name="T15" fmla="*/ 103 h 186"/>
                <a:gd name="T16" fmla="*/ 0 w 174"/>
                <a:gd name="T17" fmla="*/ 85 h 186"/>
                <a:gd name="T18" fmla="*/ 4 w 174"/>
                <a:gd name="T19" fmla="*/ 66 h 186"/>
                <a:gd name="T20" fmla="*/ 10 w 174"/>
                <a:gd name="T21" fmla="*/ 49 h 186"/>
                <a:gd name="T22" fmla="*/ 21 w 174"/>
                <a:gd name="T23" fmla="*/ 35 h 186"/>
                <a:gd name="T24" fmla="*/ 33 w 174"/>
                <a:gd name="T25" fmla="*/ 22 h 186"/>
                <a:gd name="T26" fmla="*/ 49 w 174"/>
                <a:gd name="T27" fmla="*/ 12 h 186"/>
                <a:gd name="T28" fmla="*/ 64 w 174"/>
                <a:gd name="T29" fmla="*/ 4 h 186"/>
                <a:gd name="T30" fmla="*/ 83 w 174"/>
                <a:gd name="T31" fmla="*/ 2 h 186"/>
                <a:gd name="T32" fmla="*/ 104 w 174"/>
                <a:gd name="T33" fmla="*/ 2 h 186"/>
                <a:gd name="T34" fmla="*/ 125 w 174"/>
                <a:gd name="T35" fmla="*/ 7 h 186"/>
                <a:gd name="T36" fmla="*/ 145 w 174"/>
                <a:gd name="T37" fmla="*/ 18 h 186"/>
                <a:gd name="T38" fmla="*/ 162 w 174"/>
                <a:gd name="T39" fmla="*/ 33 h 186"/>
                <a:gd name="T40" fmla="*/ 171 w 174"/>
                <a:gd name="T41" fmla="*/ 47 h 186"/>
                <a:gd name="T42" fmla="*/ 170 w 174"/>
                <a:gd name="T43" fmla="*/ 54 h 186"/>
                <a:gd name="T44" fmla="*/ 162 w 174"/>
                <a:gd name="T45" fmla="*/ 61 h 186"/>
                <a:gd name="T46" fmla="*/ 153 w 174"/>
                <a:gd name="T47" fmla="*/ 58 h 186"/>
                <a:gd name="T48" fmla="*/ 145 w 174"/>
                <a:gd name="T49" fmla="*/ 48 h 186"/>
                <a:gd name="T50" fmla="*/ 132 w 174"/>
                <a:gd name="T51" fmla="*/ 37 h 186"/>
                <a:gd name="T52" fmla="*/ 117 w 174"/>
                <a:gd name="T53" fmla="*/ 29 h 186"/>
                <a:gd name="T54" fmla="*/ 101 w 174"/>
                <a:gd name="T55" fmla="*/ 25 h 186"/>
                <a:gd name="T56" fmla="*/ 86 w 174"/>
                <a:gd name="T57" fmla="*/ 25 h 186"/>
                <a:gd name="T58" fmla="*/ 72 w 174"/>
                <a:gd name="T59" fmla="*/ 28 h 186"/>
                <a:gd name="T60" fmla="*/ 54 w 174"/>
                <a:gd name="T61" fmla="*/ 36 h 186"/>
                <a:gd name="T62" fmla="*/ 35 w 174"/>
                <a:gd name="T63" fmla="*/ 56 h 186"/>
                <a:gd name="T64" fmla="*/ 26 w 174"/>
                <a:gd name="T65" fmla="*/ 73 h 186"/>
                <a:gd name="T66" fmla="*/ 24 w 174"/>
                <a:gd name="T67" fmla="*/ 86 h 186"/>
                <a:gd name="T68" fmla="*/ 24 w 174"/>
                <a:gd name="T69" fmla="*/ 100 h 186"/>
                <a:gd name="T70" fmla="*/ 26 w 174"/>
                <a:gd name="T71" fmla="*/ 114 h 186"/>
                <a:gd name="T72" fmla="*/ 35 w 174"/>
                <a:gd name="T73" fmla="*/ 132 h 186"/>
                <a:gd name="T74" fmla="*/ 54 w 174"/>
                <a:gd name="T75" fmla="*/ 151 h 186"/>
                <a:gd name="T76" fmla="*/ 72 w 174"/>
                <a:gd name="T77" fmla="*/ 160 h 186"/>
                <a:gd name="T78" fmla="*/ 86 w 174"/>
                <a:gd name="T79" fmla="*/ 162 h 186"/>
                <a:gd name="T80" fmla="*/ 101 w 174"/>
                <a:gd name="T81" fmla="*/ 162 h 186"/>
                <a:gd name="T82" fmla="*/ 118 w 174"/>
                <a:gd name="T83" fmla="*/ 157 h 186"/>
                <a:gd name="T84" fmla="*/ 134 w 174"/>
                <a:gd name="T85" fmla="*/ 148 h 186"/>
                <a:gd name="T86" fmla="*/ 147 w 174"/>
                <a:gd name="T87" fmla="*/ 136 h 186"/>
                <a:gd name="T88" fmla="*/ 155 w 174"/>
                <a:gd name="T89" fmla="*/ 124 h 186"/>
                <a:gd name="T90" fmla="*/ 163 w 174"/>
                <a:gd name="T91" fmla="*/ 123 h 186"/>
                <a:gd name="T92" fmla="*/ 172 w 174"/>
                <a:gd name="T93" fmla="*/ 127 h 186"/>
                <a:gd name="T94" fmla="*/ 174 w 174"/>
                <a:gd name="T95" fmla="*/ 136 h 186"/>
                <a:gd name="T96" fmla="*/ 166 w 174"/>
                <a:gd name="T97" fmla="*/ 151 h 186"/>
                <a:gd name="T98" fmla="*/ 149 w 174"/>
                <a:gd name="T99" fmla="*/ 168 h 186"/>
                <a:gd name="T100" fmla="*/ 128 w 174"/>
                <a:gd name="T101" fmla="*/ 179 h 186"/>
                <a:gd name="T102" fmla="*/ 105 w 174"/>
                <a:gd name="T103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" h="186">
                  <a:moveTo>
                    <a:pt x="92" y="186"/>
                  </a:moveTo>
                  <a:lnTo>
                    <a:pt x="83" y="186"/>
                  </a:lnTo>
                  <a:lnTo>
                    <a:pt x="74" y="185"/>
                  </a:lnTo>
                  <a:lnTo>
                    <a:pt x="64" y="182"/>
                  </a:lnTo>
                  <a:lnTo>
                    <a:pt x="57" y="179"/>
                  </a:lnTo>
                  <a:lnTo>
                    <a:pt x="49" y="176"/>
                  </a:lnTo>
                  <a:lnTo>
                    <a:pt x="41" y="170"/>
                  </a:lnTo>
                  <a:lnTo>
                    <a:pt x="33" y="165"/>
                  </a:lnTo>
                  <a:lnTo>
                    <a:pt x="26" y="160"/>
                  </a:lnTo>
                  <a:lnTo>
                    <a:pt x="21" y="153"/>
                  </a:lnTo>
                  <a:lnTo>
                    <a:pt x="16" y="145"/>
                  </a:lnTo>
                  <a:lnTo>
                    <a:pt x="10" y="137"/>
                  </a:lnTo>
                  <a:lnTo>
                    <a:pt x="7" y="129"/>
                  </a:lnTo>
                  <a:lnTo>
                    <a:pt x="4" y="122"/>
                  </a:lnTo>
                  <a:lnTo>
                    <a:pt x="1" y="112"/>
                  </a:lnTo>
                  <a:lnTo>
                    <a:pt x="0" y="103"/>
                  </a:lnTo>
                  <a:lnTo>
                    <a:pt x="0" y="94"/>
                  </a:lnTo>
                  <a:lnTo>
                    <a:pt x="0" y="85"/>
                  </a:lnTo>
                  <a:lnTo>
                    <a:pt x="1" y="75"/>
                  </a:lnTo>
                  <a:lnTo>
                    <a:pt x="4" y="66"/>
                  </a:lnTo>
                  <a:lnTo>
                    <a:pt x="7" y="57"/>
                  </a:lnTo>
                  <a:lnTo>
                    <a:pt x="10" y="49"/>
                  </a:lnTo>
                  <a:lnTo>
                    <a:pt x="16" y="41"/>
                  </a:lnTo>
                  <a:lnTo>
                    <a:pt x="21" y="35"/>
                  </a:lnTo>
                  <a:lnTo>
                    <a:pt x="26" y="28"/>
                  </a:lnTo>
                  <a:lnTo>
                    <a:pt x="33" y="22"/>
                  </a:lnTo>
                  <a:lnTo>
                    <a:pt x="41" y="16"/>
                  </a:lnTo>
                  <a:lnTo>
                    <a:pt x="49" y="12"/>
                  </a:lnTo>
                  <a:lnTo>
                    <a:pt x="57" y="8"/>
                  </a:lnTo>
                  <a:lnTo>
                    <a:pt x="64" y="4"/>
                  </a:lnTo>
                  <a:lnTo>
                    <a:pt x="74" y="3"/>
                  </a:lnTo>
                  <a:lnTo>
                    <a:pt x="83" y="2"/>
                  </a:lnTo>
                  <a:lnTo>
                    <a:pt x="92" y="0"/>
                  </a:lnTo>
                  <a:lnTo>
                    <a:pt x="104" y="2"/>
                  </a:lnTo>
                  <a:lnTo>
                    <a:pt x="114" y="3"/>
                  </a:lnTo>
                  <a:lnTo>
                    <a:pt x="125" y="7"/>
                  </a:lnTo>
                  <a:lnTo>
                    <a:pt x="136" y="12"/>
                  </a:lnTo>
                  <a:lnTo>
                    <a:pt x="145" y="18"/>
                  </a:lnTo>
                  <a:lnTo>
                    <a:pt x="154" y="24"/>
                  </a:lnTo>
                  <a:lnTo>
                    <a:pt x="162" y="33"/>
                  </a:lnTo>
                  <a:lnTo>
                    <a:pt x="170" y="41"/>
                  </a:lnTo>
                  <a:lnTo>
                    <a:pt x="171" y="47"/>
                  </a:lnTo>
                  <a:lnTo>
                    <a:pt x="171" y="50"/>
                  </a:lnTo>
                  <a:lnTo>
                    <a:pt x="170" y="54"/>
                  </a:lnTo>
                  <a:lnTo>
                    <a:pt x="166" y="58"/>
                  </a:lnTo>
                  <a:lnTo>
                    <a:pt x="162" y="61"/>
                  </a:lnTo>
                  <a:lnTo>
                    <a:pt x="157" y="61"/>
                  </a:lnTo>
                  <a:lnTo>
                    <a:pt x="153" y="58"/>
                  </a:lnTo>
                  <a:lnTo>
                    <a:pt x="149" y="56"/>
                  </a:lnTo>
                  <a:lnTo>
                    <a:pt x="145" y="48"/>
                  </a:lnTo>
                  <a:lnTo>
                    <a:pt x="138" y="43"/>
                  </a:lnTo>
                  <a:lnTo>
                    <a:pt x="132" y="37"/>
                  </a:lnTo>
                  <a:lnTo>
                    <a:pt x="125" y="33"/>
                  </a:lnTo>
                  <a:lnTo>
                    <a:pt x="117" y="29"/>
                  </a:lnTo>
                  <a:lnTo>
                    <a:pt x="109" y="27"/>
                  </a:lnTo>
                  <a:lnTo>
                    <a:pt x="101" y="25"/>
                  </a:lnTo>
                  <a:lnTo>
                    <a:pt x="92" y="24"/>
                  </a:lnTo>
                  <a:lnTo>
                    <a:pt x="86" y="25"/>
                  </a:lnTo>
                  <a:lnTo>
                    <a:pt x="79" y="27"/>
                  </a:lnTo>
                  <a:lnTo>
                    <a:pt x="72" y="28"/>
                  </a:lnTo>
                  <a:lnTo>
                    <a:pt x="66" y="31"/>
                  </a:lnTo>
                  <a:lnTo>
                    <a:pt x="54" y="36"/>
                  </a:lnTo>
                  <a:lnTo>
                    <a:pt x="43" y="45"/>
                  </a:lnTo>
                  <a:lnTo>
                    <a:pt x="35" y="56"/>
                  </a:lnTo>
                  <a:lnTo>
                    <a:pt x="29" y="66"/>
                  </a:lnTo>
                  <a:lnTo>
                    <a:pt x="26" y="73"/>
                  </a:lnTo>
                  <a:lnTo>
                    <a:pt x="25" y="79"/>
                  </a:lnTo>
                  <a:lnTo>
                    <a:pt x="24" y="86"/>
                  </a:lnTo>
                  <a:lnTo>
                    <a:pt x="24" y="94"/>
                  </a:lnTo>
                  <a:lnTo>
                    <a:pt x="24" y="100"/>
                  </a:lnTo>
                  <a:lnTo>
                    <a:pt x="25" y="107"/>
                  </a:lnTo>
                  <a:lnTo>
                    <a:pt x="26" y="114"/>
                  </a:lnTo>
                  <a:lnTo>
                    <a:pt x="29" y="120"/>
                  </a:lnTo>
                  <a:lnTo>
                    <a:pt x="35" y="132"/>
                  </a:lnTo>
                  <a:lnTo>
                    <a:pt x="43" y="143"/>
                  </a:lnTo>
                  <a:lnTo>
                    <a:pt x="54" y="151"/>
                  </a:lnTo>
                  <a:lnTo>
                    <a:pt x="66" y="157"/>
                  </a:lnTo>
                  <a:lnTo>
                    <a:pt x="72" y="160"/>
                  </a:lnTo>
                  <a:lnTo>
                    <a:pt x="79" y="161"/>
                  </a:lnTo>
                  <a:lnTo>
                    <a:pt x="86" y="162"/>
                  </a:lnTo>
                  <a:lnTo>
                    <a:pt x="92" y="162"/>
                  </a:lnTo>
                  <a:lnTo>
                    <a:pt x="101" y="162"/>
                  </a:lnTo>
                  <a:lnTo>
                    <a:pt x="111" y="160"/>
                  </a:lnTo>
                  <a:lnTo>
                    <a:pt x="118" y="157"/>
                  </a:lnTo>
                  <a:lnTo>
                    <a:pt x="126" y="153"/>
                  </a:lnTo>
                  <a:lnTo>
                    <a:pt x="134" y="148"/>
                  </a:lnTo>
                  <a:lnTo>
                    <a:pt x="141" y="143"/>
                  </a:lnTo>
                  <a:lnTo>
                    <a:pt x="147" y="136"/>
                  </a:lnTo>
                  <a:lnTo>
                    <a:pt x="151" y="128"/>
                  </a:lnTo>
                  <a:lnTo>
                    <a:pt x="155" y="124"/>
                  </a:lnTo>
                  <a:lnTo>
                    <a:pt x="159" y="123"/>
                  </a:lnTo>
                  <a:lnTo>
                    <a:pt x="163" y="123"/>
                  </a:lnTo>
                  <a:lnTo>
                    <a:pt x="168" y="124"/>
                  </a:lnTo>
                  <a:lnTo>
                    <a:pt x="172" y="127"/>
                  </a:lnTo>
                  <a:lnTo>
                    <a:pt x="174" y="131"/>
                  </a:lnTo>
                  <a:lnTo>
                    <a:pt x="174" y="136"/>
                  </a:lnTo>
                  <a:lnTo>
                    <a:pt x="172" y="140"/>
                  </a:lnTo>
                  <a:lnTo>
                    <a:pt x="166" y="151"/>
                  </a:lnTo>
                  <a:lnTo>
                    <a:pt x="158" y="160"/>
                  </a:lnTo>
                  <a:lnTo>
                    <a:pt x="149" y="168"/>
                  </a:lnTo>
                  <a:lnTo>
                    <a:pt x="138" y="174"/>
                  </a:lnTo>
                  <a:lnTo>
                    <a:pt x="128" y="179"/>
                  </a:lnTo>
                  <a:lnTo>
                    <a:pt x="117" y="183"/>
                  </a:lnTo>
                  <a:lnTo>
                    <a:pt x="105" y="186"/>
                  </a:lnTo>
                  <a:lnTo>
                    <a:pt x="92" y="18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46" name="Freeform 183"/>
            <p:cNvSpPr>
              <a:spLocks/>
            </p:cNvSpPr>
            <p:nvPr/>
          </p:nvSpPr>
          <p:spPr bwMode="auto">
            <a:xfrm>
              <a:off x="1176338" y="1027113"/>
              <a:ext cx="60325" cy="63500"/>
            </a:xfrm>
            <a:custGeom>
              <a:avLst/>
              <a:gdLst>
                <a:gd name="T0" fmla="*/ 0 w 151"/>
                <a:gd name="T1" fmla="*/ 123 h 162"/>
                <a:gd name="T2" fmla="*/ 6 w 151"/>
                <a:gd name="T3" fmla="*/ 131 h 162"/>
                <a:gd name="T4" fmla="*/ 13 w 151"/>
                <a:gd name="T5" fmla="*/ 139 h 162"/>
                <a:gd name="T6" fmla="*/ 21 w 151"/>
                <a:gd name="T7" fmla="*/ 145 h 162"/>
                <a:gd name="T8" fmla="*/ 29 w 151"/>
                <a:gd name="T9" fmla="*/ 152 h 162"/>
                <a:gd name="T10" fmla="*/ 38 w 151"/>
                <a:gd name="T11" fmla="*/ 156 h 162"/>
                <a:gd name="T12" fmla="*/ 48 w 151"/>
                <a:gd name="T13" fmla="*/ 160 h 162"/>
                <a:gd name="T14" fmla="*/ 59 w 151"/>
                <a:gd name="T15" fmla="*/ 161 h 162"/>
                <a:gd name="T16" fmla="*/ 69 w 151"/>
                <a:gd name="T17" fmla="*/ 162 h 162"/>
                <a:gd name="T18" fmla="*/ 79 w 151"/>
                <a:gd name="T19" fmla="*/ 162 h 162"/>
                <a:gd name="T20" fmla="*/ 87 w 151"/>
                <a:gd name="T21" fmla="*/ 161 h 162"/>
                <a:gd name="T22" fmla="*/ 94 w 151"/>
                <a:gd name="T23" fmla="*/ 158 h 162"/>
                <a:gd name="T24" fmla="*/ 101 w 151"/>
                <a:gd name="T25" fmla="*/ 156 h 162"/>
                <a:gd name="T26" fmla="*/ 109 w 151"/>
                <a:gd name="T27" fmla="*/ 153 h 162"/>
                <a:gd name="T28" fmla="*/ 115 w 151"/>
                <a:gd name="T29" fmla="*/ 149 h 162"/>
                <a:gd name="T30" fmla="*/ 122 w 151"/>
                <a:gd name="T31" fmla="*/ 144 h 162"/>
                <a:gd name="T32" fmla="*/ 127 w 151"/>
                <a:gd name="T33" fmla="*/ 139 h 162"/>
                <a:gd name="T34" fmla="*/ 133 w 151"/>
                <a:gd name="T35" fmla="*/ 133 h 162"/>
                <a:gd name="T36" fmla="*/ 137 w 151"/>
                <a:gd name="T37" fmla="*/ 127 h 162"/>
                <a:gd name="T38" fmla="*/ 140 w 151"/>
                <a:gd name="T39" fmla="*/ 120 h 162"/>
                <a:gd name="T40" fmla="*/ 144 w 151"/>
                <a:gd name="T41" fmla="*/ 113 h 162"/>
                <a:gd name="T42" fmla="*/ 147 w 151"/>
                <a:gd name="T43" fmla="*/ 106 h 162"/>
                <a:gd name="T44" fmla="*/ 150 w 151"/>
                <a:gd name="T45" fmla="*/ 98 h 162"/>
                <a:gd name="T46" fmla="*/ 150 w 151"/>
                <a:gd name="T47" fmla="*/ 90 h 162"/>
                <a:gd name="T48" fmla="*/ 151 w 151"/>
                <a:gd name="T49" fmla="*/ 82 h 162"/>
                <a:gd name="T50" fmla="*/ 150 w 151"/>
                <a:gd name="T51" fmla="*/ 74 h 162"/>
                <a:gd name="T52" fmla="*/ 150 w 151"/>
                <a:gd name="T53" fmla="*/ 65 h 162"/>
                <a:gd name="T54" fmla="*/ 147 w 151"/>
                <a:gd name="T55" fmla="*/ 58 h 162"/>
                <a:gd name="T56" fmla="*/ 144 w 151"/>
                <a:gd name="T57" fmla="*/ 50 h 162"/>
                <a:gd name="T58" fmla="*/ 140 w 151"/>
                <a:gd name="T59" fmla="*/ 44 h 162"/>
                <a:gd name="T60" fmla="*/ 137 w 151"/>
                <a:gd name="T61" fmla="*/ 37 h 162"/>
                <a:gd name="T62" fmla="*/ 133 w 151"/>
                <a:gd name="T63" fmla="*/ 31 h 162"/>
                <a:gd name="T64" fmla="*/ 127 w 151"/>
                <a:gd name="T65" fmla="*/ 24 h 162"/>
                <a:gd name="T66" fmla="*/ 122 w 151"/>
                <a:gd name="T67" fmla="*/ 19 h 162"/>
                <a:gd name="T68" fmla="*/ 115 w 151"/>
                <a:gd name="T69" fmla="*/ 15 h 162"/>
                <a:gd name="T70" fmla="*/ 109 w 151"/>
                <a:gd name="T71" fmla="*/ 11 h 162"/>
                <a:gd name="T72" fmla="*/ 101 w 151"/>
                <a:gd name="T73" fmla="*/ 7 h 162"/>
                <a:gd name="T74" fmla="*/ 94 w 151"/>
                <a:gd name="T75" fmla="*/ 4 h 162"/>
                <a:gd name="T76" fmla="*/ 87 w 151"/>
                <a:gd name="T77" fmla="*/ 2 h 162"/>
                <a:gd name="T78" fmla="*/ 79 w 151"/>
                <a:gd name="T79" fmla="*/ 2 h 162"/>
                <a:gd name="T80" fmla="*/ 69 w 151"/>
                <a:gd name="T81" fmla="*/ 0 h 162"/>
                <a:gd name="T82" fmla="*/ 60 w 151"/>
                <a:gd name="T83" fmla="*/ 2 h 162"/>
                <a:gd name="T84" fmla="*/ 50 w 151"/>
                <a:gd name="T85" fmla="*/ 3 h 162"/>
                <a:gd name="T86" fmla="*/ 40 w 151"/>
                <a:gd name="T87" fmla="*/ 7 h 162"/>
                <a:gd name="T88" fmla="*/ 31 w 151"/>
                <a:gd name="T89" fmla="*/ 11 h 162"/>
                <a:gd name="T90" fmla="*/ 23 w 151"/>
                <a:gd name="T91" fmla="*/ 16 h 162"/>
                <a:gd name="T92" fmla="*/ 15 w 151"/>
                <a:gd name="T93" fmla="*/ 21 h 162"/>
                <a:gd name="T94" fmla="*/ 9 w 151"/>
                <a:gd name="T95" fmla="*/ 29 h 162"/>
                <a:gd name="T96" fmla="*/ 2 w 151"/>
                <a:gd name="T97" fmla="*/ 37 h 162"/>
                <a:gd name="T98" fmla="*/ 0 w 151"/>
                <a:gd name="T99" fmla="*/ 123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1" h="162">
                  <a:moveTo>
                    <a:pt x="0" y="123"/>
                  </a:moveTo>
                  <a:lnTo>
                    <a:pt x="6" y="131"/>
                  </a:lnTo>
                  <a:lnTo>
                    <a:pt x="13" y="139"/>
                  </a:lnTo>
                  <a:lnTo>
                    <a:pt x="21" y="145"/>
                  </a:lnTo>
                  <a:lnTo>
                    <a:pt x="29" y="152"/>
                  </a:lnTo>
                  <a:lnTo>
                    <a:pt x="38" y="156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9" y="162"/>
                  </a:lnTo>
                  <a:lnTo>
                    <a:pt x="79" y="162"/>
                  </a:lnTo>
                  <a:lnTo>
                    <a:pt x="87" y="161"/>
                  </a:lnTo>
                  <a:lnTo>
                    <a:pt x="94" y="158"/>
                  </a:lnTo>
                  <a:lnTo>
                    <a:pt x="101" y="156"/>
                  </a:lnTo>
                  <a:lnTo>
                    <a:pt x="109" y="153"/>
                  </a:lnTo>
                  <a:lnTo>
                    <a:pt x="115" y="149"/>
                  </a:lnTo>
                  <a:lnTo>
                    <a:pt x="122" y="144"/>
                  </a:lnTo>
                  <a:lnTo>
                    <a:pt x="127" y="139"/>
                  </a:lnTo>
                  <a:lnTo>
                    <a:pt x="133" y="133"/>
                  </a:lnTo>
                  <a:lnTo>
                    <a:pt x="137" y="127"/>
                  </a:lnTo>
                  <a:lnTo>
                    <a:pt x="140" y="120"/>
                  </a:lnTo>
                  <a:lnTo>
                    <a:pt x="144" y="113"/>
                  </a:lnTo>
                  <a:lnTo>
                    <a:pt x="147" y="106"/>
                  </a:lnTo>
                  <a:lnTo>
                    <a:pt x="150" y="98"/>
                  </a:lnTo>
                  <a:lnTo>
                    <a:pt x="150" y="90"/>
                  </a:lnTo>
                  <a:lnTo>
                    <a:pt x="151" y="82"/>
                  </a:lnTo>
                  <a:lnTo>
                    <a:pt x="150" y="74"/>
                  </a:lnTo>
                  <a:lnTo>
                    <a:pt x="150" y="65"/>
                  </a:lnTo>
                  <a:lnTo>
                    <a:pt x="147" y="58"/>
                  </a:lnTo>
                  <a:lnTo>
                    <a:pt x="144" y="50"/>
                  </a:lnTo>
                  <a:lnTo>
                    <a:pt x="140" y="44"/>
                  </a:lnTo>
                  <a:lnTo>
                    <a:pt x="137" y="37"/>
                  </a:lnTo>
                  <a:lnTo>
                    <a:pt x="133" y="31"/>
                  </a:lnTo>
                  <a:lnTo>
                    <a:pt x="127" y="24"/>
                  </a:lnTo>
                  <a:lnTo>
                    <a:pt x="122" y="19"/>
                  </a:lnTo>
                  <a:lnTo>
                    <a:pt x="115" y="15"/>
                  </a:lnTo>
                  <a:lnTo>
                    <a:pt x="109" y="11"/>
                  </a:lnTo>
                  <a:lnTo>
                    <a:pt x="101" y="7"/>
                  </a:lnTo>
                  <a:lnTo>
                    <a:pt x="94" y="4"/>
                  </a:lnTo>
                  <a:lnTo>
                    <a:pt x="87" y="2"/>
                  </a:lnTo>
                  <a:lnTo>
                    <a:pt x="79" y="2"/>
                  </a:lnTo>
                  <a:lnTo>
                    <a:pt x="69" y="0"/>
                  </a:lnTo>
                  <a:lnTo>
                    <a:pt x="60" y="2"/>
                  </a:lnTo>
                  <a:lnTo>
                    <a:pt x="50" y="3"/>
                  </a:lnTo>
                  <a:lnTo>
                    <a:pt x="40" y="7"/>
                  </a:lnTo>
                  <a:lnTo>
                    <a:pt x="31" y="11"/>
                  </a:lnTo>
                  <a:lnTo>
                    <a:pt x="23" y="16"/>
                  </a:lnTo>
                  <a:lnTo>
                    <a:pt x="15" y="21"/>
                  </a:lnTo>
                  <a:lnTo>
                    <a:pt x="9" y="29"/>
                  </a:lnTo>
                  <a:lnTo>
                    <a:pt x="2" y="37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47" name="Freeform 184"/>
            <p:cNvSpPr>
              <a:spLocks/>
            </p:cNvSpPr>
            <p:nvPr/>
          </p:nvSpPr>
          <p:spPr bwMode="auto">
            <a:xfrm>
              <a:off x="1171575" y="1022350"/>
              <a:ext cx="69850" cy="73025"/>
            </a:xfrm>
            <a:custGeom>
              <a:avLst/>
              <a:gdLst>
                <a:gd name="T0" fmla="*/ 70 w 175"/>
                <a:gd name="T1" fmla="*/ 186 h 186"/>
                <a:gd name="T2" fmla="*/ 47 w 175"/>
                <a:gd name="T3" fmla="*/ 179 h 186"/>
                <a:gd name="T4" fmla="*/ 26 w 175"/>
                <a:gd name="T5" fmla="*/ 168 h 186"/>
                <a:gd name="T6" fmla="*/ 9 w 175"/>
                <a:gd name="T7" fmla="*/ 151 h 186"/>
                <a:gd name="T8" fmla="*/ 0 w 175"/>
                <a:gd name="T9" fmla="*/ 136 h 186"/>
                <a:gd name="T10" fmla="*/ 2 w 175"/>
                <a:gd name="T11" fmla="*/ 127 h 186"/>
                <a:gd name="T12" fmla="*/ 10 w 175"/>
                <a:gd name="T13" fmla="*/ 123 h 186"/>
                <a:gd name="T14" fmla="*/ 20 w 175"/>
                <a:gd name="T15" fmla="*/ 124 h 186"/>
                <a:gd name="T16" fmla="*/ 27 w 175"/>
                <a:gd name="T17" fmla="*/ 136 h 186"/>
                <a:gd name="T18" fmla="*/ 41 w 175"/>
                <a:gd name="T19" fmla="*/ 148 h 186"/>
                <a:gd name="T20" fmla="*/ 55 w 175"/>
                <a:gd name="T21" fmla="*/ 157 h 186"/>
                <a:gd name="T22" fmla="*/ 74 w 175"/>
                <a:gd name="T23" fmla="*/ 162 h 186"/>
                <a:gd name="T24" fmla="*/ 89 w 175"/>
                <a:gd name="T25" fmla="*/ 162 h 186"/>
                <a:gd name="T26" fmla="*/ 102 w 175"/>
                <a:gd name="T27" fmla="*/ 160 h 186"/>
                <a:gd name="T28" fmla="*/ 121 w 175"/>
                <a:gd name="T29" fmla="*/ 151 h 186"/>
                <a:gd name="T30" fmla="*/ 139 w 175"/>
                <a:gd name="T31" fmla="*/ 132 h 186"/>
                <a:gd name="T32" fmla="*/ 147 w 175"/>
                <a:gd name="T33" fmla="*/ 114 h 186"/>
                <a:gd name="T34" fmla="*/ 150 w 175"/>
                <a:gd name="T35" fmla="*/ 100 h 186"/>
                <a:gd name="T36" fmla="*/ 150 w 175"/>
                <a:gd name="T37" fmla="*/ 86 h 186"/>
                <a:gd name="T38" fmla="*/ 147 w 175"/>
                <a:gd name="T39" fmla="*/ 73 h 186"/>
                <a:gd name="T40" fmla="*/ 139 w 175"/>
                <a:gd name="T41" fmla="*/ 56 h 186"/>
                <a:gd name="T42" fmla="*/ 121 w 175"/>
                <a:gd name="T43" fmla="*/ 36 h 186"/>
                <a:gd name="T44" fmla="*/ 102 w 175"/>
                <a:gd name="T45" fmla="*/ 28 h 186"/>
                <a:gd name="T46" fmla="*/ 89 w 175"/>
                <a:gd name="T47" fmla="*/ 25 h 186"/>
                <a:gd name="T48" fmla="*/ 74 w 175"/>
                <a:gd name="T49" fmla="*/ 25 h 186"/>
                <a:gd name="T50" fmla="*/ 58 w 175"/>
                <a:gd name="T51" fmla="*/ 29 h 186"/>
                <a:gd name="T52" fmla="*/ 42 w 175"/>
                <a:gd name="T53" fmla="*/ 37 h 186"/>
                <a:gd name="T54" fmla="*/ 30 w 175"/>
                <a:gd name="T55" fmla="*/ 48 h 186"/>
                <a:gd name="T56" fmla="*/ 22 w 175"/>
                <a:gd name="T57" fmla="*/ 58 h 186"/>
                <a:gd name="T58" fmla="*/ 13 w 175"/>
                <a:gd name="T59" fmla="*/ 61 h 186"/>
                <a:gd name="T60" fmla="*/ 5 w 175"/>
                <a:gd name="T61" fmla="*/ 54 h 186"/>
                <a:gd name="T62" fmla="*/ 4 w 175"/>
                <a:gd name="T63" fmla="*/ 47 h 186"/>
                <a:gd name="T64" fmla="*/ 12 w 175"/>
                <a:gd name="T65" fmla="*/ 33 h 186"/>
                <a:gd name="T66" fmla="*/ 29 w 175"/>
                <a:gd name="T67" fmla="*/ 18 h 186"/>
                <a:gd name="T68" fmla="*/ 49 w 175"/>
                <a:gd name="T69" fmla="*/ 7 h 186"/>
                <a:gd name="T70" fmla="*/ 71 w 175"/>
                <a:gd name="T71" fmla="*/ 2 h 186"/>
                <a:gd name="T72" fmla="*/ 92 w 175"/>
                <a:gd name="T73" fmla="*/ 2 h 186"/>
                <a:gd name="T74" fmla="*/ 109 w 175"/>
                <a:gd name="T75" fmla="*/ 4 h 186"/>
                <a:gd name="T76" fmla="*/ 126 w 175"/>
                <a:gd name="T77" fmla="*/ 12 h 186"/>
                <a:gd name="T78" fmla="*/ 141 w 175"/>
                <a:gd name="T79" fmla="*/ 22 h 186"/>
                <a:gd name="T80" fmla="*/ 154 w 175"/>
                <a:gd name="T81" fmla="*/ 35 h 186"/>
                <a:gd name="T82" fmla="*/ 163 w 175"/>
                <a:gd name="T83" fmla="*/ 49 h 186"/>
                <a:gd name="T84" fmla="*/ 171 w 175"/>
                <a:gd name="T85" fmla="*/ 66 h 186"/>
                <a:gd name="T86" fmla="*/ 175 w 175"/>
                <a:gd name="T87" fmla="*/ 85 h 186"/>
                <a:gd name="T88" fmla="*/ 175 w 175"/>
                <a:gd name="T89" fmla="*/ 103 h 186"/>
                <a:gd name="T90" fmla="*/ 171 w 175"/>
                <a:gd name="T91" fmla="*/ 122 h 186"/>
                <a:gd name="T92" fmla="*/ 163 w 175"/>
                <a:gd name="T93" fmla="*/ 137 h 186"/>
                <a:gd name="T94" fmla="*/ 154 w 175"/>
                <a:gd name="T95" fmla="*/ 153 h 186"/>
                <a:gd name="T96" fmla="*/ 141 w 175"/>
                <a:gd name="T97" fmla="*/ 165 h 186"/>
                <a:gd name="T98" fmla="*/ 126 w 175"/>
                <a:gd name="T99" fmla="*/ 176 h 186"/>
                <a:gd name="T100" fmla="*/ 109 w 175"/>
                <a:gd name="T101" fmla="*/ 182 h 186"/>
                <a:gd name="T102" fmla="*/ 92 w 175"/>
                <a:gd name="T103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5" h="186">
                  <a:moveTo>
                    <a:pt x="83" y="186"/>
                  </a:moveTo>
                  <a:lnTo>
                    <a:pt x="70" y="186"/>
                  </a:lnTo>
                  <a:lnTo>
                    <a:pt x="58" y="183"/>
                  </a:lnTo>
                  <a:lnTo>
                    <a:pt x="47" y="179"/>
                  </a:lnTo>
                  <a:lnTo>
                    <a:pt x="35" y="174"/>
                  </a:lnTo>
                  <a:lnTo>
                    <a:pt x="26" y="168"/>
                  </a:lnTo>
                  <a:lnTo>
                    <a:pt x="17" y="160"/>
                  </a:lnTo>
                  <a:lnTo>
                    <a:pt x="9" y="151"/>
                  </a:lnTo>
                  <a:lnTo>
                    <a:pt x="2" y="140"/>
                  </a:lnTo>
                  <a:lnTo>
                    <a:pt x="0" y="136"/>
                  </a:lnTo>
                  <a:lnTo>
                    <a:pt x="0" y="131"/>
                  </a:lnTo>
                  <a:lnTo>
                    <a:pt x="2" y="127"/>
                  </a:lnTo>
                  <a:lnTo>
                    <a:pt x="6" y="124"/>
                  </a:lnTo>
                  <a:lnTo>
                    <a:pt x="10" y="123"/>
                  </a:lnTo>
                  <a:lnTo>
                    <a:pt x="16" y="123"/>
                  </a:lnTo>
                  <a:lnTo>
                    <a:pt x="20" y="124"/>
                  </a:lnTo>
                  <a:lnTo>
                    <a:pt x="22" y="128"/>
                  </a:lnTo>
                  <a:lnTo>
                    <a:pt x="27" y="136"/>
                  </a:lnTo>
                  <a:lnTo>
                    <a:pt x="34" y="143"/>
                  </a:lnTo>
                  <a:lnTo>
                    <a:pt x="41" y="148"/>
                  </a:lnTo>
                  <a:lnTo>
                    <a:pt x="47" y="153"/>
                  </a:lnTo>
                  <a:lnTo>
                    <a:pt x="55" y="157"/>
                  </a:lnTo>
                  <a:lnTo>
                    <a:pt x="64" y="160"/>
                  </a:lnTo>
                  <a:lnTo>
                    <a:pt x="74" y="162"/>
                  </a:lnTo>
                  <a:lnTo>
                    <a:pt x="83" y="162"/>
                  </a:lnTo>
                  <a:lnTo>
                    <a:pt x="89" y="162"/>
                  </a:lnTo>
                  <a:lnTo>
                    <a:pt x="96" y="161"/>
                  </a:lnTo>
                  <a:lnTo>
                    <a:pt x="102" y="160"/>
                  </a:lnTo>
                  <a:lnTo>
                    <a:pt x="109" y="157"/>
                  </a:lnTo>
                  <a:lnTo>
                    <a:pt x="121" y="151"/>
                  </a:lnTo>
                  <a:lnTo>
                    <a:pt x="130" y="143"/>
                  </a:lnTo>
                  <a:lnTo>
                    <a:pt x="139" y="132"/>
                  </a:lnTo>
                  <a:lnTo>
                    <a:pt x="146" y="120"/>
                  </a:lnTo>
                  <a:lnTo>
                    <a:pt x="147" y="114"/>
                  </a:lnTo>
                  <a:lnTo>
                    <a:pt x="150" y="107"/>
                  </a:lnTo>
                  <a:lnTo>
                    <a:pt x="150" y="100"/>
                  </a:lnTo>
                  <a:lnTo>
                    <a:pt x="151" y="94"/>
                  </a:lnTo>
                  <a:lnTo>
                    <a:pt x="150" y="86"/>
                  </a:lnTo>
                  <a:lnTo>
                    <a:pt x="150" y="79"/>
                  </a:lnTo>
                  <a:lnTo>
                    <a:pt x="147" y="73"/>
                  </a:lnTo>
                  <a:lnTo>
                    <a:pt x="146" y="66"/>
                  </a:lnTo>
                  <a:lnTo>
                    <a:pt x="139" y="56"/>
                  </a:lnTo>
                  <a:lnTo>
                    <a:pt x="130" y="45"/>
                  </a:lnTo>
                  <a:lnTo>
                    <a:pt x="121" y="36"/>
                  </a:lnTo>
                  <a:lnTo>
                    <a:pt x="109" y="31"/>
                  </a:lnTo>
                  <a:lnTo>
                    <a:pt x="102" y="28"/>
                  </a:lnTo>
                  <a:lnTo>
                    <a:pt x="96" y="27"/>
                  </a:lnTo>
                  <a:lnTo>
                    <a:pt x="89" y="25"/>
                  </a:lnTo>
                  <a:lnTo>
                    <a:pt x="83" y="24"/>
                  </a:lnTo>
                  <a:lnTo>
                    <a:pt x="74" y="25"/>
                  </a:lnTo>
                  <a:lnTo>
                    <a:pt x="66" y="27"/>
                  </a:lnTo>
                  <a:lnTo>
                    <a:pt x="58" y="29"/>
                  </a:lnTo>
                  <a:lnTo>
                    <a:pt x="50" y="33"/>
                  </a:lnTo>
                  <a:lnTo>
                    <a:pt x="42" y="37"/>
                  </a:lnTo>
                  <a:lnTo>
                    <a:pt x="35" y="43"/>
                  </a:lnTo>
                  <a:lnTo>
                    <a:pt x="30" y="48"/>
                  </a:lnTo>
                  <a:lnTo>
                    <a:pt x="25" y="56"/>
                  </a:lnTo>
                  <a:lnTo>
                    <a:pt x="22" y="58"/>
                  </a:lnTo>
                  <a:lnTo>
                    <a:pt x="17" y="61"/>
                  </a:lnTo>
                  <a:lnTo>
                    <a:pt x="13" y="61"/>
                  </a:lnTo>
                  <a:lnTo>
                    <a:pt x="9" y="58"/>
                  </a:lnTo>
                  <a:lnTo>
                    <a:pt x="5" y="54"/>
                  </a:lnTo>
                  <a:lnTo>
                    <a:pt x="4" y="50"/>
                  </a:lnTo>
                  <a:lnTo>
                    <a:pt x="4" y="47"/>
                  </a:lnTo>
                  <a:lnTo>
                    <a:pt x="5" y="41"/>
                  </a:lnTo>
                  <a:lnTo>
                    <a:pt x="12" y="33"/>
                  </a:lnTo>
                  <a:lnTo>
                    <a:pt x="20" y="24"/>
                  </a:lnTo>
                  <a:lnTo>
                    <a:pt x="29" y="18"/>
                  </a:lnTo>
                  <a:lnTo>
                    <a:pt x="38" y="12"/>
                  </a:lnTo>
                  <a:lnTo>
                    <a:pt x="49" y="7"/>
                  </a:lnTo>
                  <a:lnTo>
                    <a:pt x="59" y="3"/>
                  </a:lnTo>
                  <a:lnTo>
                    <a:pt x="71" y="2"/>
                  </a:lnTo>
                  <a:lnTo>
                    <a:pt x="83" y="0"/>
                  </a:lnTo>
                  <a:lnTo>
                    <a:pt x="92" y="2"/>
                  </a:lnTo>
                  <a:lnTo>
                    <a:pt x="101" y="3"/>
                  </a:lnTo>
                  <a:lnTo>
                    <a:pt x="109" y="4"/>
                  </a:lnTo>
                  <a:lnTo>
                    <a:pt x="118" y="8"/>
                  </a:lnTo>
                  <a:lnTo>
                    <a:pt x="126" y="12"/>
                  </a:lnTo>
                  <a:lnTo>
                    <a:pt x="134" y="16"/>
                  </a:lnTo>
                  <a:lnTo>
                    <a:pt x="141" y="22"/>
                  </a:lnTo>
                  <a:lnTo>
                    <a:pt x="147" y="28"/>
                  </a:lnTo>
                  <a:lnTo>
                    <a:pt x="154" y="35"/>
                  </a:lnTo>
                  <a:lnTo>
                    <a:pt x="159" y="41"/>
                  </a:lnTo>
                  <a:lnTo>
                    <a:pt x="163" y="49"/>
                  </a:lnTo>
                  <a:lnTo>
                    <a:pt x="167" y="57"/>
                  </a:lnTo>
                  <a:lnTo>
                    <a:pt x="171" y="66"/>
                  </a:lnTo>
                  <a:lnTo>
                    <a:pt x="172" y="75"/>
                  </a:lnTo>
                  <a:lnTo>
                    <a:pt x="175" y="85"/>
                  </a:lnTo>
                  <a:lnTo>
                    <a:pt x="175" y="94"/>
                  </a:lnTo>
                  <a:lnTo>
                    <a:pt x="175" y="103"/>
                  </a:lnTo>
                  <a:lnTo>
                    <a:pt x="172" y="112"/>
                  </a:lnTo>
                  <a:lnTo>
                    <a:pt x="171" y="122"/>
                  </a:lnTo>
                  <a:lnTo>
                    <a:pt x="167" y="129"/>
                  </a:lnTo>
                  <a:lnTo>
                    <a:pt x="163" y="137"/>
                  </a:lnTo>
                  <a:lnTo>
                    <a:pt x="159" y="145"/>
                  </a:lnTo>
                  <a:lnTo>
                    <a:pt x="154" y="153"/>
                  </a:lnTo>
                  <a:lnTo>
                    <a:pt x="147" y="160"/>
                  </a:lnTo>
                  <a:lnTo>
                    <a:pt x="141" y="165"/>
                  </a:lnTo>
                  <a:lnTo>
                    <a:pt x="134" y="170"/>
                  </a:lnTo>
                  <a:lnTo>
                    <a:pt x="126" y="176"/>
                  </a:lnTo>
                  <a:lnTo>
                    <a:pt x="118" y="179"/>
                  </a:lnTo>
                  <a:lnTo>
                    <a:pt x="109" y="182"/>
                  </a:lnTo>
                  <a:lnTo>
                    <a:pt x="101" y="185"/>
                  </a:lnTo>
                  <a:lnTo>
                    <a:pt x="92" y="186"/>
                  </a:lnTo>
                  <a:lnTo>
                    <a:pt x="83" y="18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48" name="Freeform 185"/>
            <p:cNvSpPr>
              <a:spLocks/>
            </p:cNvSpPr>
            <p:nvPr/>
          </p:nvSpPr>
          <p:spPr bwMode="auto">
            <a:xfrm>
              <a:off x="1108075" y="1044575"/>
              <a:ext cx="98425" cy="26988"/>
            </a:xfrm>
            <a:custGeom>
              <a:avLst/>
              <a:gdLst>
                <a:gd name="T0" fmla="*/ 213 w 247"/>
                <a:gd name="T1" fmla="*/ 67 h 67"/>
                <a:gd name="T2" fmla="*/ 34 w 247"/>
                <a:gd name="T3" fmla="*/ 67 h 67"/>
                <a:gd name="T4" fmla="*/ 27 w 247"/>
                <a:gd name="T5" fmla="*/ 67 h 67"/>
                <a:gd name="T6" fmla="*/ 21 w 247"/>
                <a:gd name="T7" fmla="*/ 64 h 67"/>
                <a:gd name="T8" fmla="*/ 15 w 247"/>
                <a:gd name="T9" fmla="*/ 62 h 67"/>
                <a:gd name="T10" fmla="*/ 10 w 247"/>
                <a:gd name="T11" fmla="*/ 58 h 67"/>
                <a:gd name="T12" fmla="*/ 6 w 247"/>
                <a:gd name="T13" fmla="*/ 52 h 67"/>
                <a:gd name="T14" fmla="*/ 2 w 247"/>
                <a:gd name="T15" fmla="*/ 47 h 67"/>
                <a:gd name="T16" fmla="*/ 1 w 247"/>
                <a:gd name="T17" fmla="*/ 40 h 67"/>
                <a:gd name="T18" fmla="*/ 0 w 247"/>
                <a:gd name="T19" fmla="*/ 34 h 67"/>
                <a:gd name="T20" fmla="*/ 0 w 247"/>
                <a:gd name="T21" fmla="*/ 34 h 67"/>
                <a:gd name="T22" fmla="*/ 1 w 247"/>
                <a:gd name="T23" fmla="*/ 27 h 67"/>
                <a:gd name="T24" fmla="*/ 2 w 247"/>
                <a:gd name="T25" fmla="*/ 21 h 67"/>
                <a:gd name="T26" fmla="*/ 6 w 247"/>
                <a:gd name="T27" fmla="*/ 15 h 67"/>
                <a:gd name="T28" fmla="*/ 10 w 247"/>
                <a:gd name="T29" fmla="*/ 10 h 67"/>
                <a:gd name="T30" fmla="*/ 15 w 247"/>
                <a:gd name="T31" fmla="*/ 6 h 67"/>
                <a:gd name="T32" fmla="*/ 21 w 247"/>
                <a:gd name="T33" fmla="*/ 2 h 67"/>
                <a:gd name="T34" fmla="*/ 27 w 247"/>
                <a:gd name="T35" fmla="*/ 1 h 67"/>
                <a:gd name="T36" fmla="*/ 34 w 247"/>
                <a:gd name="T37" fmla="*/ 0 h 67"/>
                <a:gd name="T38" fmla="*/ 213 w 247"/>
                <a:gd name="T39" fmla="*/ 0 h 67"/>
                <a:gd name="T40" fmla="*/ 219 w 247"/>
                <a:gd name="T41" fmla="*/ 1 h 67"/>
                <a:gd name="T42" fmla="*/ 226 w 247"/>
                <a:gd name="T43" fmla="*/ 2 h 67"/>
                <a:gd name="T44" fmla="*/ 231 w 247"/>
                <a:gd name="T45" fmla="*/ 6 h 67"/>
                <a:gd name="T46" fmla="*/ 236 w 247"/>
                <a:gd name="T47" fmla="*/ 10 h 67"/>
                <a:gd name="T48" fmla="*/ 240 w 247"/>
                <a:gd name="T49" fmla="*/ 15 h 67"/>
                <a:gd name="T50" fmla="*/ 244 w 247"/>
                <a:gd name="T51" fmla="*/ 21 h 67"/>
                <a:gd name="T52" fmla="*/ 246 w 247"/>
                <a:gd name="T53" fmla="*/ 27 h 67"/>
                <a:gd name="T54" fmla="*/ 247 w 247"/>
                <a:gd name="T55" fmla="*/ 34 h 67"/>
                <a:gd name="T56" fmla="*/ 247 w 247"/>
                <a:gd name="T57" fmla="*/ 34 h 67"/>
                <a:gd name="T58" fmla="*/ 246 w 247"/>
                <a:gd name="T59" fmla="*/ 40 h 67"/>
                <a:gd name="T60" fmla="*/ 244 w 247"/>
                <a:gd name="T61" fmla="*/ 47 h 67"/>
                <a:gd name="T62" fmla="*/ 240 w 247"/>
                <a:gd name="T63" fmla="*/ 52 h 67"/>
                <a:gd name="T64" fmla="*/ 236 w 247"/>
                <a:gd name="T65" fmla="*/ 58 h 67"/>
                <a:gd name="T66" fmla="*/ 231 w 247"/>
                <a:gd name="T67" fmla="*/ 62 h 67"/>
                <a:gd name="T68" fmla="*/ 226 w 247"/>
                <a:gd name="T69" fmla="*/ 64 h 67"/>
                <a:gd name="T70" fmla="*/ 219 w 247"/>
                <a:gd name="T71" fmla="*/ 67 h 67"/>
                <a:gd name="T72" fmla="*/ 213 w 247"/>
                <a:gd name="T7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7" h="67">
                  <a:moveTo>
                    <a:pt x="213" y="67"/>
                  </a:moveTo>
                  <a:lnTo>
                    <a:pt x="34" y="67"/>
                  </a:lnTo>
                  <a:lnTo>
                    <a:pt x="27" y="67"/>
                  </a:lnTo>
                  <a:lnTo>
                    <a:pt x="21" y="64"/>
                  </a:lnTo>
                  <a:lnTo>
                    <a:pt x="15" y="62"/>
                  </a:lnTo>
                  <a:lnTo>
                    <a:pt x="10" y="58"/>
                  </a:lnTo>
                  <a:lnTo>
                    <a:pt x="6" y="52"/>
                  </a:lnTo>
                  <a:lnTo>
                    <a:pt x="2" y="47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27"/>
                  </a:lnTo>
                  <a:lnTo>
                    <a:pt x="2" y="21"/>
                  </a:lnTo>
                  <a:lnTo>
                    <a:pt x="6" y="15"/>
                  </a:lnTo>
                  <a:lnTo>
                    <a:pt x="10" y="10"/>
                  </a:lnTo>
                  <a:lnTo>
                    <a:pt x="15" y="6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213" y="0"/>
                  </a:lnTo>
                  <a:lnTo>
                    <a:pt x="219" y="1"/>
                  </a:lnTo>
                  <a:lnTo>
                    <a:pt x="226" y="2"/>
                  </a:lnTo>
                  <a:lnTo>
                    <a:pt x="231" y="6"/>
                  </a:lnTo>
                  <a:lnTo>
                    <a:pt x="236" y="10"/>
                  </a:lnTo>
                  <a:lnTo>
                    <a:pt x="240" y="15"/>
                  </a:lnTo>
                  <a:lnTo>
                    <a:pt x="244" y="21"/>
                  </a:lnTo>
                  <a:lnTo>
                    <a:pt x="246" y="27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6" y="40"/>
                  </a:lnTo>
                  <a:lnTo>
                    <a:pt x="244" y="47"/>
                  </a:lnTo>
                  <a:lnTo>
                    <a:pt x="240" y="52"/>
                  </a:lnTo>
                  <a:lnTo>
                    <a:pt x="236" y="58"/>
                  </a:lnTo>
                  <a:lnTo>
                    <a:pt x="231" y="62"/>
                  </a:lnTo>
                  <a:lnTo>
                    <a:pt x="226" y="64"/>
                  </a:lnTo>
                  <a:lnTo>
                    <a:pt x="219" y="67"/>
                  </a:lnTo>
                  <a:lnTo>
                    <a:pt x="213" y="67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49" name="Freeform 186"/>
            <p:cNvSpPr>
              <a:spLocks noEditPoints="1"/>
            </p:cNvSpPr>
            <p:nvPr/>
          </p:nvSpPr>
          <p:spPr bwMode="auto">
            <a:xfrm>
              <a:off x="1103313" y="1039813"/>
              <a:ext cx="107950" cy="36513"/>
            </a:xfrm>
            <a:custGeom>
              <a:avLst/>
              <a:gdLst>
                <a:gd name="T0" fmla="*/ 41 w 271"/>
                <a:gd name="T1" fmla="*/ 25 h 91"/>
                <a:gd name="T2" fmla="*/ 34 w 271"/>
                <a:gd name="T3" fmla="*/ 27 h 91"/>
                <a:gd name="T4" fmla="*/ 27 w 271"/>
                <a:gd name="T5" fmla="*/ 34 h 91"/>
                <a:gd name="T6" fmla="*/ 25 w 271"/>
                <a:gd name="T7" fmla="*/ 41 h 91"/>
                <a:gd name="T8" fmla="*/ 25 w 271"/>
                <a:gd name="T9" fmla="*/ 50 h 91"/>
                <a:gd name="T10" fmla="*/ 27 w 271"/>
                <a:gd name="T11" fmla="*/ 58 h 91"/>
                <a:gd name="T12" fmla="*/ 34 w 271"/>
                <a:gd name="T13" fmla="*/ 64 h 91"/>
                <a:gd name="T14" fmla="*/ 41 w 271"/>
                <a:gd name="T15" fmla="*/ 67 h 91"/>
                <a:gd name="T16" fmla="*/ 225 w 271"/>
                <a:gd name="T17" fmla="*/ 67 h 91"/>
                <a:gd name="T18" fmla="*/ 233 w 271"/>
                <a:gd name="T19" fmla="*/ 66 h 91"/>
                <a:gd name="T20" fmla="*/ 241 w 271"/>
                <a:gd name="T21" fmla="*/ 60 h 91"/>
                <a:gd name="T22" fmla="*/ 245 w 271"/>
                <a:gd name="T23" fmla="*/ 54 h 91"/>
                <a:gd name="T24" fmla="*/ 246 w 271"/>
                <a:gd name="T25" fmla="*/ 46 h 91"/>
                <a:gd name="T26" fmla="*/ 245 w 271"/>
                <a:gd name="T27" fmla="*/ 37 h 91"/>
                <a:gd name="T28" fmla="*/ 241 w 271"/>
                <a:gd name="T29" fmla="*/ 30 h 91"/>
                <a:gd name="T30" fmla="*/ 233 w 271"/>
                <a:gd name="T31" fmla="*/ 26 h 91"/>
                <a:gd name="T32" fmla="*/ 225 w 271"/>
                <a:gd name="T33" fmla="*/ 24 h 91"/>
                <a:gd name="T34" fmla="*/ 225 w 271"/>
                <a:gd name="T35" fmla="*/ 91 h 91"/>
                <a:gd name="T36" fmla="*/ 37 w 271"/>
                <a:gd name="T37" fmla="*/ 91 h 91"/>
                <a:gd name="T38" fmla="*/ 20 w 271"/>
                <a:gd name="T39" fmla="*/ 84 h 91"/>
                <a:gd name="T40" fmla="*/ 8 w 271"/>
                <a:gd name="T41" fmla="*/ 71 h 91"/>
                <a:gd name="T42" fmla="*/ 1 w 271"/>
                <a:gd name="T43" fmla="*/ 55 h 91"/>
                <a:gd name="T44" fmla="*/ 1 w 271"/>
                <a:gd name="T45" fmla="*/ 37 h 91"/>
                <a:gd name="T46" fmla="*/ 8 w 271"/>
                <a:gd name="T47" fmla="*/ 20 h 91"/>
                <a:gd name="T48" fmla="*/ 20 w 271"/>
                <a:gd name="T49" fmla="*/ 8 h 91"/>
                <a:gd name="T50" fmla="*/ 37 w 271"/>
                <a:gd name="T51" fmla="*/ 1 h 91"/>
                <a:gd name="T52" fmla="*/ 225 w 271"/>
                <a:gd name="T53" fmla="*/ 0 h 91"/>
                <a:gd name="T54" fmla="*/ 243 w 271"/>
                <a:gd name="T55" fmla="*/ 4 h 91"/>
                <a:gd name="T56" fmla="*/ 258 w 271"/>
                <a:gd name="T57" fmla="*/ 13 h 91"/>
                <a:gd name="T58" fmla="*/ 267 w 271"/>
                <a:gd name="T59" fmla="*/ 27 h 91"/>
                <a:gd name="T60" fmla="*/ 271 w 271"/>
                <a:gd name="T61" fmla="*/ 46 h 91"/>
                <a:gd name="T62" fmla="*/ 267 w 271"/>
                <a:gd name="T63" fmla="*/ 63 h 91"/>
                <a:gd name="T64" fmla="*/ 258 w 271"/>
                <a:gd name="T65" fmla="*/ 77 h 91"/>
                <a:gd name="T66" fmla="*/ 243 w 271"/>
                <a:gd name="T67" fmla="*/ 88 h 91"/>
                <a:gd name="T68" fmla="*/ 225 w 271"/>
                <a:gd name="T6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1" h="91">
                  <a:moveTo>
                    <a:pt x="46" y="24"/>
                  </a:moveTo>
                  <a:lnTo>
                    <a:pt x="41" y="25"/>
                  </a:lnTo>
                  <a:lnTo>
                    <a:pt x="37" y="26"/>
                  </a:lnTo>
                  <a:lnTo>
                    <a:pt x="34" y="27"/>
                  </a:lnTo>
                  <a:lnTo>
                    <a:pt x="30" y="30"/>
                  </a:lnTo>
                  <a:lnTo>
                    <a:pt x="27" y="34"/>
                  </a:lnTo>
                  <a:lnTo>
                    <a:pt x="26" y="37"/>
                  </a:lnTo>
                  <a:lnTo>
                    <a:pt x="25" y="41"/>
                  </a:lnTo>
                  <a:lnTo>
                    <a:pt x="23" y="46"/>
                  </a:lnTo>
                  <a:lnTo>
                    <a:pt x="25" y="50"/>
                  </a:lnTo>
                  <a:lnTo>
                    <a:pt x="26" y="54"/>
                  </a:lnTo>
                  <a:lnTo>
                    <a:pt x="27" y="58"/>
                  </a:lnTo>
                  <a:lnTo>
                    <a:pt x="30" y="60"/>
                  </a:lnTo>
                  <a:lnTo>
                    <a:pt x="34" y="64"/>
                  </a:lnTo>
                  <a:lnTo>
                    <a:pt x="37" y="66"/>
                  </a:lnTo>
                  <a:lnTo>
                    <a:pt x="41" y="67"/>
                  </a:lnTo>
                  <a:lnTo>
                    <a:pt x="46" y="67"/>
                  </a:lnTo>
                  <a:lnTo>
                    <a:pt x="225" y="67"/>
                  </a:lnTo>
                  <a:lnTo>
                    <a:pt x="229" y="67"/>
                  </a:lnTo>
                  <a:lnTo>
                    <a:pt x="233" y="66"/>
                  </a:lnTo>
                  <a:lnTo>
                    <a:pt x="237" y="64"/>
                  </a:lnTo>
                  <a:lnTo>
                    <a:pt x="241" y="60"/>
                  </a:lnTo>
                  <a:lnTo>
                    <a:pt x="243" y="58"/>
                  </a:lnTo>
                  <a:lnTo>
                    <a:pt x="245" y="54"/>
                  </a:lnTo>
                  <a:lnTo>
                    <a:pt x="246" y="50"/>
                  </a:lnTo>
                  <a:lnTo>
                    <a:pt x="246" y="46"/>
                  </a:lnTo>
                  <a:lnTo>
                    <a:pt x="246" y="41"/>
                  </a:lnTo>
                  <a:lnTo>
                    <a:pt x="245" y="37"/>
                  </a:lnTo>
                  <a:lnTo>
                    <a:pt x="243" y="34"/>
                  </a:lnTo>
                  <a:lnTo>
                    <a:pt x="241" y="30"/>
                  </a:lnTo>
                  <a:lnTo>
                    <a:pt x="237" y="27"/>
                  </a:lnTo>
                  <a:lnTo>
                    <a:pt x="233" y="26"/>
                  </a:lnTo>
                  <a:lnTo>
                    <a:pt x="229" y="25"/>
                  </a:lnTo>
                  <a:lnTo>
                    <a:pt x="225" y="24"/>
                  </a:lnTo>
                  <a:lnTo>
                    <a:pt x="46" y="24"/>
                  </a:lnTo>
                  <a:close/>
                  <a:moveTo>
                    <a:pt x="225" y="91"/>
                  </a:moveTo>
                  <a:lnTo>
                    <a:pt x="46" y="91"/>
                  </a:lnTo>
                  <a:lnTo>
                    <a:pt x="37" y="91"/>
                  </a:lnTo>
                  <a:lnTo>
                    <a:pt x="27" y="88"/>
                  </a:lnTo>
                  <a:lnTo>
                    <a:pt x="20" y="84"/>
                  </a:lnTo>
                  <a:lnTo>
                    <a:pt x="13" y="77"/>
                  </a:lnTo>
                  <a:lnTo>
                    <a:pt x="8" y="71"/>
                  </a:lnTo>
                  <a:lnTo>
                    <a:pt x="4" y="63"/>
                  </a:lnTo>
                  <a:lnTo>
                    <a:pt x="1" y="55"/>
                  </a:lnTo>
                  <a:lnTo>
                    <a:pt x="0" y="46"/>
                  </a:lnTo>
                  <a:lnTo>
                    <a:pt x="1" y="37"/>
                  </a:lnTo>
                  <a:lnTo>
                    <a:pt x="4" y="27"/>
                  </a:lnTo>
                  <a:lnTo>
                    <a:pt x="8" y="20"/>
                  </a:lnTo>
                  <a:lnTo>
                    <a:pt x="13" y="13"/>
                  </a:lnTo>
                  <a:lnTo>
                    <a:pt x="20" y="8"/>
                  </a:lnTo>
                  <a:lnTo>
                    <a:pt x="27" y="4"/>
                  </a:lnTo>
                  <a:lnTo>
                    <a:pt x="37" y="1"/>
                  </a:lnTo>
                  <a:lnTo>
                    <a:pt x="46" y="0"/>
                  </a:lnTo>
                  <a:lnTo>
                    <a:pt x="225" y="0"/>
                  </a:lnTo>
                  <a:lnTo>
                    <a:pt x="234" y="1"/>
                  </a:lnTo>
                  <a:lnTo>
                    <a:pt x="243" y="4"/>
                  </a:lnTo>
                  <a:lnTo>
                    <a:pt x="250" y="8"/>
                  </a:lnTo>
                  <a:lnTo>
                    <a:pt x="258" y="13"/>
                  </a:lnTo>
                  <a:lnTo>
                    <a:pt x="263" y="20"/>
                  </a:lnTo>
                  <a:lnTo>
                    <a:pt x="267" y="27"/>
                  </a:lnTo>
                  <a:lnTo>
                    <a:pt x="270" y="37"/>
                  </a:lnTo>
                  <a:lnTo>
                    <a:pt x="271" y="46"/>
                  </a:lnTo>
                  <a:lnTo>
                    <a:pt x="270" y="55"/>
                  </a:lnTo>
                  <a:lnTo>
                    <a:pt x="267" y="63"/>
                  </a:lnTo>
                  <a:lnTo>
                    <a:pt x="263" y="71"/>
                  </a:lnTo>
                  <a:lnTo>
                    <a:pt x="258" y="77"/>
                  </a:lnTo>
                  <a:lnTo>
                    <a:pt x="250" y="84"/>
                  </a:lnTo>
                  <a:lnTo>
                    <a:pt x="243" y="88"/>
                  </a:lnTo>
                  <a:lnTo>
                    <a:pt x="234" y="91"/>
                  </a:lnTo>
                  <a:lnTo>
                    <a:pt x="225" y="9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50" name="Rectangle 187"/>
            <p:cNvSpPr>
              <a:spLocks noChangeArrowheads="1"/>
            </p:cNvSpPr>
            <p:nvPr/>
          </p:nvSpPr>
          <p:spPr bwMode="auto">
            <a:xfrm>
              <a:off x="547688" y="996950"/>
              <a:ext cx="706438" cy="30163"/>
            </a:xfrm>
            <a:prstGeom prst="rect">
              <a:avLst/>
            </a:pr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151" name="Freeform 188"/>
            <p:cNvSpPr>
              <a:spLocks noEditPoints="1"/>
            </p:cNvSpPr>
            <p:nvPr/>
          </p:nvSpPr>
          <p:spPr bwMode="auto">
            <a:xfrm>
              <a:off x="542925" y="992188"/>
              <a:ext cx="715963" cy="39688"/>
            </a:xfrm>
            <a:custGeom>
              <a:avLst/>
              <a:gdLst>
                <a:gd name="T0" fmla="*/ 25 w 1803"/>
                <a:gd name="T1" fmla="*/ 73 h 97"/>
                <a:gd name="T2" fmla="*/ 1779 w 1803"/>
                <a:gd name="T3" fmla="*/ 73 h 97"/>
                <a:gd name="T4" fmla="*/ 1779 w 1803"/>
                <a:gd name="T5" fmla="*/ 23 h 97"/>
                <a:gd name="T6" fmla="*/ 25 w 1803"/>
                <a:gd name="T7" fmla="*/ 23 h 97"/>
                <a:gd name="T8" fmla="*/ 25 w 1803"/>
                <a:gd name="T9" fmla="*/ 73 h 97"/>
                <a:gd name="T10" fmla="*/ 1791 w 1803"/>
                <a:gd name="T11" fmla="*/ 97 h 97"/>
                <a:gd name="T12" fmla="*/ 12 w 1803"/>
                <a:gd name="T13" fmla="*/ 97 h 97"/>
                <a:gd name="T14" fmla="*/ 8 w 1803"/>
                <a:gd name="T15" fmla="*/ 97 h 97"/>
                <a:gd name="T16" fmla="*/ 4 w 1803"/>
                <a:gd name="T17" fmla="*/ 95 h 97"/>
                <a:gd name="T18" fmla="*/ 1 w 1803"/>
                <a:gd name="T19" fmla="*/ 91 h 97"/>
                <a:gd name="T20" fmla="*/ 0 w 1803"/>
                <a:gd name="T21" fmla="*/ 87 h 97"/>
                <a:gd name="T22" fmla="*/ 0 w 1803"/>
                <a:gd name="T23" fmla="*/ 12 h 97"/>
                <a:gd name="T24" fmla="*/ 1 w 1803"/>
                <a:gd name="T25" fmla="*/ 8 h 97"/>
                <a:gd name="T26" fmla="*/ 4 w 1803"/>
                <a:gd name="T27" fmla="*/ 4 h 97"/>
                <a:gd name="T28" fmla="*/ 8 w 1803"/>
                <a:gd name="T29" fmla="*/ 1 h 97"/>
                <a:gd name="T30" fmla="*/ 12 w 1803"/>
                <a:gd name="T31" fmla="*/ 0 h 97"/>
                <a:gd name="T32" fmla="*/ 1791 w 1803"/>
                <a:gd name="T33" fmla="*/ 0 h 97"/>
                <a:gd name="T34" fmla="*/ 1795 w 1803"/>
                <a:gd name="T35" fmla="*/ 1 h 97"/>
                <a:gd name="T36" fmla="*/ 1799 w 1803"/>
                <a:gd name="T37" fmla="*/ 4 h 97"/>
                <a:gd name="T38" fmla="*/ 1801 w 1803"/>
                <a:gd name="T39" fmla="*/ 8 h 97"/>
                <a:gd name="T40" fmla="*/ 1803 w 1803"/>
                <a:gd name="T41" fmla="*/ 12 h 97"/>
                <a:gd name="T42" fmla="*/ 1803 w 1803"/>
                <a:gd name="T43" fmla="*/ 87 h 97"/>
                <a:gd name="T44" fmla="*/ 1801 w 1803"/>
                <a:gd name="T45" fmla="*/ 91 h 97"/>
                <a:gd name="T46" fmla="*/ 1799 w 1803"/>
                <a:gd name="T47" fmla="*/ 95 h 97"/>
                <a:gd name="T48" fmla="*/ 1795 w 1803"/>
                <a:gd name="T49" fmla="*/ 97 h 97"/>
                <a:gd name="T50" fmla="*/ 1791 w 1803"/>
                <a:gd name="T51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03" h="97">
                  <a:moveTo>
                    <a:pt x="25" y="73"/>
                  </a:moveTo>
                  <a:lnTo>
                    <a:pt x="1779" y="73"/>
                  </a:lnTo>
                  <a:lnTo>
                    <a:pt x="1779" y="23"/>
                  </a:lnTo>
                  <a:lnTo>
                    <a:pt x="25" y="23"/>
                  </a:lnTo>
                  <a:lnTo>
                    <a:pt x="25" y="73"/>
                  </a:lnTo>
                  <a:close/>
                  <a:moveTo>
                    <a:pt x="1791" y="97"/>
                  </a:moveTo>
                  <a:lnTo>
                    <a:pt x="12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1" y="91"/>
                  </a:lnTo>
                  <a:lnTo>
                    <a:pt x="0" y="87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791" y="0"/>
                  </a:lnTo>
                  <a:lnTo>
                    <a:pt x="1795" y="1"/>
                  </a:lnTo>
                  <a:lnTo>
                    <a:pt x="1799" y="4"/>
                  </a:lnTo>
                  <a:lnTo>
                    <a:pt x="1801" y="8"/>
                  </a:lnTo>
                  <a:lnTo>
                    <a:pt x="1803" y="12"/>
                  </a:lnTo>
                  <a:lnTo>
                    <a:pt x="1803" y="87"/>
                  </a:lnTo>
                  <a:lnTo>
                    <a:pt x="1801" y="91"/>
                  </a:lnTo>
                  <a:lnTo>
                    <a:pt x="1799" y="95"/>
                  </a:lnTo>
                  <a:lnTo>
                    <a:pt x="1795" y="97"/>
                  </a:lnTo>
                  <a:lnTo>
                    <a:pt x="1791" y="97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333" name="Прямоугольник 332"/>
          <p:cNvSpPr/>
          <p:nvPr/>
        </p:nvSpPr>
        <p:spPr>
          <a:xfrm>
            <a:off x="2073214" y="4443958"/>
            <a:ext cx="1361168" cy="10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900" b="1" i="1" dirty="0" smtClean="0">
                <a:solidFill>
                  <a:schemeClr val="bg1">
                    <a:lumMod val="50000"/>
                  </a:schemeClr>
                </a:solidFill>
              </a:rPr>
              <a:t>Коммерческий учет</a:t>
            </a:r>
            <a:endParaRPr lang="ru-RU" sz="900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4" name="Овал 333"/>
          <p:cNvSpPr/>
          <p:nvPr/>
        </p:nvSpPr>
        <p:spPr>
          <a:xfrm>
            <a:off x="2615062" y="1803353"/>
            <a:ext cx="81009" cy="810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grpSp>
        <p:nvGrpSpPr>
          <p:cNvPr id="359" name="knot_z"/>
          <p:cNvGrpSpPr>
            <a:grpSpLocks noChangeAspect="1"/>
          </p:cNvGrpSpPr>
          <p:nvPr/>
        </p:nvGrpSpPr>
        <p:grpSpPr>
          <a:xfrm>
            <a:off x="2534644" y="1962838"/>
            <a:ext cx="231295" cy="184435"/>
            <a:chOff x="5645151" y="4616451"/>
            <a:chExt cx="854075" cy="681038"/>
          </a:xfrm>
        </p:grpSpPr>
        <p:sp>
          <p:nvSpPr>
            <p:cNvPr id="360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61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62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63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64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65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66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67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68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69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0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1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2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3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4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5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6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7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8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79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380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430" name="sur_2_z"/>
          <p:cNvGrpSpPr>
            <a:grpSpLocks noChangeAspect="1"/>
          </p:cNvGrpSpPr>
          <p:nvPr/>
        </p:nvGrpSpPr>
        <p:grpSpPr>
          <a:xfrm>
            <a:off x="2598866" y="3219822"/>
            <a:ext cx="110660" cy="252445"/>
            <a:chOff x="3252788" y="5476875"/>
            <a:chExt cx="304800" cy="695325"/>
          </a:xfrm>
        </p:grpSpPr>
        <p:sp>
          <p:nvSpPr>
            <p:cNvPr id="431" name="Freeform 262"/>
            <p:cNvSpPr>
              <a:spLocks/>
            </p:cNvSpPr>
            <p:nvPr/>
          </p:nvSpPr>
          <p:spPr bwMode="auto">
            <a:xfrm>
              <a:off x="3257550" y="5632450"/>
              <a:ext cx="293688" cy="190500"/>
            </a:xfrm>
            <a:custGeom>
              <a:avLst/>
              <a:gdLst>
                <a:gd name="T0" fmla="*/ 624 w 741"/>
                <a:gd name="T1" fmla="*/ 70 h 479"/>
                <a:gd name="T2" fmla="*/ 624 w 741"/>
                <a:gd name="T3" fmla="*/ 70 h 479"/>
                <a:gd name="T4" fmla="*/ 613 w 741"/>
                <a:gd name="T5" fmla="*/ 60 h 479"/>
                <a:gd name="T6" fmla="*/ 601 w 741"/>
                <a:gd name="T7" fmla="*/ 51 h 479"/>
                <a:gd name="T8" fmla="*/ 588 w 741"/>
                <a:gd name="T9" fmla="*/ 43 h 479"/>
                <a:gd name="T10" fmla="*/ 573 w 741"/>
                <a:gd name="T11" fmla="*/ 36 h 479"/>
                <a:gd name="T12" fmla="*/ 558 w 741"/>
                <a:gd name="T13" fmla="*/ 29 h 479"/>
                <a:gd name="T14" fmla="*/ 544 w 741"/>
                <a:gd name="T15" fmla="*/ 24 h 479"/>
                <a:gd name="T16" fmla="*/ 529 w 741"/>
                <a:gd name="T17" fmla="*/ 19 h 479"/>
                <a:gd name="T18" fmla="*/ 515 w 741"/>
                <a:gd name="T19" fmla="*/ 14 h 479"/>
                <a:gd name="T20" fmla="*/ 468 w 741"/>
                <a:gd name="T21" fmla="*/ 3 h 479"/>
                <a:gd name="T22" fmla="*/ 447 w 741"/>
                <a:gd name="T23" fmla="*/ 0 h 479"/>
                <a:gd name="T24" fmla="*/ 370 w 741"/>
                <a:gd name="T25" fmla="*/ 95 h 479"/>
                <a:gd name="T26" fmla="*/ 287 w 741"/>
                <a:gd name="T27" fmla="*/ 0 h 479"/>
                <a:gd name="T28" fmla="*/ 267 w 741"/>
                <a:gd name="T29" fmla="*/ 4 h 479"/>
                <a:gd name="T30" fmla="*/ 219 w 741"/>
                <a:gd name="T31" fmla="*/ 16 h 479"/>
                <a:gd name="T32" fmla="*/ 205 w 741"/>
                <a:gd name="T33" fmla="*/ 20 h 479"/>
                <a:gd name="T34" fmla="*/ 191 w 741"/>
                <a:gd name="T35" fmla="*/ 25 h 479"/>
                <a:gd name="T36" fmla="*/ 177 w 741"/>
                <a:gd name="T37" fmla="*/ 31 h 479"/>
                <a:gd name="T38" fmla="*/ 163 w 741"/>
                <a:gd name="T39" fmla="*/ 37 h 479"/>
                <a:gd name="T40" fmla="*/ 149 w 741"/>
                <a:gd name="T41" fmla="*/ 44 h 479"/>
                <a:gd name="T42" fmla="*/ 137 w 741"/>
                <a:gd name="T43" fmla="*/ 52 h 479"/>
                <a:gd name="T44" fmla="*/ 126 w 741"/>
                <a:gd name="T45" fmla="*/ 60 h 479"/>
                <a:gd name="T46" fmla="*/ 116 w 741"/>
                <a:gd name="T47" fmla="*/ 70 h 479"/>
                <a:gd name="T48" fmla="*/ 112 w 741"/>
                <a:gd name="T49" fmla="*/ 76 h 479"/>
                <a:gd name="T50" fmla="*/ 103 w 741"/>
                <a:gd name="T51" fmla="*/ 95 h 479"/>
                <a:gd name="T52" fmla="*/ 88 w 741"/>
                <a:gd name="T53" fmla="*/ 123 h 479"/>
                <a:gd name="T54" fmla="*/ 69 w 741"/>
                <a:gd name="T55" fmla="*/ 162 h 479"/>
                <a:gd name="T56" fmla="*/ 60 w 741"/>
                <a:gd name="T57" fmla="*/ 185 h 479"/>
                <a:gd name="T58" fmla="*/ 50 w 741"/>
                <a:gd name="T59" fmla="*/ 210 h 479"/>
                <a:gd name="T60" fmla="*/ 40 w 741"/>
                <a:gd name="T61" fmla="*/ 238 h 479"/>
                <a:gd name="T62" fmla="*/ 31 w 741"/>
                <a:gd name="T63" fmla="*/ 266 h 479"/>
                <a:gd name="T64" fmla="*/ 22 w 741"/>
                <a:gd name="T65" fmla="*/ 298 h 479"/>
                <a:gd name="T66" fmla="*/ 13 w 741"/>
                <a:gd name="T67" fmla="*/ 331 h 479"/>
                <a:gd name="T68" fmla="*/ 6 w 741"/>
                <a:gd name="T69" fmla="*/ 365 h 479"/>
                <a:gd name="T70" fmla="*/ 0 w 741"/>
                <a:gd name="T71" fmla="*/ 401 h 479"/>
                <a:gd name="T72" fmla="*/ 189 w 741"/>
                <a:gd name="T73" fmla="*/ 401 h 479"/>
                <a:gd name="T74" fmla="*/ 189 w 741"/>
                <a:gd name="T75" fmla="*/ 479 h 479"/>
                <a:gd name="T76" fmla="*/ 548 w 741"/>
                <a:gd name="T77" fmla="*/ 479 h 479"/>
                <a:gd name="T78" fmla="*/ 548 w 741"/>
                <a:gd name="T79" fmla="*/ 401 h 479"/>
                <a:gd name="T80" fmla="*/ 741 w 741"/>
                <a:gd name="T81" fmla="*/ 401 h 479"/>
                <a:gd name="T82" fmla="*/ 735 w 741"/>
                <a:gd name="T83" fmla="*/ 365 h 479"/>
                <a:gd name="T84" fmla="*/ 727 w 741"/>
                <a:gd name="T85" fmla="*/ 331 h 479"/>
                <a:gd name="T86" fmla="*/ 719 w 741"/>
                <a:gd name="T87" fmla="*/ 298 h 479"/>
                <a:gd name="T88" fmla="*/ 709 w 741"/>
                <a:gd name="T89" fmla="*/ 266 h 479"/>
                <a:gd name="T90" fmla="*/ 700 w 741"/>
                <a:gd name="T91" fmla="*/ 238 h 479"/>
                <a:gd name="T92" fmla="*/ 691 w 741"/>
                <a:gd name="T93" fmla="*/ 210 h 479"/>
                <a:gd name="T94" fmla="*/ 681 w 741"/>
                <a:gd name="T95" fmla="*/ 185 h 479"/>
                <a:gd name="T96" fmla="*/ 671 w 741"/>
                <a:gd name="T97" fmla="*/ 162 h 479"/>
                <a:gd name="T98" fmla="*/ 653 w 741"/>
                <a:gd name="T99" fmla="*/ 123 h 479"/>
                <a:gd name="T100" fmla="*/ 638 w 741"/>
                <a:gd name="T101" fmla="*/ 95 h 479"/>
                <a:gd name="T102" fmla="*/ 628 w 741"/>
                <a:gd name="T103" fmla="*/ 76 h 479"/>
                <a:gd name="T104" fmla="*/ 624 w 741"/>
                <a:gd name="T105" fmla="*/ 7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1" h="479">
                  <a:moveTo>
                    <a:pt x="624" y="70"/>
                  </a:moveTo>
                  <a:lnTo>
                    <a:pt x="624" y="70"/>
                  </a:lnTo>
                  <a:lnTo>
                    <a:pt x="613" y="60"/>
                  </a:lnTo>
                  <a:lnTo>
                    <a:pt x="601" y="51"/>
                  </a:lnTo>
                  <a:lnTo>
                    <a:pt x="588" y="43"/>
                  </a:lnTo>
                  <a:lnTo>
                    <a:pt x="573" y="36"/>
                  </a:lnTo>
                  <a:lnTo>
                    <a:pt x="558" y="29"/>
                  </a:lnTo>
                  <a:lnTo>
                    <a:pt x="544" y="24"/>
                  </a:lnTo>
                  <a:lnTo>
                    <a:pt x="529" y="19"/>
                  </a:lnTo>
                  <a:lnTo>
                    <a:pt x="515" y="14"/>
                  </a:lnTo>
                  <a:lnTo>
                    <a:pt x="468" y="3"/>
                  </a:lnTo>
                  <a:lnTo>
                    <a:pt x="447" y="0"/>
                  </a:lnTo>
                  <a:lnTo>
                    <a:pt x="370" y="95"/>
                  </a:lnTo>
                  <a:lnTo>
                    <a:pt x="287" y="0"/>
                  </a:lnTo>
                  <a:lnTo>
                    <a:pt x="267" y="4"/>
                  </a:lnTo>
                  <a:lnTo>
                    <a:pt x="219" y="16"/>
                  </a:lnTo>
                  <a:lnTo>
                    <a:pt x="205" y="20"/>
                  </a:lnTo>
                  <a:lnTo>
                    <a:pt x="191" y="25"/>
                  </a:lnTo>
                  <a:lnTo>
                    <a:pt x="177" y="31"/>
                  </a:lnTo>
                  <a:lnTo>
                    <a:pt x="163" y="37"/>
                  </a:lnTo>
                  <a:lnTo>
                    <a:pt x="149" y="44"/>
                  </a:lnTo>
                  <a:lnTo>
                    <a:pt x="137" y="52"/>
                  </a:lnTo>
                  <a:lnTo>
                    <a:pt x="126" y="60"/>
                  </a:lnTo>
                  <a:lnTo>
                    <a:pt x="116" y="70"/>
                  </a:lnTo>
                  <a:lnTo>
                    <a:pt x="112" y="76"/>
                  </a:lnTo>
                  <a:lnTo>
                    <a:pt x="103" y="95"/>
                  </a:lnTo>
                  <a:lnTo>
                    <a:pt x="88" y="123"/>
                  </a:lnTo>
                  <a:lnTo>
                    <a:pt x="69" y="162"/>
                  </a:lnTo>
                  <a:lnTo>
                    <a:pt x="60" y="185"/>
                  </a:lnTo>
                  <a:lnTo>
                    <a:pt x="50" y="210"/>
                  </a:lnTo>
                  <a:lnTo>
                    <a:pt x="40" y="238"/>
                  </a:lnTo>
                  <a:lnTo>
                    <a:pt x="31" y="266"/>
                  </a:lnTo>
                  <a:lnTo>
                    <a:pt x="22" y="298"/>
                  </a:lnTo>
                  <a:lnTo>
                    <a:pt x="13" y="331"/>
                  </a:lnTo>
                  <a:lnTo>
                    <a:pt x="6" y="365"/>
                  </a:lnTo>
                  <a:lnTo>
                    <a:pt x="0" y="401"/>
                  </a:lnTo>
                  <a:lnTo>
                    <a:pt x="189" y="401"/>
                  </a:lnTo>
                  <a:lnTo>
                    <a:pt x="189" y="479"/>
                  </a:lnTo>
                  <a:lnTo>
                    <a:pt x="548" y="479"/>
                  </a:lnTo>
                  <a:lnTo>
                    <a:pt x="548" y="401"/>
                  </a:lnTo>
                  <a:lnTo>
                    <a:pt x="741" y="401"/>
                  </a:lnTo>
                  <a:lnTo>
                    <a:pt x="735" y="365"/>
                  </a:lnTo>
                  <a:lnTo>
                    <a:pt x="727" y="331"/>
                  </a:lnTo>
                  <a:lnTo>
                    <a:pt x="719" y="298"/>
                  </a:lnTo>
                  <a:lnTo>
                    <a:pt x="709" y="266"/>
                  </a:lnTo>
                  <a:lnTo>
                    <a:pt x="700" y="238"/>
                  </a:lnTo>
                  <a:lnTo>
                    <a:pt x="691" y="210"/>
                  </a:lnTo>
                  <a:lnTo>
                    <a:pt x="681" y="185"/>
                  </a:lnTo>
                  <a:lnTo>
                    <a:pt x="671" y="162"/>
                  </a:lnTo>
                  <a:lnTo>
                    <a:pt x="653" y="123"/>
                  </a:lnTo>
                  <a:lnTo>
                    <a:pt x="638" y="95"/>
                  </a:lnTo>
                  <a:lnTo>
                    <a:pt x="628" y="76"/>
                  </a:lnTo>
                  <a:lnTo>
                    <a:pt x="624" y="7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32" name="Freeform 263"/>
            <p:cNvSpPr>
              <a:spLocks/>
            </p:cNvSpPr>
            <p:nvPr/>
          </p:nvSpPr>
          <p:spPr bwMode="auto">
            <a:xfrm>
              <a:off x="3351213" y="5546725"/>
              <a:ext cx="101600" cy="84138"/>
            </a:xfrm>
            <a:custGeom>
              <a:avLst/>
              <a:gdLst>
                <a:gd name="T0" fmla="*/ 109 w 255"/>
                <a:gd name="T1" fmla="*/ 207 h 209"/>
                <a:gd name="T2" fmla="*/ 82 w 255"/>
                <a:gd name="T3" fmla="*/ 196 h 209"/>
                <a:gd name="T4" fmla="*/ 62 w 255"/>
                <a:gd name="T5" fmla="*/ 179 h 209"/>
                <a:gd name="T6" fmla="*/ 36 w 255"/>
                <a:gd name="T7" fmla="*/ 138 h 209"/>
                <a:gd name="T8" fmla="*/ 14 w 255"/>
                <a:gd name="T9" fmla="*/ 106 h 209"/>
                <a:gd name="T10" fmla="*/ 1 w 255"/>
                <a:gd name="T11" fmla="*/ 86 h 209"/>
                <a:gd name="T12" fmla="*/ 3 w 255"/>
                <a:gd name="T13" fmla="*/ 66 h 209"/>
                <a:gd name="T14" fmla="*/ 6 w 255"/>
                <a:gd name="T15" fmla="*/ 48 h 209"/>
                <a:gd name="T16" fmla="*/ 4 w 255"/>
                <a:gd name="T17" fmla="*/ 11 h 209"/>
                <a:gd name="T18" fmla="*/ 11 w 255"/>
                <a:gd name="T19" fmla="*/ 0 h 209"/>
                <a:gd name="T20" fmla="*/ 21 w 255"/>
                <a:gd name="T21" fmla="*/ 0 h 209"/>
                <a:gd name="T22" fmla="*/ 28 w 255"/>
                <a:gd name="T23" fmla="*/ 11 h 209"/>
                <a:gd name="T24" fmla="*/ 32 w 255"/>
                <a:gd name="T25" fmla="*/ 54 h 209"/>
                <a:gd name="T26" fmla="*/ 32 w 255"/>
                <a:gd name="T27" fmla="*/ 65 h 209"/>
                <a:gd name="T28" fmla="*/ 25 w 255"/>
                <a:gd name="T29" fmla="*/ 72 h 209"/>
                <a:gd name="T30" fmla="*/ 27 w 255"/>
                <a:gd name="T31" fmla="*/ 86 h 209"/>
                <a:gd name="T32" fmla="*/ 42 w 255"/>
                <a:gd name="T33" fmla="*/ 103 h 209"/>
                <a:gd name="T34" fmla="*/ 53 w 255"/>
                <a:gd name="T35" fmla="*/ 116 h 209"/>
                <a:gd name="T36" fmla="*/ 63 w 255"/>
                <a:gd name="T37" fmla="*/ 138 h 209"/>
                <a:gd name="T38" fmla="*/ 80 w 255"/>
                <a:gd name="T39" fmla="*/ 163 h 209"/>
                <a:gd name="T40" fmla="*/ 101 w 255"/>
                <a:gd name="T41" fmla="*/ 177 h 209"/>
                <a:gd name="T42" fmla="*/ 130 w 255"/>
                <a:gd name="T43" fmla="*/ 184 h 209"/>
                <a:gd name="T44" fmla="*/ 158 w 255"/>
                <a:gd name="T45" fmla="*/ 177 h 209"/>
                <a:gd name="T46" fmla="*/ 178 w 255"/>
                <a:gd name="T47" fmla="*/ 163 h 209"/>
                <a:gd name="T48" fmla="*/ 195 w 255"/>
                <a:gd name="T49" fmla="*/ 138 h 209"/>
                <a:gd name="T50" fmla="*/ 202 w 255"/>
                <a:gd name="T51" fmla="*/ 116 h 209"/>
                <a:gd name="T52" fmla="*/ 215 w 255"/>
                <a:gd name="T53" fmla="*/ 103 h 209"/>
                <a:gd name="T54" fmla="*/ 228 w 255"/>
                <a:gd name="T55" fmla="*/ 86 h 209"/>
                <a:gd name="T56" fmla="*/ 231 w 255"/>
                <a:gd name="T57" fmla="*/ 72 h 209"/>
                <a:gd name="T58" fmla="*/ 224 w 255"/>
                <a:gd name="T59" fmla="*/ 65 h 209"/>
                <a:gd name="T60" fmla="*/ 224 w 255"/>
                <a:gd name="T61" fmla="*/ 55 h 209"/>
                <a:gd name="T62" fmla="*/ 228 w 255"/>
                <a:gd name="T63" fmla="*/ 13 h 209"/>
                <a:gd name="T64" fmla="*/ 235 w 255"/>
                <a:gd name="T65" fmla="*/ 2 h 209"/>
                <a:gd name="T66" fmla="*/ 249 w 255"/>
                <a:gd name="T67" fmla="*/ 5 h 209"/>
                <a:gd name="T68" fmla="*/ 251 w 255"/>
                <a:gd name="T69" fmla="*/ 26 h 209"/>
                <a:gd name="T70" fmla="*/ 248 w 255"/>
                <a:gd name="T71" fmla="*/ 56 h 209"/>
                <a:gd name="T72" fmla="*/ 255 w 255"/>
                <a:gd name="T73" fmla="*/ 72 h 209"/>
                <a:gd name="T74" fmla="*/ 251 w 255"/>
                <a:gd name="T75" fmla="*/ 93 h 209"/>
                <a:gd name="T76" fmla="*/ 233 w 255"/>
                <a:gd name="T77" fmla="*/ 119 h 209"/>
                <a:gd name="T78" fmla="*/ 216 w 255"/>
                <a:gd name="T79" fmla="*/ 152 h 209"/>
                <a:gd name="T80" fmla="*/ 191 w 255"/>
                <a:gd name="T81" fmla="*/ 185 h 209"/>
                <a:gd name="T82" fmla="*/ 169 w 255"/>
                <a:gd name="T83" fmla="*/ 201 h 209"/>
                <a:gd name="T84" fmla="*/ 141 w 255"/>
                <a:gd name="T85" fmla="*/ 208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5" h="209">
                  <a:moveTo>
                    <a:pt x="130" y="209"/>
                  </a:moveTo>
                  <a:lnTo>
                    <a:pt x="119" y="208"/>
                  </a:lnTo>
                  <a:lnTo>
                    <a:pt x="109" y="207"/>
                  </a:lnTo>
                  <a:lnTo>
                    <a:pt x="99" y="203"/>
                  </a:lnTo>
                  <a:lnTo>
                    <a:pt x="91" y="201"/>
                  </a:lnTo>
                  <a:lnTo>
                    <a:pt x="82" y="196"/>
                  </a:lnTo>
                  <a:lnTo>
                    <a:pt x="75" y="191"/>
                  </a:lnTo>
                  <a:lnTo>
                    <a:pt x="68" y="185"/>
                  </a:lnTo>
                  <a:lnTo>
                    <a:pt x="62" y="179"/>
                  </a:lnTo>
                  <a:lnTo>
                    <a:pt x="50" y="165"/>
                  </a:lnTo>
                  <a:lnTo>
                    <a:pt x="42" y="152"/>
                  </a:lnTo>
                  <a:lnTo>
                    <a:pt x="36" y="138"/>
                  </a:lnTo>
                  <a:lnTo>
                    <a:pt x="31" y="126"/>
                  </a:lnTo>
                  <a:lnTo>
                    <a:pt x="24" y="119"/>
                  </a:lnTo>
                  <a:lnTo>
                    <a:pt x="14" y="106"/>
                  </a:lnTo>
                  <a:lnTo>
                    <a:pt x="9" y="100"/>
                  </a:lnTo>
                  <a:lnTo>
                    <a:pt x="5" y="93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3" y="66"/>
                  </a:lnTo>
                  <a:lnTo>
                    <a:pt x="5" y="61"/>
                  </a:lnTo>
                  <a:lnTo>
                    <a:pt x="8" y="56"/>
                  </a:lnTo>
                  <a:lnTo>
                    <a:pt x="6" y="48"/>
                  </a:lnTo>
                  <a:lnTo>
                    <a:pt x="5" y="38"/>
                  </a:lnTo>
                  <a:lnTo>
                    <a:pt x="4" y="26"/>
                  </a:lnTo>
                  <a:lnTo>
                    <a:pt x="4" y="11"/>
                  </a:lnTo>
                  <a:lnTo>
                    <a:pt x="5" y="6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5" y="2"/>
                  </a:lnTo>
                  <a:lnTo>
                    <a:pt x="27" y="6"/>
                  </a:lnTo>
                  <a:lnTo>
                    <a:pt x="28" y="11"/>
                  </a:lnTo>
                  <a:lnTo>
                    <a:pt x="28" y="28"/>
                  </a:lnTo>
                  <a:lnTo>
                    <a:pt x="31" y="44"/>
                  </a:lnTo>
                  <a:lnTo>
                    <a:pt x="32" y="54"/>
                  </a:lnTo>
                  <a:lnTo>
                    <a:pt x="32" y="57"/>
                  </a:lnTo>
                  <a:lnTo>
                    <a:pt x="32" y="61"/>
                  </a:lnTo>
                  <a:lnTo>
                    <a:pt x="32" y="65"/>
                  </a:lnTo>
                  <a:lnTo>
                    <a:pt x="31" y="67"/>
                  </a:lnTo>
                  <a:lnTo>
                    <a:pt x="28" y="70"/>
                  </a:lnTo>
                  <a:lnTo>
                    <a:pt x="25" y="72"/>
                  </a:lnTo>
                  <a:lnTo>
                    <a:pt x="25" y="76"/>
                  </a:lnTo>
                  <a:lnTo>
                    <a:pt x="26" y="81"/>
                  </a:lnTo>
                  <a:lnTo>
                    <a:pt x="27" y="86"/>
                  </a:lnTo>
                  <a:lnTo>
                    <a:pt x="31" y="89"/>
                  </a:lnTo>
                  <a:lnTo>
                    <a:pt x="35" y="94"/>
                  </a:lnTo>
                  <a:lnTo>
                    <a:pt x="42" y="103"/>
                  </a:lnTo>
                  <a:lnTo>
                    <a:pt x="49" y="110"/>
                  </a:lnTo>
                  <a:lnTo>
                    <a:pt x="52" y="112"/>
                  </a:lnTo>
                  <a:lnTo>
                    <a:pt x="53" y="116"/>
                  </a:lnTo>
                  <a:lnTo>
                    <a:pt x="54" y="120"/>
                  </a:lnTo>
                  <a:lnTo>
                    <a:pt x="58" y="128"/>
                  </a:lnTo>
                  <a:lnTo>
                    <a:pt x="63" y="138"/>
                  </a:lnTo>
                  <a:lnTo>
                    <a:pt x="70" y="150"/>
                  </a:lnTo>
                  <a:lnTo>
                    <a:pt x="75" y="157"/>
                  </a:lnTo>
                  <a:lnTo>
                    <a:pt x="80" y="163"/>
                  </a:lnTo>
                  <a:lnTo>
                    <a:pt x="86" y="169"/>
                  </a:lnTo>
                  <a:lnTo>
                    <a:pt x="93" y="174"/>
                  </a:lnTo>
                  <a:lnTo>
                    <a:pt x="101" y="177"/>
                  </a:lnTo>
                  <a:lnTo>
                    <a:pt x="111" y="181"/>
                  </a:lnTo>
                  <a:lnTo>
                    <a:pt x="119" y="184"/>
                  </a:lnTo>
                  <a:lnTo>
                    <a:pt x="130" y="184"/>
                  </a:lnTo>
                  <a:lnTo>
                    <a:pt x="141" y="184"/>
                  </a:lnTo>
                  <a:lnTo>
                    <a:pt x="150" y="181"/>
                  </a:lnTo>
                  <a:lnTo>
                    <a:pt x="158" y="177"/>
                  </a:lnTo>
                  <a:lnTo>
                    <a:pt x="166" y="174"/>
                  </a:lnTo>
                  <a:lnTo>
                    <a:pt x="173" y="169"/>
                  </a:lnTo>
                  <a:lnTo>
                    <a:pt x="178" y="163"/>
                  </a:lnTo>
                  <a:lnTo>
                    <a:pt x="184" y="157"/>
                  </a:lnTo>
                  <a:lnTo>
                    <a:pt x="188" y="150"/>
                  </a:lnTo>
                  <a:lnTo>
                    <a:pt x="195" y="138"/>
                  </a:lnTo>
                  <a:lnTo>
                    <a:pt x="199" y="128"/>
                  </a:lnTo>
                  <a:lnTo>
                    <a:pt x="201" y="120"/>
                  </a:lnTo>
                  <a:lnTo>
                    <a:pt x="202" y="116"/>
                  </a:lnTo>
                  <a:lnTo>
                    <a:pt x="204" y="112"/>
                  </a:lnTo>
                  <a:lnTo>
                    <a:pt x="207" y="110"/>
                  </a:lnTo>
                  <a:lnTo>
                    <a:pt x="215" y="103"/>
                  </a:lnTo>
                  <a:lnTo>
                    <a:pt x="222" y="94"/>
                  </a:lnTo>
                  <a:lnTo>
                    <a:pt x="226" y="89"/>
                  </a:lnTo>
                  <a:lnTo>
                    <a:pt x="228" y="86"/>
                  </a:lnTo>
                  <a:lnTo>
                    <a:pt x="231" y="81"/>
                  </a:lnTo>
                  <a:lnTo>
                    <a:pt x="232" y="76"/>
                  </a:lnTo>
                  <a:lnTo>
                    <a:pt x="231" y="72"/>
                  </a:lnTo>
                  <a:lnTo>
                    <a:pt x="227" y="70"/>
                  </a:lnTo>
                  <a:lnTo>
                    <a:pt x="226" y="67"/>
                  </a:lnTo>
                  <a:lnTo>
                    <a:pt x="224" y="65"/>
                  </a:lnTo>
                  <a:lnTo>
                    <a:pt x="223" y="61"/>
                  </a:lnTo>
                  <a:lnTo>
                    <a:pt x="223" y="57"/>
                  </a:lnTo>
                  <a:lnTo>
                    <a:pt x="224" y="55"/>
                  </a:lnTo>
                  <a:lnTo>
                    <a:pt x="226" y="45"/>
                  </a:lnTo>
                  <a:lnTo>
                    <a:pt x="227" y="30"/>
                  </a:lnTo>
                  <a:lnTo>
                    <a:pt x="228" y="13"/>
                  </a:lnTo>
                  <a:lnTo>
                    <a:pt x="229" y="8"/>
                  </a:lnTo>
                  <a:lnTo>
                    <a:pt x="232" y="5"/>
                  </a:lnTo>
                  <a:lnTo>
                    <a:pt x="235" y="2"/>
                  </a:lnTo>
                  <a:lnTo>
                    <a:pt x="240" y="1"/>
                  </a:lnTo>
                  <a:lnTo>
                    <a:pt x="244" y="2"/>
                  </a:lnTo>
                  <a:lnTo>
                    <a:pt x="249" y="5"/>
                  </a:lnTo>
                  <a:lnTo>
                    <a:pt x="251" y="8"/>
                  </a:lnTo>
                  <a:lnTo>
                    <a:pt x="251" y="13"/>
                  </a:lnTo>
                  <a:lnTo>
                    <a:pt x="251" y="26"/>
                  </a:lnTo>
                  <a:lnTo>
                    <a:pt x="250" y="38"/>
                  </a:lnTo>
                  <a:lnTo>
                    <a:pt x="249" y="48"/>
                  </a:lnTo>
                  <a:lnTo>
                    <a:pt x="248" y="56"/>
                  </a:lnTo>
                  <a:lnTo>
                    <a:pt x="251" y="61"/>
                  </a:lnTo>
                  <a:lnTo>
                    <a:pt x="254" y="66"/>
                  </a:lnTo>
                  <a:lnTo>
                    <a:pt x="255" y="72"/>
                  </a:lnTo>
                  <a:lnTo>
                    <a:pt x="255" y="78"/>
                  </a:lnTo>
                  <a:lnTo>
                    <a:pt x="254" y="86"/>
                  </a:lnTo>
                  <a:lnTo>
                    <a:pt x="251" y="93"/>
                  </a:lnTo>
                  <a:lnTo>
                    <a:pt x="248" y="100"/>
                  </a:lnTo>
                  <a:lnTo>
                    <a:pt x="243" y="106"/>
                  </a:lnTo>
                  <a:lnTo>
                    <a:pt x="233" y="119"/>
                  </a:lnTo>
                  <a:lnTo>
                    <a:pt x="226" y="126"/>
                  </a:lnTo>
                  <a:lnTo>
                    <a:pt x="221" y="138"/>
                  </a:lnTo>
                  <a:lnTo>
                    <a:pt x="216" y="152"/>
                  </a:lnTo>
                  <a:lnTo>
                    <a:pt x="207" y="165"/>
                  </a:lnTo>
                  <a:lnTo>
                    <a:pt x="197" y="179"/>
                  </a:lnTo>
                  <a:lnTo>
                    <a:pt x="191" y="185"/>
                  </a:lnTo>
                  <a:lnTo>
                    <a:pt x="184" y="191"/>
                  </a:lnTo>
                  <a:lnTo>
                    <a:pt x="177" y="196"/>
                  </a:lnTo>
                  <a:lnTo>
                    <a:pt x="169" y="201"/>
                  </a:lnTo>
                  <a:lnTo>
                    <a:pt x="161" y="203"/>
                  </a:lnTo>
                  <a:lnTo>
                    <a:pt x="151" y="207"/>
                  </a:lnTo>
                  <a:lnTo>
                    <a:pt x="141" y="208"/>
                  </a:lnTo>
                  <a:lnTo>
                    <a:pt x="130" y="20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33" name="Freeform 264"/>
            <p:cNvSpPr>
              <a:spLocks/>
            </p:cNvSpPr>
            <p:nvPr/>
          </p:nvSpPr>
          <p:spPr bwMode="auto">
            <a:xfrm>
              <a:off x="3365500" y="5597525"/>
              <a:ext cx="11113" cy="39688"/>
            </a:xfrm>
            <a:custGeom>
              <a:avLst/>
              <a:gdLst>
                <a:gd name="T0" fmla="*/ 14 w 26"/>
                <a:gd name="T1" fmla="*/ 100 h 100"/>
                <a:gd name="T2" fmla="*/ 10 w 26"/>
                <a:gd name="T3" fmla="*/ 100 h 100"/>
                <a:gd name="T4" fmla="*/ 6 w 26"/>
                <a:gd name="T5" fmla="*/ 98 h 100"/>
                <a:gd name="T6" fmla="*/ 3 w 26"/>
                <a:gd name="T7" fmla="*/ 94 h 100"/>
                <a:gd name="T8" fmla="*/ 2 w 26"/>
                <a:gd name="T9" fmla="*/ 89 h 100"/>
                <a:gd name="T10" fmla="*/ 0 w 26"/>
                <a:gd name="T11" fmla="*/ 11 h 100"/>
                <a:gd name="T12" fmla="*/ 1 w 26"/>
                <a:gd name="T13" fmla="*/ 6 h 100"/>
                <a:gd name="T14" fmla="*/ 3 w 26"/>
                <a:gd name="T15" fmla="*/ 2 h 100"/>
                <a:gd name="T16" fmla="*/ 7 w 26"/>
                <a:gd name="T17" fmla="*/ 0 h 100"/>
                <a:gd name="T18" fmla="*/ 12 w 26"/>
                <a:gd name="T19" fmla="*/ 0 h 100"/>
                <a:gd name="T20" fmla="*/ 17 w 26"/>
                <a:gd name="T21" fmla="*/ 0 h 100"/>
                <a:gd name="T22" fmla="*/ 21 w 26"/>
                <a:gd name="T23" fmla="*/ 2 h 100"/>
                <a:gd name="T24" fmla="*/ 23 w 26"/>
                <a:gd name="T25" fmla="*/ 6 h 100"/>
                <a:gd name="T26" fmla="*/ 24 w 26"/>
                <a:gd name="T27" fmla="*/ 11 h 100"/>
                <a:gd name="T28" fmla="*/ 26 w 26"/>
                <a:gd name="T29" fmla="*/ 87 h 100"/>
                <a:gd name="T30" fmla="*/ 26 w 26"/>
                <a:gd name="T31" fmla="*/ 92 h 100"/>
                <a:gd name="T32" fmla="*/ 23 w 26"/>
                <a:gd name="T33" fmla="*/ 97 h 100"/>
                <a:gd name="T34" fmla="*/ 19 w 26"/>
                <a:gd name="T35" fmla="*/ 99 h 100"/>
                <a:gd name="T36" fmla="*/ 14 w 26"/>
                <a:gd name="T37" fmla="*/ 100 h 100"/>
                <a:gd name="T38" fmla="*/ 14 w 26"/>
                <a:gd name="T3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100">
                  <a:moveTo>
                    <a:pt x="14" y="100"/>
                  </a:moveTo>
                  <a:lnTo>
                    <a:pt x="10" y="100"/>
                  </a:lnTo>
                  <a:lnTo>
                    <a:pt x="6" y="98"/>
                  </a:lnTo>
                  <a:lnTo>
                    <a:pt x="3" y="94"/>
                  </a:lnTo>
                  <a:lnTo>
                    <a:pt x="2" y="89"/>
                  </a:lnTo>
                  <a:lnTo>
                    <a:pt x="0" y="11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2"/>
                  </a:lnTo>
                  <a:lnTo>
                    <a:pt x="23" y="6"/>
                  </a:lnTo>
                  <a:lnTo>
                    <a:pt x="24" y="11"/>
                  </a:lnTo>
                  <a:lnTo>
                    <a:pt x="26" y="87"/>
                  </a:lnTo>
                  <a:lnTo>
                    <a:pt x="26" y="92"/>
                  </a:lnTo>
                  <a:lnTo>
                    <a:pt x="23" y="97"/>
                  </a:lnTo>
                  <a:lnTo>
                    <a:pt x="19" y="99"/>
                  </a:lnTo>
                  <a:lnTo>
                    <a:pt x="14" y="100"/>
                  </a:lnTo>
                  <a:lnTo>
                    <a:pt x="14" y="10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34" name="Freeform 265"/>
            <p:cNvSpPr>
              <a:spLocks/>
            </p:cNvSpPr>
            <p:nvPr/>
          </p:nvSpPr>
          <p:spPr bwMode="auto">
            <a:xfrm>
              <a:off x="3430588" y="5597525"/>
              <a:ext cx="9525" cy="39688"/>
            </a:xfrm>
            <a:custGeom>
              <a:avLst/>
              <a:gdLst>
                <a:gd name="T0" fmla="*/ 13 w 26"/>
                <a:gd name="T1" fmla="*/ 100 h 100"/>
                <a:gd name="T2" fmla="*/ 13 w 26"/>
                <a:gd name="T3" fmla="*/ 100 h 100"/>
                <a:gd name="T4" fmla="*/ 8 w 26"/>
                <a:gd name="T5" fmla="*/ 99 h 100"/>
                <a:gd name="T6" fmla="*/ 4 w 26"/>
                <a:gd name="T7" fmla="*/ 97 h 100"/>
                <a:gd name="T8" fmla="*/ 2 w 26"/>
                <a:gd name="T9" fmla="*/ 92 h 100"/>
                <a:gd name="T10" fmla="*/ 0 w 26"/>
                <a:gd name="T11" fmla="*/ 87 h 100"/>
                <a:gd name="T12" fmla="*/ 3 w 26"/>
                <a:gd name="T13" fmla="*/ 11 h 100"/>
                <a:gd name="T14" fmla="*/ 4 w 26"/>
                <a:gd name="T15" fmla="*/ 6 h 100"/>
                <a:gd name="T16" fmla="*/ 7 w 26"/>
                <a:gd name="T17" fmla="*/ 2 h 100"/>
                <a:gd name="T18" fmla="*/ 10 w 26"/>
                <a:gd name="T19" fmla="*/ 0 h 100"/>
                <a:gd name="T20" fmla="*/ 15 w 26"/>
                <a:gd name="T21" fmla="*/ 0 h 100"/>
                <a:gd name="T22" fmla="*/ 15 w 26"/>
                <a:gd name="T23" fmla="*/ 0 h 100"/>
                <a:gd name="T24" fmla="*/ 19 w 26"/>
                <a:gd name="T25" fmla="*/ 0 h 100"/>
                <a:gd name="T26" fmla="*/ 24 w 26"/>
                <a:gd name="T27" fmla="*/ 2 h 100"/>
                <a:gd name="T28" fmla="*/ 26 w 26"/>
                <a:gd name="T29" fmla="*/ 6 h 100"/>
                <a:gd name="T30" fmla="*/ 26 w 26"/>
                <a:gd name="T31" fmla="*/ 11 h 100"/>
                <a:gd name="T32" fmla="*/ 25 w 26"/>
                <a:gd name="T33" fmla="*/ 89 h 100"/>
                <a:gd name="T34" fmla="*/ 24 w 26"/>
                <a:gd name="T35" fmla="*/ 94 h 100"/>
                <a:gd name="T36" fmla="*/ 21 w 26"/>
                <a:gd name="T37" fmla="*/ 98 h 100"/>
                <a:gd name="T38" fmla="*/ 18 w 26"/>
                <a:gd name="T39" fmla="*/ 100 h 100"/>
                <a:gd name="T40" fmla="*/ 13 w 26"/>
                <a:gd name="T41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100">
                  <a:moveTo>
                    <a:pt x="13" y="100"/>
                  </a:moveTo>
                  <a:lnTo>
                    <a:pt x="13" y="100"/>
                  </a:lnTo>
                  <a:lnTo>
                    <a:pt x="8" y="99"/>
                  </a:lnTo>
                  <a:lnTo>
                    <a:pt x="4" y="97"/>
                  </a:lnTo>
                  <a:lnTo>
                    <a:pt x="2" y="92"/>
                  </a:lnTo>
                  <a:lnTo>
                    <a:pt x="0" y="87"/>
                  </a:lnTo>
                  <a:lnTo>
                    <a:pt x="3" y="11"/>
                  </a:lnTo>
                  <a:lnTo>
                    <a:pt x="4" y="6"/>
                  </a:lnTo>
                  <a:lnTo>
                    <a:pt x="7" y="2"/>
                  </a:lnTo>
                  <a:lnTo>
                    <a:pt x="1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4" y="2"/>
                  </a:lnTo>
                  <a:lnTo>
                    <a:pt x="26" y="6"/>
                  </a:lnTo>
                  <a:lnTo>
                    <a:pt x="26" y="11"/>
                  </a:lnTo>
                  <a:lnTo>
                    <a:pt x="25" y="89"/>
                  </a:lnTo>
                  <a:lnTo>
                    <a:pt x="24" y="94"/>
                  </a:lnTo>
                  <a:lnTo>
                    <a:pt x="21" y="98"/>
                  </a:lnTo>
                  <a:lnTo>
                    <a:pt x="18" y="100"/>
                  </a:lnTo>
                  <a:lnTo>
                    <a:pt x="13" y="10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35" name="Freeform 266"/>
            <p:cNvSpPr>
              <a:spLocks/>
            </p:cNvSpPr>
            <p:nvPr/>
          </p:nvSpPr>
          <p:spPr bwMode="auto">
            <a:xfrm>
              <a:off x="3321050" y="6137275"/>
              <a:ext cx="66675" cy="30163"/>
            </a:xfrm>
            <a:custGeom>
              <a:avLst/>
              <a:gdLst>
                <a:gd name="T0" fmla="*/ 0 w 167"/>
                <a:gd name="T1" fmla="*/ 74 h 74"/>
                <a:gd name="T2" fmla="*/ 8 w 167"/>
                <a:gd name="T3" fmla="*/ 62 h 74"/>
                <a:gd name="T4" fmla="*/ 16 w 167"/>
                <a:gd name="T5" fmla="*/ 50 h 74"/>
                <a:gd name="T6" fmla="*/ 26 w 167"/>
                <a:gd name="T7" fmla="*/ 40 h 74"/>
                <a:gd name="T8" fmla="*/ 36 w 167"/>
                <a:gd name="T9" fmla="*/ 30 h 74"/>
                <a:gd name="T10" fmla="*/ 46 w 167"/>
                <a:gd name="T11" fmla="*/ 22 h 74"/>
                <a:gd name="T12" fmla="*/ 57 w 167"/>
                <a:gd name="T13" fmla="*/ 13 h 74"/>
                <a:gd name="T14" fmla="*/ 69 w 167"/>
                <a:gd name="T15" fmla="*/ 6 h 74"/>
                <a:gd name="T16" fmla="*/ 82 w 167"/>
                <a:gd name="T17" fmla="*/ 0 h 74"/>
                <a:gd name="T18" fmla="*/ 167 w 167"/>
                <a:gd name="T19" fmla="*/ 0 h 74"/>
                <a:gd name="T20" fmla="*/ 167 w 167"/>
                <a:gd name="T21" fmla="*/ 74 h 74"/>
                <a:gd name="T22" fmla="*/ 0 w 167"/>
                <a:gd name="T2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7" h="74">
                  <a:moveTo>
                    <a:pt x="0" y="74"/>
                  </a:moveTo>
                  <a:lnTo>
                    <a:pt x="8" y="62"/>
                  </a:lnTo>
                  <a:lnTo>
                    <a:pt x="16" y="50"/>
                  </a:lnTo>
                  <a:lnTo>
                    <a:pt x="26" y="40"/>
                  </a:lnTo>
                  <a:lnTo>
                    <a:pt x="36" y="30"/>
                  </a:lnTo>
                  <a:lnTo>
                    <a:pt x="46" y="22"/>
                  </a:lnTo>
                  <a:lnTo>
                    <a:pt x="57" y="13"/>
                  </a:lnTo>
                  <a:lnTo>
                    <a:pt x="69" y="6"/>
                  </a:lnTo>
                  <a:lnTo>
                    <a:pt x="82" y="0"/>
                  </a:lnTo>
                  <a:lnTo>
                    <a:pt x="167" y="0"/>
                  </a:lnTo>
                  <a:lnTo>
                    <a:pt x="167" y="74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36" name="Freeform 267"/>
            <p:cNvSpPr>
              <a:spLocks noEditPoints="1"/>
            </p:cNvSpPr>
            <p:nvPr/>
          </p:nvSpPr>
          <p:spPr bwMode="auto">
            <a:xfrm>
              <a:off x="3316288" y="6134100"/>
              <a:ext cx="76200" cy="38100"/>
            </a:xfrm>
            <a:custGeom>
              <a:avLst/>
              <a:gdLst>
                <a:gd name="T0" fmla="*/ 34 w 191"/>
                <a:gd name="T1" fmla="*/ 73 h 99"/>
                <a:gd name="T2" fmla="*/ 167 w 191"/>
                <a:gd name="T3" fmla="*/ 73 h 99"/>
                <a:gd name="T4" fmla="*/ 167 w 191"/>
                <a:gd name="T5" fmla="*/ 22 h 99"/>
                <a:gd name="T6" fmla="*/ 97 w 191"/>
                <a:gd name="T7" fmla="*/ 22 h 99"/>
                <a:gd name="T8" fmla="*/ 87 w 191"/>
                <a:gd name="T9" fmla="*/ 27 h 99"/>
                <a:gd name="T10" fmla="*/ 78 w 191"/>
                <a:gd name="T11" fmla="*/ 32 h 99"/>
                <a:gd name="T12" fmla="*/ 70 w 191"/>
                <a:gd name="T13" fmla="*/ 38 h 99"/>
                <a:gd name="T14" fmla="*/ 63 w 191"/>
                <a:gd name="T15" fmla="*/ 44 h 99"/>
                <a:gd name="T16" fmla="*/ 54 w 191"/>
                <a:gd name="T17" fmla="*/ 50 h 99"/>
                <a:gd name="T18" fmla="*/ 47 w 191"/>
                <a:gd name="T19" fmla="*/ 57 h 99"/>
                <a:gd name="T20" fmla="*/ 40 w 191"/>
                <a:gd name="T21" fmla="*/ 66 h 99"/>
                <a:gd name="T22" fmla="*/ 34 w 191"/>
                <a:gd name="T23" fmla="*/ 73 h 99"/>
                <a:gd name="T24" fmla="*/ 179 w 191"/>
                <a:gd name="T25" fmla="*/ 99 h 99"/>
                <a:gd name="T26" fmla="*/ 12 w 191"/>
                <a:gd name="T27" fmla="*/ 99 h 99"/>
                <a:gd name="T28" fmla="*/ 10 w 191"/>
                <a:gd name="T29" fmla="*/ 98 h 99"/>
                <a:gd name="T30" fmla="*/ 6 w 191"/>
                <a:gd name="T31" fmla="*/ 97 h 99"/>
                <a:gd name="T32" fmla="*/ 4 w 191"/>
                <a:gd name="T33" fmla="*/ 95 h 99"/>
                <a:gd name="T34" fmla="*/ 3 w 191"/>
                <a:gd name="T35" fmla="*/ 92 h 99"/>
                <a:gd name="T36" fmla="*/ 1 w 191"/>
                <a:gd name="T37" fmla="*/ 89 h 99"/>
                <a:gd name="T38" fmla="*/ 0 w 191"/>
                <a:gd name="T39" fmla="*/ 87 h 99"/>
                <a:gd name="T40" fmla="*/ 1 w 191"/>
                <a:gd name="T41" fmla="*/ 84 h 99"/>
                <a:gd name="T42" fmla="*/ 3 w 191"/>
                <a:gd name="T43" fmla="*/ 81 h 99"/>
                <a:gd name="T44" fmla="*/ 10 w 191"/>
                <a:gd name="T45" fmla="*/ 67 h 99"/>
                <a:gd name="T46" fmla="*/ 20 w 191"/>
                <a:gd name="T47" fmla="*/ 54 h 99"/>
                <a:gd name="T48" fmla="*/ 29 w 191"/>
                <a:gd name="T49" fmla="*/ 43 h 99"/>
                <a:gd name="T50" fmla="*/ 39 w 191"/>
                <a:gd name="T51" fmla="*/ 32 h 99"/>
                <a:gd name="T52" fmla="*/ 50 w 191"/>
                <a:gd name="T53" fmla="*/ 22 h 99"/>
                <a:gd name="T54" fmla="*/ 63 w 191"/>
                <a:gd name="T55" fmla="*/ 13 h 99"/>
                <a:gd name="T56" fmla="*/ 76 w 191"/>
                <a:gd name="T57" fmla="*/ 6 h 99"/>
                <a:gd name="T58" fmla="*/ 89 w 191"/>
                <a:gd name="T59" fmla="*/ 0 h 99"/>
                <a:gd name="T60" fmla="*/ 92 w 191"/>
                <a:gd name="T61" fmla="*/ 0 h 99"/>
                <a:gd name="T62" fmla="*/ 94 w 191"/>
                <a:gd name="T63" fmla="*/ 0 h 99"/>
                <a:gd name="T64" fmla="*/ 179 w 191"/>
                <a:gd name="T65" fmla="*/ 0 h 99"/>
                <a:gd name="T66" fmla="*/ 184 w 191"/>
                <a:gd name="T67" fmla="*/ 0 h 99"/>
                <a:gd name="T68" fmla="*/ 187 w 191"/>
                <a:gd name="T69" fmla="*/ 2 h 99"/>
                <a:gd name="T70" fmla="*/ 190 w 191"/>
                <a:gd name="T71" fmla="*/ 6 h 99"/>
                <a:gd name="T72" fmla="*/ 191 w 191"/>
                <a:gd name="T73" fmla="*/ 11 h 99"/>
                <a:gd name="T74" fmla="*/ 191 w 191"/>
                <a:gd name="T75" fmla="*/ 85 h 99"/>
                <a:gd name="T76" fmla="*/ 190 w 191"/>
                <a:gd name="T77" fmla="*/ 90 h 99"/>
                <a:gd name="T78" fmla="*/ 187 w 191"/>
                <a:gd name="T79" fmla="*/ 94 h 99"/>
                <a:gd name="T80" fmla="*/ 184 w 191"/>
                <a:gd name="T81" fmla="*/ 98 h 99"/>
                <a:gd name="T82" fmla="*/ 179 w 191"/>
                <a:gd name="T8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1" h="99">
                  <a:moveTo>
                    <a:pt x="34" y="73"/>
                  </a:moveTo>
                  <a:lnTo>
                    <a:pt x="167" y="73"/>
                  </a:lnTo>
                  <a:lnTo>
                    <a:pt x="167" y="22"/>
                  </a:lnTo>
                  <a:lnTo>
                    <a:pt x="97" y="22"/>
                  </a:lnTo>
                  <a:lnTo>
                    <a:pt x="87" y="27"/>
                  </a:lnTo>
                  <a:lnTo>
                    <a:pt x="78" y="32"/>
                  </a:lnTo>
                  <a:lnTo>
                    <a:pt x="70" y="38"/>
                  </a:lnTo>
                  <a:lnTo>
                    <a:pt x="63" y="44"/>
                  </a:lnTo>
                  <a:lnTo>
                    <a:pt x="54" y="50"/>
                  </a:lnTo>
                  <a:lnTo>
                    <a:pt x="47" y="57"/>
                  </a:lnTo>
                  <a:lnTo>
                    <a:pt x="40" y="66"/>
                  </a:lnTo>
                  <a:lnTo>
                    <a:pt x="34" y="73"/>
                  </a:lnTo>
                  <a:close/>
                  <a:moveTo>
                    <a:pt x="179" y="99"/>
                  </a:moveTo>
                  <a:lnTo>
                    <a:pt x="12" y="99"/>
                  </a:lnTo>
                  <a:lnTo>
                    <a:pt x="10" y="98"/>
                  </a:lnTo>
                  <a:lnTo>
                    <a:pt x="6" y="97"/>
                  </a:lnTo>
                  <a:lnTo>
                    <a:pt x="4" y="95"/>
                  </a:lnTo>
                  <a:lnTo>
                    <a:pt x="3" y="92"/>
                  </a:lnTo>
                  <a:lnTo>
                    <a:pt x="1" y="89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1"/>
                  </a:lnTo>
                  <a:lnTo>
                    <a:pt x="10" y="67"/>
                  </a:lnTo>
                  <a:lnTo>
                    <a:pt x="20" y="54"/>
                  </a:lnTo>
                  <a:lnTo>
                    <a:pt x="29" y="43"/>
                  </a:lnTo>
                  <a:lnTo>
                    <a:pt x="39" y="32"/>
                  </a:lnTo>
                  <a:lnTo>
                    <a:pt x="50" y="22"/>
                  </a:lnTo>
                  <a:lnTo>
                    <a:pt x="63" y="13"/>
                  </a:lnTo>
                  <a:lnTo>
                    <a:pt x="76" y="6"/>
                  </a:lnTo>
                  <a:lnTo>
                    <a:pt x="89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179" y="0"/>
                  </a:lnTo>
                  <a:lnTo>
                    <a:pt x="184" y="0"/>
                  </a:lnTo>
                  <a:lnTo>
                    <a:pt x="187" y="2"/>
                  </a:lnTo>
                  <a:lnTo>
                    <a:pt x="190" y="6"/>
                  </a:lnTo>
                  <a:lnTo>
                    <a:pt x="191" y="11"/>
                  </a:lnTo>
                  <a:lnTo>
                    <a:pt x="191" y="85"/>
                  </a:lnTo>
                  <a:lnTo>
                    <a:pt x="190" y="90"/>
                  </a:lnTo>
                  <a:lnTo>
                    <a:pt x="187" y="94"/>
                  </a:lnTo>
                  <a:lnTo>
                    <a:pt x="184" y="98"/>
                  </a:lnTo>
                  <a:lnTo>
                    <a:pt x="179" y="9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37" name="Freeform 268"/>
            <p:cNvSpPr>
              <a:spLocks/>
            </p:cNvSpPr>
            <p:nvPr/>
          </p:nvSpPr>
          <p:spPr bwMode="auto">
            <a:xfrm>
              <a:off x="3417888" y="6137275"/>
              <a:ext cx="65088" cy="30163"/>
            </a:xfrm>
            <a:custGeom>
              <a:avLst/>
              <a:gdLst>
                <a:gd name="T0" fmla="*/ 166 w 166"/>
                <a:gd name="T1" fmla="*/ 74 h 74"/>
                <a:gd name="T2" fmla="*/ 159 w 166"/>
                <a:gd name="T3" fmla="*/ 62 h 74"/>
                <a:gd name="T4" fmla="*/ 150 w 166"/>
                <a:gd name="T5" fmla="*/ 50 h 74"/>
                <a:gd name="T6" fmla="*/ 142 w 166"/>
                <a:gd name="T7" fmla="*/ 40 h 74"/>
                <a:gd name="T8" fmla="*/ 132 w 166"/>
                <a:gd name="T9" fmla="*/ 30 h 74"/>
                <a:gd name="T10" fmla="*/ 121 w 166"/>
                <a:gd name="T11" fmla="*/ 22 h 74"/>
                <a:gd name="T12" fmla="*/ 110 w 166"/>
                <a:gd name="T13" fmla="*/ 13 h 74"/>
                <a:gd name="T14" fmla="*/ 98 w 166"/>
                <a:gd name="T15" fmla="*/ 6 h 74"/>
                <a:gd name="T16" fmla="*/ 85 w 166"/>
                <a:gd name="T17" fmla="*/ 0 h 74"/>
                <a:gd name="T18" fmla="*/ 0 w 166"/>
                <a:gd name="T19" fmla="*/ 0 h 74"/>
                <a:gd name="T20" fmla="*/ 0 w 166"/>
                <a:gd name="T21" fmla="*/ 74 h 74"/>
                <a:gd name="T22" fmla="*/ 166 w 166"/>
                <a:gd name="T2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74">
                  <a:moveTo>
                    <a:pt x="166" y="74"/>
                  </a:moveTo>
                  <a:lnTo>
                    <a:pt x="159" y="62"/>
                  </a:lnTo>
                  <a:lnTo>
                    <a:pt x="150" y="50"/>
                  </a:lnTo>
                  <a:lnTo>
                    <a:pt x="142" y="40"/>
                  </a:lnTo>
                  <a:lnTo>
                    <a:pt x="132" y="30"/>
                  </a:lnTo>
                  <a:lnTo>
                    <a:pt x="121" y="22"/>
                  </a:lnTo>
                  <a:lnTo>
                    <a:pt x="110" y="13"/>
                  </a:lnTo>
                  <a:lnTo>
                    <a:pt x="98" y="6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4"/>
                  </a:lnTo>
                  <a:lnTo>
                    <a:pt x="166" y="7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38" name="Freeform 269"/>
            <p:cNvSpPr>
              <a:spLocks noEditPoints="1"/>
            </p:cNvSpPr>
            <p:nvPr/>
          </p:nvSpPr>
          <p:spPr bwMode="auto">
            <a:xfrm>
              <a:off x="3413125" y="6134100"/>
              <a:ext cx="74613" cy="38100"/>
            </a:xfrm>
            <a:custGeom>
              <a:avLst/>
              <a:gdLst>
                <a:gd name="T0" fmla="*/ 23 w 189"/>
                <a:gd name="T1" fmla="*/ 73 h 99"/>
                <a:gd name="T2" fmla="*/ 156 w 189"/>
                <a:gd name="T3" fmla="*/ 73 h 99"/>
                <a:gd name="T4" fmla="*/ 143 w 189"/>
                <a:gd name="T5" fmla="*/ 57 h 99"/>
                <a:gd name="T6" fmla="*/ 128 w 189"/>
                <a:gd name="T7" fmla="*/ 44 h 99"/>
                <a:gd name="T8" fmla="*/ 120 w 189"/>
                <a:gd name="T9" fmla="*/ 38 h 99"/>
                <a:gd name="T10" fmla="*/ 111 w 189"/>
                <a:gd name="T11" fmla="*/ 32 h 99"/>
                <a:gd name="T12" fmla="*/ 103 w 189"/>
                <a:gd name="T13" fmla="*/ 27 h 99"/>
                <a:gd name="T14" fmla="*/ 94 w 189"/>
                <a:gd name="T15" fmla="*/ 22 h 99"/>
                <a:gd name="T16" fmla="*/ 23 w 189"/>
                <a:gd name="T17" fmla="*/ 22 h 99"/>
                <a:gd name="T18" fmla="*/ 23 w 189"/>
                <a:gd name="T19" fmla="*/ 73 h 99"/>
                <a:gd name="T20" fmla="*/ 177 w 189"/>
                <a:gd name="T21" fmla="*/ 99 h 99"/>
                <a:gd name="T22" fmla="*/ 11 w 189"/>
                <a:gd name="T23" fmla="*/ 99 h 99"/>
                <a:gd name="T24" fmla="*/ 7 w 189"/>
                <a:gd name="T25" fmla="*/ 98 h 99"/>
                <a:gd name="T26" fmla="*/ 3 w 189"/>
                <a:gd name="T27" fmla="*/ 94 h 99"/>
                <a:gd name="T28" fmla="*/ 1 w 189"/>
                <a:gd name="T29" fmla="*/ 90 h 99"/>
                <a:gd name="T30" fmla="*/ 0 w 189"/>
                <a:gd name="T31" fmla="*/ 85 h 99"/>
                <a:gd name="T32" fmla="*/ 0 w 189"/>
                <a:gd name="T33" fmla="*/ 11 h 99"/>
                <a:gd name="T34" fmla="*/ 1 w 189"/>
                <a:gd name="T35" fmla="*/ 6 h 99"/>
                <a:gd name="T36" fmla="*/ 3 w 189"/>
                <a:gd name="T37" fmla="*/ 2 h 99"/>
                <a:gd name="T38" fmla="*/ 7 w 189"/>
                <a:gd name="T39" fmla="*/ 0 h 99"/>
                <a:gd name="T40" fmla="*/ 11 w 189"/>
                <a:gd name="T41" fmla="*/ 0 h 99"/>
                <a:gd name="T42" fmla="*/ 96 w 189"/>
                <a:gd name="T43" fmla="*/ 0 h 99"/>
                <a:gd name="T44" fmla="*/ 99 w 189"/>
                <a:gd name="T45" fmla="*/ 0 h 99"/>
                <a:gd name="T46" fmla="*/ 101 w 189"/>
                <a:gd name="T47" fmla="*/ 0 h 99"/>
                <a:gd name="T48" fmla="*/ 115 w 189"/>
                <a:gd name="T49" fmla="*/ 6 h 99"/>
                <a:gd name="T50" fmla="*/ 127 w 189"/>
                <a:gd name="T51" fmla="*/ 13 h 99"/>
                <a:gd name="T52" fmla="*/ 139 w 189"/>
                <a:gd name="T53" fmla="*/ 22 h 99"/>
                <a:gd name="T54" fmla="*/ 150 w 189"/>
                <a:gd name="T55" fmla="*/ 32 h 99"/>
                <a:gd name="T56" fmla="*/ 161 w 189"/>
                <a:gd name="T57" fmla="*/ 43 h 99"/>
                <a:gd name="T58" fmla="*/ 171 w 189"/>
                <a:gd name="T59" fmla="*/ 54 h 99"/>
                <a:gd name="T60" fmla="*/ 180 w 189"/>
                <a:gd name="T61" fmla="*/ 67 h 99"/>
                <a:gd name="T62" fmla="*/ 188 w 189"/>
                <a:gd name="T63" fmla="*/ 81 h 99"/>
                <a:gd name="T64" fmla="*/ 189 w 189"/>
                <a:gd name="T65" fmla="*/ 84 h 99"/>
                <a:gd name="T66" fmla="*/ 189 w 189"/>
                <a:gd name="T67" fmla="*/ 87 h 99"/>
                <a:gd name="T68" fmla="*/ 189 w 189"/>
                <a:gd name="T69" fmla="*/ 89 h 99"/>
                <a:gd name="T70" fmla="*/ 188 w 189"/>
                <a:gd name="T71" fmla="*/ 92 h 99"/>
                <a:gd name="T72" fmla="*/ 186 w 189"/>
                <a:gd name="T73" fmla="*/ 95 h 99"/>
                <a:gd name="T74" fmla="*/ 183 w 189"/>
                <a:gd name="T75" fmla="*/ 97 h 99"/>
                <a:gd name="T76" fmla="*/ 181 w 189"/>
                <a:gd name="T77" fmla="*/ 98 h 99"/>
                <a:gd name="T78" fmla="*/ 177 w 189"/>
                <a:gd name="T7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9" h="99">
                  <a:moveTo>
                    <a:pt x="23" y="73"/>
                  </a:moveTo>
                  <a:lnTo>
                    <a:pt x="156" y="73"/>
                  </a:lnTo>
                  <a:lnTo>
                    <a:pt x="143" y="57"/>
                  </a:lnTo>
                  <a:lnTo>
                    <a:pt x="128" y="44"/>
                  </a:lnTo>
                  <a:lnTo>
                    <a:pt x="120" y="38"/>
                  </a:lnTo>
                  <a:lnTo>
                    <a:pt x="111" y="32"/>
                  </a:lnTo>
                  <a:lnTo>
                    <a:pt x="103" y="27"/>
                  </a:lnTo>
                  <a:lnTo>
                    <a:pt x="94" y="22"/>
                  </a:lnTo>
                  <a:lnTo>
                    <a:pt x="23" y="22"/>
                  </a:lnTo>
                  <a:lnTo>
                    <a:pt x="23" y="73"/>
                  </a:lnTo>
                  <a:close/>
                  <a:moveTo>
                    <a:pt x="177" y="99"/>
                  </a:moveTo>
                  <a:lnTo>
                    <a:pt x="11" y="99"/>
                  </a:lnTo>
                  <a:lnTo>
                    <a:pt x="7" y="98"/>
                  </a:lnTo>
                  <a:lnTo>
                    <a:pt x="3" y="94"/>
                  </a:lnTo>
                  <a:lnTo>
                    <a:pt x="1" y="90"/>
                  </a:lnTo>
                  <a:lnTo>
                    <a:pt x="0" y="85"/>
                  </a:lnTo>
                  <a:lnTo>
                    <a:pt x="0" y="11"/>
                  </a:lnTo>
                  <a:lnTo>
                    <a:pt x="1" y="6"/>
                  </a:lnTo>
                  <a:lnTo>
                    <a:pt x="3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15" y="6"/>
                  </a:lnTo>
                  <a:lnTo>
                    <a:pt x="127" y="13"/>
                  </a:lnTo>
                  <a:lnTo>
                    <a:pt x="139" y="22"/>
                  </a:lnTo>
                  <a:lnTo>
                    <a:pt x="150" y="32"/>
                  </a:lnTo>
                  <a:lnTo>
                    <a:pt x="161" y="43"/>
                  </a:lnTo>
                  <a:lnTo>
                    <a:pt x="171" y="54"/>
                  </a:lnTo>
                  <a:lnTo>
                    <a:pt x="180" y="67"/>
                  </a:lnTo>
                  <a:lnTo>
                    <a:pt x="188" y="81"/>
                  </a:lnTo>
                  <a:lnTo>
                    <a:pt x="189" y="84"/>
                  </a:lnTo>
                  <a:lnTo>
                    <a:pt x="189" y="87"/>
                  </a:lnTo>
                  <a:lnTo>
                    <a:pt x="189" y="89"/>
                  </a:lnTo>
                  <a:lnTo>
                    <a:pt x="188" y="92"/>
                  </a:lnTo>
                  <a:lnTo>
                    <a:pt x="186" y="95"/>
                  </a:lnTo>
                  <a:lnTo>
                    <a:pt x="183" y="97"/>
                  </a:lnTo>
                  <a:lnTo>
                    <a:pt x="181" y="98"/>
                  </a:lnTo>
                  <a:lnTo>
                    <a:pt x="177" y="99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39" name="Freeform 270"/>
            <p:cNvSpPr>
              <a:spLocks/>
            </p:cNvSpPr>
            <p:nvPr/>
          </p:nvSpPr>
          <p:spPr bwMode="auto">
            <a:xfrm>
              <a:off x="3302000" y="5707063"/>
              <a:ext cx="34925" cy="57150"/>
            </a:xfrm>
            <a:custGeom>
              <a:avLst/>
              <a:gdLst>
                <a:gd name="T0" fmla="*/ 11 w 88"/>
                <a:gd name="T1" fmla="*/ 144 h 144"/>
                <a:gd name="T2" fmla="*/ 8 w 88"/>
                <a:gd name="T3" fmla="*/ 144 h 144"/>
                <a:gd name="T4" fmla="*/ 6 w 88"/>
                <a:gd name="T5" fmla="*/ 142 h 144"/>
                <a:gd name="T6" fmla="*/ 2 w 88"/>
                <a:gd name="T7" fmla="*/ 140 h 144"/>
                <a:gd name="T8" fmla="*/ 0 w 88"/>
                <a:gd name="T9" fmla="*/ 136 h 144"/>
                <a:gd name="T10" fmla="*/ 0 w 88"/>
                <a:gd name="T11" fmla="*/ 131 h 144"/>
                <a:gd name="T12" fmla="*/ 1 w 88"/>
                <a:gd name="T13" fmla="*/ 126 h 144"/>
                <a:gd name="T14" fmla="*/ 64 w 88"/>
                <a:gd name="T15" fmla="*/ 7 h 144"/>
                <a:gd name="T16" fmla="*/ 67 w 88"/>
                <a:gd name="T17" fmla="*/ 2 h 144"/>
                <a:gd name="T18" fmla="*/ 71 w 88"/>
                <a:gd name="T19" fmla="*/ 0 h 144"/>
                <a:gd name="T20" fmla="*/ 74 w 88"/>
                <a:gd name="T21" fmla="*/ 0 h 144"/>
                <a:gd name="T22" fmla="*/ 78 w 88"/>
                <a:gd name="T23" fmla="*/ 0 h 144"/>
                <a:gd name="T24" fmla="*/ 82 w 88"/>
                <a:gd name="T25" fmla="*/ 2 h 144"/>
                <a:gd name="T26" fmla="*/ 85 w 88"/>
                <a:gd name="T27" fmla="*/ 5 h 144"/>
                <a:gd name="T28" fmla="*/ 87 w 88"/>
                <a:gd name="T29" fmla="*/ 8 h 144"/>
                <a:gd name="T30" fmla="*/ 88 w 88"/>
                <a:gd name="T31" fmla="*/ 12 h 144"/>
                <a:gd name="T32" fmla="*/ 88 w 88"/>
                <a:gd name="T33" fmla="*/ 104 h 144"/>
                <a:gd name="T34" fmla="*/ 87 w 88"/>
                <a:gd name="T35" fmla="*/ 108 h 144"/>
                <a:gd name="T36" fmla="*/ 84 w 88"/>
                <a:gd name="T37" fmla="*/ 111 h 144"/>
                <a:gd name="T38" fmla="*/ 80 w 88"/>
                <a:gd name="T39" fmla="*/ 114 h 144"/>
                <a:gd name="T40" fmla="*/ 75 w 88"/>
                <a:gd name="T41" fmla="*/ 115 h 144"/>
                <a:gd name="T42" fmla="*/ 71 w 88"/>
                <a:gd name="T43" fmla="*/ 114 h 144"/>
                <a:gd name="T44" fmla="*/ 67 w 88"/>
                <a:gd name="T45" fmla="*/ 111 h 144"/>
                <a:gd name="T46" fmla="*/ 64 w 88"/>
                <a:gd name="T47" fmla="*/ 108 h 144"/>
                <a:gd name="T48" fmla="*/ 63 w 88"/>
                <a:gd name="T49" fmla="*/ 104 h 144"/>
                <a:gd name="T50" fmla="*/ 63 w 88"/>
                <a:gd name="T51" fmla="*/ 59 h 144"/>
                <a:gd name="T52" fmla="*/ 22 w 88"/>
                <a:gd name="T53" fmla="*/ 137 h 144"/>
                <a:gd name="T54" fmla="*/ 20 w 88"/>
                <a:gd name="T55" fmla="*/ 141 h 144"/>
                <a:gd name="T56" fmla="*/ 17 w 88"/>
                <a:gd name="T57" fmla="*/ 143 h 144"/>
                <a:gd name="T58" fmla="*/ 14 w 88"/>
                <a:gd name="T59" fmla="*/ 144 h 144"/>
                <a:gd name="T60" fmla="*/ 11 w 88"/>
                <a:gd name="T6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8" h="144">
                  <a:moveTo>
                    <a:pt x="11" y="144"/>
                  </a:moveTo>
                  <a:lnTo>
                    <a:pt x="8" y="144"/>
                  </a:lnTo>
                  <a:lnTo>
                    <a:pt x="6" y="142"/>
                  </a:lnTo>
                  <a:lnTo>
                    <a:pt x="2" y="140"/>
                  </a:lnTo>
                  <a:lnTo>
                    <a:pt x="0" y="136"/>
                  </a:lnTo>
                  <a:lnTo>
                    <a:pt x="0" y="131"/>
                  </a:lnTo>
                  <a:lnTo>
                    <a:pt x="1" y="126"/>
                  </a:lnTo>
                  <a:lnTo>
                    <a:pt x="64" y="7"/>
                  </a:lnTo>
                  <a:lnTo>
                    <a:pt x="67" y="2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82" y="2"/>
                  </a:lnTo>
                  <a:lnTo>
                    <a:pt x="85" y="5"/>
                  </a:lnTo>
                  <a:lnTo>
                    <a:pt x="87" y="8"/>
                  </a:lnTo>
                  <a:lnTo>
                    <a:pt x="88" y="12"/>
                  </a:lnTo>
                  <a:lnTo>
                    <a:pt x="88" y="104"/>
                  </a:lnTo>
                  <a:lnTo>
                    <a:pt x="87" y="108"/>
                  </a:lnTo>
                  <a:lnTo>
                    <a:pt x="84" y="111"/>
                  </a:lnTo>
                  <a:lnTo>
                    <a:pt x="80" y="114"/>
                  </a:lnTo>
                  <a:lnTo>
                    <a:pt x="75" y="115"/>
                  </a:lnTo>
                  <a:lnTo>
                    <a:pt x="71" y="114"/>
                  </a:lnTo>
                  <a:lnTo>
                    <a:pt x="67" y="111"/>
                  </a:lnTo>
                  <a:lnTo>
                    <a:pt x="64" y="108"/>
                  </a:lnTo>
                  <a:lnTo>
                    <a:pt x="63" y="104"/>
                  </a:lnTo>
                  <a:lnTo>
                    <a:pt x="63" y="59"/>
                  </a:lnTo>
                  <a:lnTo>
                    <a:pt x="22" y="137"/>
                  </a:lnTo>
                  <a:lnTo>
                    <a:pt x="20" y="141"/>
                  </a:lnTo>
                  <a:lnTo>
                    <a:pt x="17" y="143"/>
                  </a:lnTo>
                  <a:lnTo>
                    <a:pt x="14" y="144"/>
                  </a:lnTo>
                  <a:lnTo>
                    <a:pt x="11" y="14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0" name="Freeform 271"/>
            <p:cNvSpPr>
              <a:spLocks/>
            </p:cNvSpPr>
            <p:nvPr/>
          </p:nvSpPr>
          <p:spPr bwMode="auto">
            <a:xfrm>
              <a:off x="3327400" y="5786438"/>
              <a:ext cx="9525" cy="41275"/>
            </a:xfrm>
            <a:custGeom>
              <a:avLst/>
              <a:gdLst>
                <a:gd name="T0" fmla="*/ 12 w 25"/>
                <a:gd name="T1" fmla="*/ 101 h 101"/>
                <a:gd name="T2" fmla="*/ 8 w 25"/>
                <a:gd name="T3" fmla="*/ 100 h 101"/>
                <a:gd name="T4" fmla="*/ 4 w 25"/>
                <a:gd name="T5" fmla="*/ 98 h 101"/>
                <a:gd name="T6" fmla="*/ 1 w 25"/>
                <a:gd name="T7" fmla="*/ 94 h 101"/>
                <a:gd name="T8" fmla="*/ 0 w 25"/>
                <a:gd name="T9" fmla="*/ 89 h 101"/>
                <a:gd name="T10" fmla="*/ 0 w 25"/>
                <a:gd name="T11" fmla="*/ 13 h 101"/>
                <a:gd name="T12" fmla="*/ 1 w 25"/>
                <a:gd name="T13" fmla="*/ 8 h 101"/>
                <a:gd name="T14" fmla="*/ 4 w 25"/>
                <a:gd name="T15" fmla="*/ 3 h 101"/>
                <a:gd name="T16" fmla="*/ 8 w 25"/>
                <a:gd name="T17" fmla="*/ 1 h 101"/>
                <a:gd name="T18" fmla="*/ 12 w 25"/>
                <a:gd name="T19" fmla="*/ 0 h 101"/>
                <a:gd name="T20" fmla="*/ 17 w 25"/>
                <a:gd name="T21" fmla="*/ 1 h 101"/>
                <a:gd name="T22" fmla="*/ 21 w 25"/>
                <a:gd name="T23" fmla="*/ 3 h 101"/>
                <a:gd name="T24" fmla="*/ 24 w 25"/>
                <a:gd name="T25" fmla="*/ 8 h 101"/>
                <a:gd name="T26" fmla="*/ 25 w 25"/>
                <a:gd name="T27" fmla="*/ 13 h 101"/>
                <a:gd name="T28" fmla="*/ 25 w 25"/>
                <a:gd name="T29" fmla="*/ 89 h 101"/>
                <a:gd name="T30" fmla="*/ 24 w 25"/>
                <a:gd name="T31" fmla="*/ 94 h 101"/>
                <a:gd name="T32" fmla="*/ 21 w 25"/>
                <a:gd name="T33" fmla="*/ 98 h 101"/>
                <a:gd name="T34" fmla="*/ 17 w 25"/>
                <a:gd name="T35" fmla="*/ 100 h 101"/>
                <a:gd name="T36" fmla="*/ 12 w 25"/>
                <a:gd name="T3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01">
                  <a:moveTo>
                    <a:pt x="12" y="101"/>
                  </a:moveTo>
                  <a:lnTo>
                    <a:pt x="8" y="100"/>
                  </a:lnTo>
                  <a:lnTo>
                    <a:pt x="4" y="98"/>
                  </a:lnTo>
                  <a:lnTo>
                    <a:pt x="1" y="94"/>
                  </a:lnTo>
                  <a:lnTo>
                    <a:pt x="0" y="89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4" y="8"/>
                  </a:lnTo>
                  <a:lnTo>
                    <a:pt x="25" y="13"/>
                  </a:lnTo>
                  <a:lnTo>
                    <a:pt x="25" y="89"/>
                  </a:lnTo>
                  <a:lnTo>
                    <a:pt x="24" y="94"/>
                  </a:lnTo>
                  <a:lnTo>
                    <a:pt x="21" y="98"/>
                  </a:lnTo>
                  <a:lnTo>
                    <a:pt x="17" y="100"/>
                  </a:lnTo>
                  <a:lnTo>
                    <a:pt x="12" y="10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1" name="Freeform 272"/>
            <p:cNvSpPr>
              <a:spLocks/>
            </p:cNvSpPr>
            <p:nvPr/>
          </p:nvSpPr>
          <p:spPr bwMode="auto">
            <a:xfrm>
              <a:off x="3470275" y="5786438"/>
              <a:ext cx="9525" cy="41275"/>
            </a:xfrm>
            <a:custGeom>
              <a:avLst/>
              <a:gdLst>
                <a:gd name="T0" fmla="*/ 11 w 24"/>
                <a:gd name="T1" fmla="*/ 101 h 101"/>
                <a:gd name="T2" fmla="*/ 8 w 24"/>
                <a:gd name="T3" fmla="*/ 100 h 101"/>
                <a:gd name="T4" fmla="*/ 4 w 24"/>
                <a:gd name="T5" fmla="*/ 98 h 101"/>
                <a:gd name="T6" fmla="*/ 2 w 24"/>
                <a:gd name="T7" fmla="*/ 94 h 101"/>
                <a:gd name="T8" fmla="*/ 0 w 24"/>
                <a:gd name="T9" fmla="*/ 89 h 101"/>
                <a:gd name="T10" fmla="*/ 0 w 24"/>
                <a:gd name="T11" fmla="*/ 13 h 101"/>
                <a:gd name="T12" fmla="*/ 2 w 24"/>
                <a:gd name="T13" fmla="*/ 8 h 101"/>
                <a:gd name="T14" fmla="*/ 4 w 24"/>
                <a:gd name="T15" fmla="*/ 3 h 101"/>
                <a:gd name="T16" fmla="*/ 8 w 24"/>
                <a:gd name="T17" fmla="*/ 1 h 101"/>
                <a:gd name="T18" fmla="*/ 11 w 24"/>
                <a:gd name="T19" fmla="*/ 0 h 101"/>
                <a:gd name="T20" fmla="*/ 16 w 24"/>
                <a:gd name="T21" fmla="*/ 1 h 101"/>
                <a:gd name="T22" fmla="*/ 20 w 24"/>
                <a:gd name="T23" fmla="*/ 3 h 101"/>
                <a:gd name="T24" fmla="*/ 24 w 24"/>
                <a:gd name="T25" fmla="*/ 8 h 101"/>
                <a:gd name="T26" fmla="*/ 24 w 24"/>
                <a:gd name="T27" fmla="*/ 13 h 101"/>
                <a:gd name="T28" fmla="*/ 24 w 24"/>
                <a:gd name="T29" fmla="*/ 89 h 101"/>
                <a:gd name="T30" fmla="*/ 24 w 24"/>
                <a:gd name="T31" fmla="*/ 94 h 101"/>
                <a:gd name="T32" fmla="*/ 20 w 24"/>
                <a:gd name="T33" fmla="*/ 98 h 101"/>
                <a:gd name="T34" fmla="*/ 16 w 24"/>
                <a:gd name="T35" fmla="*/ 100 h 101"/>
                <a:gd name="T36" fmla="*/ 11 w 24"/>
                <a:gd name="T3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01">
                  <a:moveTo>
                    <a:pt x="11" y="101"/>
                  </a:moveTo>
                  <a:lnTo>
                    <a:pt x="8" y="100"/>
                  </a:lnTo>
                  <a:lnTo>
                    <a:pt x="4" y="98"/>
                  </a:lnTo>
                  <a:lnTo>
                    <a:pt x="2" y="94"/>
                  </a:lnTo>
                  <a:lnTo>
                    <a:pt x="0" y="89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4" y="8"/>
                  </a:lnTo>
                  <a:lnTo>
                    <a:pt x="24" y="13"/>
                  </a:lnTo>
                  <a:lnTo>
                    <a:pt x="24" y="89"/>
                  </a:lnTo>
                  <a:lnTo>
                    <a:pt x="24" y="94"/>
                  </a:lnTo>
                  <a:lnTo>
                    <a:pt x="20" y="98"/>
                  </a:lnTo>
                  <a:lnTo>
                    <a:pt x="16" y="100"/>
                  </a:lnTo>
                  <a:lnTo>
                    <a:pt x="11" y="101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2" name="Freeform 273"/>
            <p:cNvSpPr>
              <a:spLocks/>
            </p:cNvSpPr>
            <p:nvPr/>
          </p:nvSpPr>
          <p:spPr bwMode="auto">
            <a:xfrm>
              <a:off x="3354388" y="5492750"/>
              <a:ext cx="96838" cy="58738"/>
            </a:xfrm>
            <a:custGeom>
              <a:avLst/>
              <a:gdLst>
                <a:gd name="T0" fmla="*/ 101 w 246"/>
                <a:gd name="T1" fmla="*/ 0 h 147"/>
                <a:gd name="T2" fmla="*/ 92 w 246"/>
                <a:gd name="T3" fmla="*/ 2 h 147"/>
                <a:gd name="T4" fmla="*/ 83 w 246"/>
                <a:gd name="T5" fmla="*/ 5 h 147"/>
                <a:gd name="T6" fmla="*/ 75 w 246"/>
                <a:gd name="T7" fmla="*/ 8 h 147"/>
                <a:gd name="T8" fmla="*/ 68 w 246"/>
                <a:gd name="T9" fmla="*/ 12 h 147"/>
                <a:gd name="T10" fmla="*/ 53 w 246"/>
                <a:gd name="T11" fmla="*/ 21 h 147"/>
                <a:gd name="T12" fmla="*/ 41 w 246"/>
                <a:gd name="T13" fmla="*/ 31 h 147"/>
                <a:gd name="T14" fmla="*/ 28 w 246"/>
                <a:gd name="T15" fmla="*/ 44 h 147"/>
                <a:gd name="T16" fmla="*/ 19 w 246"/>
                <a:gd name="T17" fmla="*/ 57 h 147"/>
                <a:gd name="T18" fmla="*/ 11 w 246"/>
                <a:gd name="T19" fmla="*/ 73 h 147"/>
                <a:gd name="T20" fmla="*/ 5 w 246"/>
                <a:gd name="T21" fmla="*/ 91 h 147"/>
                <a:gd name="T22" fmla="*/ 3 w 246"/>
                <a:gd name="T23" fmla="*/ 104 h 147"/>
                <a:gd name="T24" fmla="*/ 0 w 246"/>
                <a:gd name="T25" fmla="*/ 119 h 147"/>
                <a:gd name="T26" fmla="*/ 0 w 246"/>
                <a:gd name="T27" fmla="*/ 133 h 147"/>
                <a:gd name="T28" fmla="*/ 0 w 246"/>
                <a:gd name="T29" fmla="*/ 147 h 147"/>
                <a:gd name="T30" fmla="*/ 125 w 246"/>
                <a:gd name="T31" fmla="*/ 147 h 147"/>
                <a:gd name="T32" fmla="*/ 143 w 246"/>
                <a:gd name="T33" fmla="*/ 147 h 147"/>
                <a:gd name="T34" fmla="*/ 185 w 246"/>
                <a:gd name="T35" fmla="*/ 147 h 147"/>
                <a:gd name="T36" fmla="*/ 227 w 246"/>
                <a:gd name="T37" fmla="*/ 147 h 147"/>
                <a:gd name="T38" fmla="*/ 245 w 246"/>
                <a:gd name="T39" fmla="*/ 147 h 147"/>
                <a:gd name="T40" fmla="*/ 246 w 246"/>
                <a:gd name="T41" fmla="*/ 141 h 147"/>
                <a:gd name="T42" fmla="*/ 245 w 246"/>
                <a:gd name="T43" fmla="*/ 126 h 147"/>
                <a:gd name="T44" fmla="*/ 243 w 246"/>
                <a:gd name="T45" fmla="*/ 110 h 147"/>
                <a:gd name="T46" fmla="*/ 240 w 246"/>
                <a:gd name="T47" fmla="*/ 102 h 147"/>
                <a:gd name="T48" fmla="*/ 238 w 246"/>
                <a:gd name="T49" fmla="*/ 86 h 147"/>
                <a:gd name="T50" fmla="*/ 233 w 246"/>
                <a:gd name="T51" fmla="*/ 70 h 147"/>
                <a:gd name="T52" fmla="*/ 226 w 246"/>
                <a:gd name="T53" fmla="*/ 56 h 147"/>
                <a:gd name="T54" fmla="*/ 217 w 246"/>
                <a:gd name="T55" fmla="*/ 43 h 147"/>
                <a:gd name="T56" fmla="*/ 210 w 246"/>
                <a:gd name="T57" fmla="*/ 35 h 147"/>
                <a:gd name="T58" fmla="*/ 202 w 246"/>
                <a:gd name="T59" fmla="*/ 28 h 147"/>
                <a:gd name="T60" fmla="*/ 195 w 246"/>
                <a:gd name="T61" fmla="*/ 22 h 147"/>
                <a:gd name="T62" fmla="*/ 186 w 246"/>
                <a:gd name="T63" fmla="*/ 16 h 147"/>
                <a:gd name="T64" fmla="*/ 177 w 246"/>
                <a:gd name="T65" fmla="*/ 11 h 147"/>
                <a:gd name="T66" fmla="*/ 168 w 246"/>
                <a:gd name="T67" fmla="*/ 7 h 147"/>
                <a:gd name="T68" fmla="*/ 158 w 246"/>
                <a:gd name="T69" fmla="*/ 4 h 147"/>
                <a:gd name="T70" fmla="*/ 148 w 246"/>
                <a:gd name="T71" fmla="*/ 0 h 147"/>
                <a:gd name="T72" fmla="*/ 101 w 246"/>
                <a:gd name="T7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6" h="147">
                  <a:moveTo>
                    <a:pt x="101" y="0"/>
                  </a:moveTo>
                  <a:lnTo>
                    <a:pt x="92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2"/>
                  </a:lnTo>
                  <a:lnTo>
                    <a:pt x="53" y="21"/>
                  </a:lnTo>
                  <a:lnTo>
                    <a:pt x="41" y="31"/>
                  </a:lnTo>
                  <a:lnTo>
                    <a:pt x="28" y="44"/>
                  </a:lnTo>
                  <a:lnTo>
                    <a:pt x="19" y="57"/>
                  </a:lnTo>
                  <a:lnTo>
                    <a:pt x="11" y="73"/>
                  </a:lnTo>
                  <a:lnTo>
                    <a:pt x="5" y="91"/>
                  </a:lnTo>
                  <a:lnTo>
                    <a:pt x="3" y="104"/>
                  </a:lnTo>
                  <a:lnTo>
                    <a:pt x="0" y="119"/>
                  </a:lnTo>
                  <a:lnTo>
                    <a:pt x="0" y="133"/>
                  </a:lnTo>
                  <a:lnTo>
                    <a:pt x="0" y="147"/>
                  </a:lnTo>
                  <a:lnTo>
                    <a:pt x="125" y="147"/>
                  </a:lnTo>
                  <a:lnTo>
                    <a:pt x="143" y="147"/>
                  </a:lnTo>
                  <a:lnTo>
                    <a:pt x="185" y="147"/>
                  </a:lnTo>
                  <a:lnTo>
                    <a:pt x="227" y="147"/>
                  </a:lnTo>
                  <a:lnTo>
                    <a:pt x="245" y="147"/>
                  </a:lnTo>
                  <a:lnTo>
                    <a:pt x="246" y="141"/>
                  </a:lnTo>
                  <a:lnTo>
                    <a:pt x="245" y="126"/>
                  </a:lnTo>
                  <a:lnTo>
                    <a:pt x="243" y="110"/>
                  </a:lnTo>
                  <a:lnTo>
                    <a:pt x="240" y="102"/>
                  </a:lnTo>
                  <a:lnTo>
                    <a:pt x="238" y="86"/>
                  </a:lnTo>
                  <a:lnTo>
                    <a:pt x="233" y="70"/>
                  </a:lnTo>
                  <a:lnTo>
                    <a:pt x="226" y="56"/>
                  </a:lnTo>
                  <a:lnTo>
                    <a:pt x="217" y="43"/>
                  </a:lnTo>
                  <a:lnTo>
                    <a:pt x="210" y="35"/>
                  </a:lnTo>
                  <a:lnTo>
                    <a:pt x="202" y="28"/>
                  </a:lnTo>
                  <a:lnTo>
                    <a:pt x="195" y="22"/>
                  </a:lnTo>
                  <a:lnTo>
                    <a:pt x="186" y="16"/>
                  </a:lnTo>
                  <a:lnTo>
                    <a:pt x="177" y="11"/>
                  </a:lnTo>
                  <a:lnTo>
                    <a:pt x="168" y="7"/>
                  </a:lnTo>
                  <a:lnTo>
                    <a:pt x="158" y="4"/>
                  </a:lnTo>
                  <a:lnTo>
                    <a:pt x="148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3" name="Freeform 274"/>
            <p:cNvSpPr>
              <a:spLocks/>
            </p:cNvSpPr>
            <p:nvPr/>
          </p:nvSpPr>
          <p:spPr bwMode="auto">
            <a:xfrm>
              <a:off x="3348038" y="5487988"/>
              <a:ext cx="107950" cy="68263"/>
            </a:xfrm>
            <a:custGeom>
              <a:avLst/>
              <a:gdLst>
                <a:gd name="T0" fmla="*/ 12 w 271"/>
                <a:gd name="T1" fmla="*/ 171 h 171"/>
                <a:gd name="T2" fmla="*/ 4 w 271"/>
                <a:gd name="T3" fmla="*/ 168 h 171"/>
                <a:gd name="T4" fmla="*/ 0 w 271"/>
                <a:gd name="T5" fmla="*/ 160 h 171"/>
                <a:gd name="T6" fmla="*/ 1 w 271"/>
                <a:gd name="T7" fmla="*/ 128 h 171"/>
                <a:gd name="T8" fmla="*/ 6 w 271"/>
                <a:gd name="T9" fmla="*/ 99 h 171"/>
                <a:gd name="T10" fmla="*/ 12 w 271"/>
                <a:gd name="T11" fmla="*/ 79 h 171"/>
                <a:gd name="T12" fmla="*/ 21 w 271"/>
                <a:gd name="T13" fmla="*/ 62 h 171"/>
                <a:gd name="T14" fmla="*/ 32 w 271"/>
                <a:gd name="T15" fmla="*/ 46 h 171"/>
                <a:gd name="T16" fmla="*/ 44 w 271"/>
                <a:gd name="T17" fmla="*/ 33 h 171"/>
                <a:gd name="T18" fmla="*/ 59 w 271"/>
                <a:gd name="T19" fmla="*/ 21 h 171"/>
                <a:gd name="T20" fmla="*/ 75 w 271"/>
                <a:gd name="T21" fmla="*/ 12 h 171"/>
                <a:gd name="T22" fmla="*/ 92 w 271"/>
                <a:gd name="T23" fmla="*/ 5 h 171"/>
                <a:gd name="T24" fmla="*/ 110 w 271"/>
                <a:gd name="T25" fmla="*/ 0 h 171"/>
                <a:gd name="T26" fmla="*/ 119 w 271"/>
                <a:gd name="T27" fmla="*/ 1 h 171"/>
                <a:gd name="T28" fmla="*/ 124 w 271"/>
                <a:gd name="T29" fmla="*/ 10 h 171"/>
                <a:gd name="T30" fmla="*/ 122 w 271"/>
                <a:gd name="T31" fmla="*/ 18 h 171"/>
                <a:gd name="T32" fmla="*/ 114 w 271"/>
                <a:gd name="T33" fmla="*/ 23 h 171"/>
                <a:gd name="T34" fmla="*/ 86 w 271"/>
                <a:gd name="T35" fmla="*/ 33 h 171"/>
                <a:gd name="T36" fmla="*/ 60 w 271"/>
                <a:gd name="T37" fmla="*/ 51 h 171"/>
                <a:gd name="T38" fmla="*/ 42 w 271"/>
                <a:gd name="T39" fmla="*/ 75 h 171"/>
                <a:gd name="T40" fmla="*/ 29 w 271"/>
                <a:gd name="T41" fmla="*/ 106 h 171"/>
                <a:gd name="T42" fmla="*/ 24 w 271"/>
                <a:gd name="T43" fmla="*/ 126 h 171"/>
                <a:gd name="T44" fmla="*/ 23 w 271"/>
                <a:gd name="T45" fmla="*/ 147 h 171"/>
                <a:gd name="T46" fmla="*/ 245 w 271"/>
                <a:gd name="T47" fmla="*/ 135 h 171"/>
                <a:gd name="T48" fmla="*/ 241 w 271"/>
                <a:gd name="T49" fmla="*/ 113 h 171"/>
                <a:gd name="T50" fmla="*/ 234 w 271"/>
                <a:gd name="T51" fmla="*/ 86 h 171"/>
                <a:gd name="T52" fmla="*/ 219 w 271"/>
                <a:gd name="T53" fmla="*/ 61 h 171"/>
                <a:gd name="T54" fmla="*/ 207 w 271"/>
                <a:gd name="T55" fmla="*/ 49 h 171"/>
                <a:gd name="T56" fmla="*/ 192 w 271"/>
                <a:gd name="T57" fmla="*/ 38 h 171"/>
                <a:gd name="T58" fmla="*/ 175 w 271"/>
                <a:gd name="T59" fmla="*/ 31 h 171"/>
                <a:gd name="T60" fmla="*/ 158 w 271"/>
                <a:gd name="T61" fmla="*/ 24 h 171"/>
                <a:gd name="T62" fmla="*/ 151 w 271"/>
                <a:gd name="T63" fmla="*/ 18 h 171"/>
                <a:gd name="T64" fmla="*/ 148 w 271"/>
                <a:gd name="T65" fmla="*/ 10 h 171"/>
                <a:gd name="T66" fmla="*/ 153 w 271"/>
                <a:gd name="T67" fmla="*/ 4 h 171"/>
                <a:gd name="T68" fmla="*/ 163 w 271"/>
                <a:gd name="T69" fmla="*/ 0 h 171"/>
                <a:gd name="T70" fmla="*/ 185 w 271"/>
                <a:gd name="T71" fmla="*/ 7 h 171"/>
                <a:gd name="T72" fmla="*/ 204 w 271"/>
                <a:gd name="T73" fmla="*/ 17 h 171"/>
                <a:gd name="T74" fmla="*/ 223 w 271"/>
                <a:gd name="T75" fmla="*/ 31 h 171"/>
                <a:gd name="T76" fmla="*/ 239 w 271"/>
                <a:gd name="T77" fmla="*/ 48 h 171"/>
                <a:gd name="T78" fmla="*/ 256 w 271"/>
                <a:gd name="T79" fmla="*/ 76 h 171"/>
                <a:gd name="T80" fmla="*/ 266 w 271"/>
                <a:gd name="T81" fmla="*/ 110 h 171"/>
                <a:gd name="T82" fmla="*/ 269 w 271"/>
                <a:gd name="T83" fmla="*/ 139 h 171"/>
                <a:gd name="T84" fmla="*/ 269 w 271"/>
                <a:gd name="T85" fmla="*/ 162 h 171"/>
                <a:gd name="T86" fmla="*/ 262 w 271"/>
                <a:gd name="T87" fmla="*/ 17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1" h="171">
                  <a:moveTo>
                    <a:pt x="257" y="171"/>
                  </a:moveTo>
                  <a:lnTo>
                    <a:pt x="12" y="171"/>
                  </a:lnTo>
                  <a:lnTo>
                    <a:pt x="7" y="170"/>
                  </a:lnTo>
                  <a:lnTo>
                    <a:pt x="4" y="168"/>
                  </a:lnTo>
                  <a:lnTo>
                    <a:pt x="1" y="164"/>
                  </a:lnTo>
                  <a:lnTo>
                    <a:pt x="0" y="160"/>
                  </a:lnTo>
                  <a:lnTo>
                    <a:pt x="0" y="143"/>
                  </a:lnTo>
                  <a:lnTo>
                    <a:pt x="1" y="128"/>
                  </a:lnTo>
                  <a:lnTo>
                    <a:pt x="2" y="113"/>
                  </a:lnTo>
                  <a:lnTo>
                    <a:pt x="6" y="99"/>
                  </a:lnTo>
                  <a:lnTo>
                    <a:pt x="8" y="89"/>
                  </a:lnTo>
                  <a:lnTo>
                    <a:pt x="12" y="79"/>
                  </a:lnTo>
                  <a:lnTo>
                    <a:pt x="16" y="71"/>
                  </a:lnTo>
                  <a:lnTo>
                    <a:pt x="21" y="62"/>
                  </a:lnTo>
                  <a:lnTo>
                    <a:pt x="26" y="54"/>
                  </a:lnTo>
                  <a:lnTo>
                    <a:pt x="32" y="46"/>
                  </a:lnTo>
                  <a:lnTo>
                    <a:pt x="38" y="39"/>
                  </a:lnTo>
                  <a:lnTo>
                    <a:pt x="44" y="33"/>
                  </a:lnTo>
                  <a:lnTo>
                    <a:pt x="51" y="27"/>
                  </a:lnTo>
                  <a:lnTo>
                    <a:pt x="59" y="21"/>
                  </a:lnTo>
                  <a:lnTo>
                    <a:pt x="66" y="16"/>
                  </a:lnTo>
                  <a:lnTo>
                    <a:pt x="75" y="12"/>
                  </a:lnTo>
                  <a:lnTo>
                    <a:pt x="83" y="8"/>
                  </a:lnTo>
                  <a:lnTo>
                    <a:pt x="92" y="5"/>
                  </a:lnTo>
                  <a:lnTo>
                    <a:pt x="100" y="2"/>
                  </a:lnTo>
                  <a:lnTo>
                    <a:pt x="110" y="0"/>
                  </a:lnTo>
                  <a:lnTo>
                    <a:pt x="115" y="0"/>
                  </a:lnTo>
                  <a:lnTo>
                    <a:pt x="119" y="1"/>
                  </a:lnTo>
                  <a:lnTo>
                    <a:pt x="122" y="5"/>
                  </a:lnTo>
                  <a:lnTo>
                    <a:pt x="124" y="10"/>
                  </a:lnTo>
                  <a:lnTo>
                    <a:pt x="124" y="15"/>
                  </a:lnTo>
                  <a:lnTo>
                    <a:pt x="122" y="18"/>
                  </a:lnTo>
                  <a:lnTo>
                    <a:pt x="119" y="22"/>
                  </a:lnTo>
                  <a:lnTo>
                    <a:pt x="114" y="23"/>
                  </a:lnTo>
                  <a:lnTo>
                    <a:pt x="99" y="27"/>
                  </a:lnTo>
                  <a:lnTo>
                    <a:pt x="86" y="33"/>
                  </a:lnTo>
                  <a:lnTo>
                    <a:pt x="72" y="42"/>
                  </a:lnTo>
                  <a:lnTo>
                    <a:pt x="60" y="51"/>
                  </a:lnTo>
                  <a:lnTo>
                    <a:pt x="50" y="62"/>
                  </a:lnTo>
                  <a:lnTo>
                    <a:pt x="42" y="75"/>
                  </a:lnTo>
                  <a:lnTo>
                    <a:pt x="34" y="89"/>
                  </a:lnTo>
                  <a:lnTo>
                    <a:pt x="29" y="106"/>
                  </a:lnTo>
                  <a:lnTo>
                    <a:pt x="27" y="116"/>
                  </a:lnTo>
                  <a:lnTo>
                    <a:pt x="24" y="126"/>
                  </a:lnTo>
                  <a:lnTo>
                    <a:pt x="24" y="136"/>
                  </a:lnTo>
                  <a:lnTo>
                    <a:pt x="23" y="147"/>
                  </a:lnTo>
                  <a:lnTo>
                    <a:pt x="246" y="147"/>
                  </a:lnTo>
                  <a:lnTo>
                    <a:pt x="245" y="135"/>
                  </a:lnTo>
                  <a:lnTo>
                    <a:pt x="241" y="117"/>
                  </a:lnTo>
                  <a:lnTo>
                    <a:pt x="241" y="113"/>
                  </a:lnTo>
                  <a:lnTo>
                    <a:pt x="239" y="99"/>
                  </a:lnTo>
                  <a:lnTo>
                    <a:pt x="234" y="86"/>
                  </a:lnTo>
                  <a:lnTo>
                    <a:pt x="228" y="73"/>
                  </a:lnTo>
                  <a:lnTo>
                    <a:pt x="219" y="61"/>
                  </a:lnTo>
                  <a:lnTo>
                    <a:pt x="213" y="55"/>
                  </a:lnTo>
                  <a:lnTo>
                    <a:pt x="207" y="49"/>
                  </a:lnTo>
                  <a:lnTo>
                    <a:pt x="200" y="43"/>
                  </a:lnTo>
                  <a:lnTo>
                    <a:pt x="192" y="38"/>
                  </a:lnTo>
                  <a:lnTo>
                    <a:pt x="184" y="33"/>
                  </a:lnTo>
                  <a:lnTo>
                    <a:pt x="175" y="31"/>
                  </a:lnTo>
                  <a:lnTo>
                    <a:pt x="167" y="27"/>
                  </a:lnTo>
                  <a:lnTo>
                    <a:pt x="158" y="24"/>
                  </a:lnTo>
                  <a:lnTo>
                    <a:pt x="153" y="22"/>
                  </a:lnTo>
                  <a:lnTo>
                    <a:pt x="151" y="18"/>
                  </a:lnTo>
                  <a:lnTo>
                    <a:pt x="148" y="15"/>
                  </a:lnTo>
                  <a:lnTo>
                    <a:pt x="148" y="10"/>
                  </a:lnTo>
                  <a:lnTo>
                    <a:pt x="151" y="6"/>
                  </a:lnTo>
                  <a:lnTo>
                    <a:pt x="153" y="4"/>
                  </a:lnTo>
                  <a:lnTo>
                    <a:pt x="158" y="1"/>
                  </a:lnTo>
                  <a:lnTo>
                    <a:pt x="163" y="0"/>
                  </a:lnTo>
                  <a:lnTo>
                    <a:pt x="174" y="4"/>
                  </a:lnTo>
                  <a:lnTo>
                    <a:pt x="185" y="7"/>
                  </a:lnTo>
                  <a:lnTo>
                    <a:pt x="195" y="12"/>
                  </a:lnTo>
                  <a:lnTo>
                    <a:pt x="204" y="17"/>
                  </a:lnTo>
                  <a:lnTo>
                    <a:pt x="214" y="23"/>
                  </a:lnTo>
                  <a:lnTo>
                    <a:pt x="223" y="31"/>
                  </a:lnTo>
                  <a:lnTo>
                    <a:pt x="231" y="39"/>
                  </a:lnTo>
                  <a:lnTo>
                    <a:pt x="239" y="48"/>
                  </a:lnTo>
                  <a:lnTo>
                    <a:pt x="249" y="61"/>
                  </a:lnTo>
                  <a:lnTo>
                    <a:pt x="256" y="76"/>
                  </a:lnTo>
                  <a:lnTo>
                    <a:pt x="262" y="93"/>
                  </a:lnTo>
                  <a:lnTo>
                    <a:pt x="266" y="110"/>
                  </a:lnTo>
                  <a:lnTo>
                    <a:pt x="266" y="115"/>
                  </a:lnTo>
                  <a:lnTo>
                    <a:pt x="269" y="139"/>
                  </a:lnTo>
                  <a:lnTo>
                    <a:pt x="271" y="154"/>
                  </a:lnTo>
                  <a:lnTo>
                    <a:pt x="269" y="162"/>
                  </a:lnTo>
                  <a:lnTo>
                    <a:pt x="267" y="166"/>
                  </a:lnTo>
                  <a:lnTo>
                    <a:pt x="262" y="170"/>
                  </a:lnTo>
                  <a:lnTo>
                    <a:pt x="257" y="171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4" name="Freeform 275"/>
            <p:cNvSpPr>
              <a:spLocks/>
            </p:cNvSpPr>
            <p:nvPr/>
          </p:nvSpPr>
          <p:spPr bwMode="auto">
            <a:xfrm>
              <a:off x="3392488" y="5481638"/>
              <a:ext cx="20638" cy="34925"/>
            </a:xfrm>
            <a:custGeom>
              <a:avLst/>
              <a:gdLst>
                <a:gd name="T0" fmla="*/ 43 w 50"/>
                <a:gd name="T1" fmla="*/ 87 h 87"/>
                <a:gd name="T2" fmla="*/ 8 w 50"/>
                <a:gd name="T3" fmla="*/ 87 h 87"/>
                <a:gd name="T4" fmla="*/ 0 w 50"/>
                <a:gd name="T5" fmla="*/ 0 h 87"/>
                <a:gd name="T6" fmla="*/ 50 w 50"/>
                <a:gd name="T7" fmla="*/ 0 h 87"/>
                <a:gd name="T8" fmla="*/ 43 w 50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87">
                  <a:moveTo>
                    <a:pt x="43" y="87"/>
                  </a:moveTo>
                  <a:lnTo>
                    <a:pt x="8" y="87"/>
                  </a:lnTo>
                  <a:lnTo>
                    <a:pt x="0" y="0"/>
                  </a:lnTo>
                  <a:lnTo>
                    <a:pt x="50" y="0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5" name="Freeform 276"/>
            <p:cNvSpPr>
              <a:spLocks noEditPoints="1"/>
            </p:cNvSpPr>
            <p:nvPr/>
          </p:nvSpPr>
          <p:spPr bwMode="auto">
            <a:xfrm>
              <a:off x="3387725" y="5476875"/>
              <a:ext cx="30163" cy="44450"/>
            </a:xfrm>
            <a:custGeom>
              <a:avLst/>
              <a:gdLst>
                <a:gd name="T0" fmla="*/ 31 w 75"/>
                <a:gd name="T1" fmla="*/ 88 h 110"/>
                <a:gd name="T2" fmla="*/ 44 w 75"/>
                <a:gd name="T3" fmla="*/ 88 h 110"/>
                <a:gd name="T4" fmla="*/ 49 w 75"/>
                <a:gd name="T5" fmla="*/ 25 h 110"/>
                <a:gd name="T6" fmla="*/ 24 w 75"/>
                <a:gd name="T7" fmla="*/ 25 h 110"/>
                <a:gd name="T8" fmla="*/ 31 w 75"/>
                <a:gd name="T9" fmla="*/ 88 h 110"/>
                <a:gd name="T10" fmla="*/ 55 w 75"/>
                <a:gd name="T11" fmla="*/ 110 h 110"/>
                <a:gd name="T12" fmla="*/ 20 w 75"/>
                <a:gd name="T13" fmla="*/ 110 h 110"/>
                <a:gd name="T14" fmla="*/ 15 w 75"/>
                <a:gd name="T15" fmla="*/ 110 h 110"/>
                <a:gd name="T16" fmla="*/ 11 w 75"/>
                <a:gd name="T17" fmla="*/ 107 h 110"/>
                <a:gd name="T18" fmla="*/ 8 w 75"/>
                <a:gd name="T19" fmla="*/ 104 h 110"/>
                <a:gd name="T20" fmla="*/ 7 w 75"/>
                <a:gd name="T21" fmla="*/ 99 h 110"/>
                <a:gd name="T22" fmla="*/ 0 w 75"/>
                <a:gd name="T23" fmla="*/ 13 h 110"/>
                <a:gd name="T24" fmla="*/ 0 w 75"/>
                <a:gd name="T25" fmla="*/ 11 h 110"/>
                <a:gd name="T26" fmla="*/ 1 w 75"/>
                <a:gd name="T27" fmla="*/ 8 h 110"/>
                <a:gd name="T28" fmla="*/ 2 w 75"/>
                <a:gd name="T29" fmla="*/ 6 h 110"/>
                <a:gd name="T30" fmla="*/ 4 w 75"/>
                <a:gd name="T31" fmla="*/ 4 h 110"/>
                <a:gd name="T32" fmla="*/ 7 w 75"/>
                <a:gd name="T33" fmla="*/ 1 h 110"/>
                <a:gd name="T34" fmla="*/ 12 w 75"/>
                <a:gd name="T35" fmla="*/ 0 h 110"/>
                <a:gd name="T36" fmla="*/ 62 w 75"/>
                <a:gd name="T37" fmla="*/ 0 h 110"/>
                <a:gd name="T38" fmla="*/ 67 w 75"/>
                <a:gd name="T39" fmla="*/ 1 h 110"/>
                <a:gd name="T40" fmla="*/ 71 w 75"/>
                <a:gd name="T41" fmla="*/ 4 h 110"/>
                <a:gd name="T42" fmla="*/ 73 w 75"/>
                <a:gd name="T43" fmla="*/ 8 h 110"/>
                <a:gd name="T44" fmla="*/ 75 w 75"/>
                <a:gd name="T45" fmla="*/ 13 h 110"/>
                <a:gd name="T46" fmla="*/ 67 w 75"/>
                <a:gd name="T47" fmla="*/ 99 h 110"/>
                <a:gd name="T48" fmla="*/ 66 w 75"/>
                <a:gd name="T49" fmla="*/ 104 h 110"/>
                <a:gd name="T50" fmla="*/ 64 w 75"/>
                <a:gd name="T51" fmla="*/ 107 h 110"/>
                <a:gd name="T52" fmla="*/ 60 w 75"/>
                <a:gd name="T53" fmla="*/ 110 h 110"/>
                <a:gd name="T54" fmla="*/ 55 w 75"/>
                <a:gd name="T5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5" h="110">
                  <a:moveTo>
                    <a:pt x="31" y="88"/>
                  </a:moveTo>
                  <a:lnTo>
                    <a:pt x="44" y="88"/>
                  </a:lnTo>
                  <a:lnTo>
                    <a:pt x="49" y="25"/>
                  </a:lnTo>
                  <a:lnTo>
                    <a:pt x="24" y="25"/>
                  </a:lnTo>
                  <a:lnTo>
                    <a:pt x="31" y="88"/>
                  </a:lnTo>
                  <a:close/>
                  <a:moveTo>
                    <a:pt x="55" y="110"/>
                  </a:moveTo>
                  <a:lnTo>
                    <a:pt x="20" y="110"/>
                  </a:lnTo>
                  <a:lnTo>
                    <a:pt x="15" y="110"/>
                  </a:lnTo>
                  <a:lnTo>
                    <a:pt x="11" y="107"/>
                  </a:lnTo>
                  <a:lnTo>
                    <a:pt x="8" y="104"/>
                  </a:lnTo>
                  <a:lnTo>
                    <a:pt x="7" y="99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1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62" y="0"/>
                  </a:lnTo>
                  <a:lnTo>
                    <a:pt x="67" y="1"/>
                  </a:lnTo>
                  <a:lnTo>
                    <a:pt x="71" y="4"/>
                  </a:lnTo>
                  <a:lnTo>
                    <a:pt x="73" y="8"/>
                  </a:lnTo>
                  <a:lnTo>
                    <a:pt x="75" y="13"/>
                  </a:lnTo>
                  <a:lnTo>
                    <a:pt x="67" y="99"/>
                  </a:lnTo>
                  <a:lnTo>
                    <a:pt x="66" y="104"/>
                  </a:lnTo>
                  <a:lnTo>
                    <a:pt x="64" y="107"/>
                  </a:lnTo>
                  <a:lnTo>
                    <a:pt x="60" y="110"/>
                  </a:lnTo>
                  <a:lnTo>
                    <a:pt x="55" y="11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6" name="Freeform 277"/>
            <p:cNvSpPr>
              <a:spLocks/>
            </p:cNvSpPr>
            <p:nvPr/>
          </p:nvSpPr>
          <p:spPr bwMode="auto">
            <a:xfrm>
              <a:off x="3341688" y="5546725"/>
              <a:ext cx="120650" cy="9525"/>
            </a:xfrm>
            <a:custGeom>
              <a:avLst/>
              <a:gdLst>
                <a:gd name="T0" fmla="*/ 290 w 303"/>
                <a:gd name="T1" fmla="*/ 24 h 24"/>
                <a:gd name="T2" fmla="*/ 11 w 303"/>
                <a:gd name="T3" fmla="*/ 24 h 24"/>
                <a:gd name="T4" fmla="*/ 6 w 303"/>
                <a:gd name="T5" fmla="*/ 23 h 24"/>
                <a:gd name="T6" fmla="*/ 2 w 303"/>
                <a:gd name="T7" fmla="*/ 19 h 24"/>
                <a:gd name="T8" fmla="*/ 0 w 303"/>
                <a:gd name="T9" fmla="*/ 16 h 24"/>
                <a:gd name="T10" fmla="*/ 0 w 303"/>
                <a:gd name="T11" fmla="*/ 11 h 24"/>
                <a:gd name="T12" fmla="*/ 0 w 303"/>
                <a:gd name="T13" fmla="*/ 6 h 24"/>
                <a:gd name="T14" fmla="*/ 2 w 303"/>
                <a:gd name="T15" fmla="*/ 2 h 24"/>
                <a:gd name="T16" fmla="*/ 6 w 303"/>
                <a:gd name="T17" fmla="*/ 0 h 24"/>
                <a:gd name="T18" fmla="*/ 11 w 303"/>
                <a:gd name="T19" fmla="*/ 0 h 24"/>
                <a:gd name="T20" fmla="*/ 290 w 303"/>
                <a:gd name="T21" fmla="*/ 0 h 24"/>
                <a:gd name="T22" fmla="*/ 295 w 303"/>
                <a:gd name="T23" fmla="*/ 0 h 24"/>
                <a:gd name="T24" fmla="*/ 299 w 303"/>
                <a:gd name="T25" fmla="*/ 2 h 24"/>
                <a:gd name="T26" fmla="*/ 301 w 303"/>
                <a:gd name="T27" fmla="*/ 6 h 24"/>
                <a:gd name="T28" fmla="*/ 303 w 303"/>
                <a:gd name="T29" fmla="*/ 11 h 24"/>
                <a:gd name="T30" fmla="*/ 301 w 303"/>
                <a:gd name="T31" fmla="*/ 16 h 24"/>
                <a:gd name="T32" fmla="*/ 299 w 303"/>
                <a:gd name="T33" fmla="*/ 19 h 24"/>
                <a:gd name="T34" fmla="*/ 295 w 303"/>
                <a:gd name="T35" fmla="*/ 23 h 24"/>
                <a:gd name="T36" fmla="*/ 290 w 303"/>
                <a:gd name="T3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3" h="24">
                  <a:moveTo>
                    <a:pt x="290" y="24"/>
                  </a:moveTo>
                  <a:lnTo>
                    <a:pt x="11" y="24"/>
                  </a:lnTo>
                  <a:lnTo>
                    <a:pt x="6" y="23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1" y="0"/>
                  </a:lnTo>
                  <a:lnTo>
                    <a:pt x="290" y="0"/>
                  </a:lnTo>
                  <a:lnTo>
                    <a:pt x="295" y="0"/>
                  </a:lnTo>
                  <a:lnTo>
                    <a:pt x="299" y="2"/>
                  </a:lnTo>
                  <a:lnTo>
                    <a:pt x="301" y="6"/>
                  </a:lnTo>
                  <a:lnTo>
                    <a:pt x="303" y="11"/>
                  </a:lnTo>
                  <a:lnTo>
                    <a:pt x="301" y="16"/>
                  </a:lnTo>
                  <a:lnTo>
                    <a:pt x="299" y="19"/>
                  </a:lnTo>
                  <a:lnTo>
                    <a:pt x="295" y="23"/>
                  </a:lnTo>
                  <a:lnTo>
                    <a:pt x="290" y="2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7" name="Freeform 278"/>
            <p:cNvSpPr>
              <a:spLocks noEditPoints="1"/>
            </p:cNvSpPr>
            <p:nvPr/>
          </p:nvSpPr>
          <p:spPr bwMode="auto">
            <a:xfrm>
              <a:off x="3365500" y="5559425"/>
              <a:ext cx="34925" cy="28575"/>
            </a:xfrm>
            <a:custGeom>
              <a:avLst/>
              <a:gdLst>
                <a:gd name="T0" fmla="*/ 34 w 88"/>
                <a:gd name="T1" fmla="*/ 24 h 70"/>
                <a:gd name="T2" fmla="*/ 30 w 88"/>
                <a:gd name="T3" fmla="*/ 26 h 70"/>
                <a:gd name="T4" fmla="*/ 27 w 88"/>
                <a:gd name="T5" fmla="*/ 28 h 70"/>
                <a:gd name="T6" fmla="*/ 24 w 88"/>
                <a:gd name="T7" fmla="*/ 31 h 70"/>
                <a:gd name="T8" fmla="*/ 23 w 88"/>
                <a:gd name="T9" fmla="*/ 34 h 70"/>
                <a:gd name="T10" fmla="*/ 24 w 88"/>
                <a:gd name="T11" fmla="*/ 39 h 70"/>
                <a:gd name="T12" fmla="*/ 27 w 88"/>
                <a:gd name="T13" fmla="*/ 42 h 70"/>
                <a:gd name="T14" fmla="*/ 30 w 88"/>
                <a:gd name="T15" fmla="*/ 44 h 70"/>
                <a:gd name="T16" fmla="*/ 34 w 88"/>
                <a:gd name="T17" fmla="*/ 45 h 70"/>
                <a:gd name="T18" fmla="*/ 53 w 88"/>
                <a:gd name="T19" fmla="*/ 45 h 70"/>
                <a:gd name="T20" fmla="*/ 57 w 88"/>
                <a:gd name="T21" fmla="*/ 44 h 70"/>
                <a:gd name="T22" fmla="*/ 61 w 88"/>
                <a:gd name="T23" fmla="*/ 42 h 70"/>
                <a:gd name="T24" fmla="*/ 63 w 88"/>
                <a:gd name="T25" fmla="*/ 39 h 70"/>
                <a:gd name="T26" fmla="*/ 63 w 88"/>
                <a:gd name="T27" fmla="*/ 34 h 70"/>
                <a:gd name="T28" fmla="*/ 63 w 88"/>
                <a:gd name="T29" fmla="*/ 31 h 70"/>
                <a:gd name="T30" fmla="*/ 61 w 88"/>
                <a:gd name="T31" fmla="*/ 28 h 70"/>
                <a:gd name="T32" fmla="*/ 57 w 88"/>
                <a:gd name="T33" fmla="*/ 26 h 70"/>
                <a:gd name="T34" fmla="*/ 53 w 88"/>
                <a:gd name="T35" fmla="*/ 24 h 70"/>
                <a:gd name="T36" fmla="*/ 34 w 88"/>
                <a:gd name="T37" fmla="*/ 24 h 70"/>
                <a:gd name="T38" fmla="*/ 53 w 88"/>
                <a:gd name="T39" fmla="*/ 70 h 70"/>
                <a:gd name="T40" fmla="*/ 34 w 88"/>
                <a:gd name="T41" fmla="*/ 70 h 70"/>
                <a:gd name="T42" fmla="*/ 27 w 88"/>
                <a:gd name="T43" fmla="*/ 70 h 70"/>
                <a:gd name="T44" fmla="*/ 20 w 88"/>
                <a:gd name="T45" fmla="*/ 67 h 70"/>
                <a:gd name="T46" fmla="*/ 14 w 88"/>
                <a:gd name="T47" fmla="*/ 64 h 70"/>
                <a:gd name="T48" fmla="*/ 9 w 88"/>
                <a:gd name="T49" fmla="*/ 60 h 70"/>
                <a:gd name="T50" fmla="*/ 4 w 88"/>
                <a:gd name="T51" fmla="*/ 54 h 70"/>
                <a:gd name="T52" fmla="*/ 2 w 88"/>
                <a:gd name="T53" fmla="*/ 48 h 70"/>
                <a:gd name="T54" fmla="*/ 0 w 88"/>
                <a:gd name="T55" fmla="*/ 42 h 70"/>
                <a:gd name="T56" fmla="*/ 0 w 88"/>
                <a:gd name="T57" fmla="*/ 34 h 70"/>
                <a:gd name="T58" fmla="*/ 0 w 88"/>
                <a:gd name="T59" fmla="*/ 27 h 70"/>
                <a:gd name="T60" fmla="*/ 2 w 88"/>
                <a:gd name="T61" fmla="*/ 21 h 70"/>
                <a:gd name="T62" fmla="*/ 4 w 88"/>
                <a:gd name="T63" fmla="*/ 16 h 70"/>
                <a:gd name="T64" fmla="*/ 9 w 88"/>
                <a:gd name="T65" fmla="*/ 10 h 70"/>
                <a:gd name="T66" fmla="*/ 14 w 88"/>
                <a:gd name="T67" fmla="*/ 6 h 70"/>
                <a:gd name="T68" fmla="*/ 20 w 88"/>
                <a:gd name="T69" fmla="*/ 2 h 70"/>
                <a:gd name="T70" fmla="*/ 27 w 88"/>
                <a:gd name="T71" fmla="*/ 1 h 70"/>
                <a:gd name="T72" fmla="*/ 34 w 88"/>
                <a:gd name="T73" fmla="*/ 0 h 70"/>
                <a:gd name="T74" fmla="*/ 53 w 88"/>
                <a:gd name="T75" fmla="*/ 0 h 70"/>
                <a:gd name="T76" fmla="*/ 60 w 88"/>
                <a:gd name="T77" fmla="*/ 1 h 70"/>
                <a:gd name="T78" fmla="*/ 67 w 88"/>
                <a:gd name="T79" fmla="*/ 2 h 70"/>
                <a:gd name="T80" fmla="*/ 72 w 88"/>
                <a:gd name="T81" fmla="*/ 6 h 70"/>
                <a:gd name="T82" fmla="*/ 78 w 88"/>
                <a:gd name="T83" fmla="*/ 10 h 70"/>
                <a:gd name="T84" fmla="*/ 82 w 88"/>
                <a:gd name="T85" fmla="*/ 16 h 70"/>
                <a:gd name="T86" fmla="*/ 85 w 88"/>
                <a:gd name="T87" fmla="*/ 21 h 70"/>
                <a:gd name="T88" fmla="*/ 87 w 88"/>
                <a:gd name="T89" fmla="*/ 27 h 70"/>
                <a:gd name="T90" fmla="*/ 88 w 88"/>
                <a:gd name="T91" fmla="*/ 34 h 70"/>
                <a:gd name="T92" fmla="*/ 87 w 88"/>
                <a:gd name="T93" fmla="*/ 42 h 70"/>
                <a:gd name="T94" fmla="*/ 85 w 88"/>
                <a:gd name="T95" fmla="*/ 48 h 70"/>
                <a:gd name="T96" fmla="*/ 82 w 88"/>
                <a:gd name="T97" fmla="*/ 54 h 70"/>
                <a:gd name="T98" fmla="*/ 78 w 88"/>
                <a:gd name="T99" fmla="*/ 60 h 70"/>
                <a:gd name="T100" fmla="*/ 72 w 88"/>
                <a:gd name="T101" fmla="*/ 64 h 70"/>
                <a:gd name="T102" fmla="*/ 67 w 88"/>
                <a:gd name="T103" fmla="*/ 67 h 70"/>
                <a:gd name="T104" fmla="*/ 60 w 88"/>
                <a:gd name="T105" fmla="*/ 70 h 70"/>
                <a:gd name="T106" fmla="*/ 53 w 88"/>
                <a:gd name="T10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70">
                  <a:moveTo>
                    <a:pt x="34" y="24"/>
                  </a:moveTo>
                  <a:lnTo>
                    <a:pt x="30" y="26"/>
                  </a:lnTo>
                  <a:lnTo>
                    <a:pt x="27" y="28"/>
                  </a:lnTo>
                  <a:lnTo>
                    <a:pt x="24" y="31"/>
                  </a:lnTo>
                  <a:lnTo>
                    <a:pt x="23" y="34"/>
                  </a:lnTo>
                  <a:lnTo>
                    <a:pt x="24" y="39"/>
                  </a:lnTo>
                  <a:lnTo>
                    <a:pt x="27" y="42"/>
                  </a:lnTo>
                  <a:lnTo>
                    <a:pt x="30" y="44"/>
                  </a:lnTo>
                  <a:lnTo>
                    <a:pt x="34" y="45"/>
                  </a:lnTo>
                  <a:lnTo>
                    <a:pt x="53" y="45"/>
                  </a:lnTo>
                  <a:lnTo>
                    <a:pt x="57" y="44"/>
                  </a:lnTo>
                  <a:lnTo>
                    <a:pt x="61" y="42"/>
                  </a:lnTo>
                  <a:lnTo>
                    <a:pt x="63" y="39"/>
                  </a:lnTo>
                  <a:lnTo>
                    <a:pt x="63" y="34"/>
                  </a:lnTo>
                  <a:lnTo>
                    <a:pt x="63" y="31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3" y="24"/>
                  </a:lnTo>
                  <a:lnTo>
                    <a:pt x="34" y="24"/>
                  </a:lnTo>
                  <a:close/>
                  <a:moveTo>
                    <a:pt x="53" y="70"/>
                  </a:moveTo>
                  <a:lnTo>
                    <a:pt x="34" y="70"/>
                  </a:lnTo>
                  <a:lnTo>
                    <a:pt x="27" y="70"/>
                  </a:lnTo>
                  <a:lnTo>
                    <a:pt x="20" y="67"/>
                  </a:lnTo>
                  <a:lnTo>
                    <a:pt x="14" y="64"/>
                  </a:lnTo>
                  <a:lnTo>
                    <a:pt x="9" y="60"/>
                  </a:lnTo>
                  <a:lnTo>
                    <a:pt x="4" y="54"/>
                  </a:lnTo>
                  <a:lnTo>
                    <a:pt x="2" y="48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1"/>
                  </a:lnTo>
                  <a:lnTo>
                    <a:pt x="4" y="16"/>
                  </a:lnTo>
                  <a:lnTo>
                    <a:pt x="9" y="10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53" y="0"/>
                  </a:lnTo>
                  <a:lnTo>
                    <a:pt x="60" y="1"/>
                  </a:lnTo>
                  <a:lnTo>
                    <a:pt x="67" y="2"/>
                  </a:lnTo>
                  <a:lnTo>
                    <a:pt x="72" y="6"/>
                  </a:lnTo>
                  <a:lnTo>
                    <a:pt x="78" y="10"/>
                  </a:lnTo>
                  <a:lnTo>
                    <a:pt x="82" y="16"/>
                  </a:lnTo>
                  <a:lnTo>
                    <a:pt x="85" y="21"/>
                  </a:lnTo>
                  <a:lnTo>
                    <a:pt x="87" y="27"/>
                  </a:lnTo>
                  <a:lnTo>
                    <a:pt x="88" y="34"/>
                  </a:lnTo>
                  <a:lnTo>
                    <a:pt x="87" y="42"/>
                  </a:lnTo>
                  <a:lnTo>
                    <a:pt x="85" y="48"/>
                  </a:lnTo>
                  <a:lnTo>
                    <a:pt x="82" y="54"/>
                  </a:lnTo>
                  <a:lnTo>
                    <a:pt x="78" y="60"/>
                  </a:lnTo>
                  <a:lnTo>
                    <a:pt x="72" y="64"/>
                  </a:lnTo>
                  <a:lnTo>
                    <a:pt x="67" y="67"/>
                  </a:lnTo>
                  <a:lnTo>
                    <a:pt x="60" y="70"/>
                  </a:lnTo>
                  <a:lnTo>
                    <a:pt x="53" y="7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8" name="Freeform 279"/>
            <p:cNvSpPr>
              <a:spLocks noEditPoints="1"/>
            </p:cNvSpPr>
            <p:nvPr/>
          </p:nvSpPr>
          <p:spPr bwMode="auto">
            <a:xfrm>
              <a:off x="3405188" y="5559425"/>
              <a:ext cx="34925" cy="28575"/>
            </a:xfrm>
            <a:custGeom>
              <a:avLst/>
              <a:gdLst>
                <a:gd name="T0" fmla="*/ 34 w 88"/>
                <a:gd name="T1" fmla="*/ 24 h 70"/>
                <a:gd name="T2" fmla="*/ 29 w 88"/>
                <a:gd name="T3" fmla="*/ 26 h 70"/>
                <a:gd name="T4" fmla="*/ 27 w 88"/>
                <a:gd name="T5" fmla="*/ 28 h 70"/>
                <a:gd name="T6" fmla="*/ 24 w 88"/>
                <a:gd name="T7" fmla="*/ 31 h 70"/>
                <a:gd name="T8" fmla="*/ 23 w 88"/>
                <a:gd name="T9" fmla="*/ 34 h 70"/>
                <a:gd name="T10" fmla="*/ 24 w 88"/>
                <a:gd name="T11" fmla="*/ 39 h 70"/>
                <a:gd name="T12" fmla="*/ 27 w 88"/>
                <a:gd name="T13" fmla="*/ 42 h 70"/>
                <a:gd name="T14" fmla="*/ 29 w 88"/>
                <a:gd name="T15" fmla="*/ 44 h 70"/>
                <a:gd name="T16" fmla="*/ 34 w 88"/>
                <a:gd name="T17" fmla="*/ 45 h 70"/>
                <a:gd name="T18" fmla="*/ 54 w 88"/>
                <a:gd name="T19" fmla="*/ 45 h 70"/>
                <a:gd name="T20" fmla="*/ 57 w 88"/>
                <a:gd name="T21" fmla="*/ 44 h 70"/>
                <a:gd name="T22" fmla="*/ 61 w 88"/>
                <a:gd name="T23" fmla="*/ 42 h 70"/>
                <a:gd name="T24" fmla="*/ 63 w 88"/>
                <a:gd name="T25" fmla="*/ 39 h 70"/>
                <a:gd name="T26" fmla="*/ 63 w 88"/>
                <a:gd name="T27" fmla="*/ 34 h 70"/>
                <a:gd name="T28" fmla="*/ 63 w 88"/>
                <a:gd name="T29" fmla="*/ 31 h 70"/>
                <a:gd name="T30" fmla="*/ 61 w 88"/>
                <a:gd name="T31" fmla="*/ 28 h 70"/>
                <a:gd name="T32" fmla="*/ 57 w 88"/>
                <a:gd name="T33" fmla="*/ 26 h 70"/>
                <a:gd name="T34" fmla="*/ 54 w 88"/>
                <a:gd name="T35" fmla="*/ 24 h 70"/>
                <a:gd name="T36" fmla="*/ 34 w 88"/>
                <a:gd name="T37" fmla="*/ 24 h 70"/>
                <a:gd name="T38" fmla="*/ 54 w 88"/>
                <a:gd name="T39" fmla="*/ 70 h 70"/>
                <a:gd name="T40" fmla="*/ 34 w 88"/>
                <a:gd name="T41" fmla="*/ 70 h 70"/>
                <a:gd name="T42" fmla="*/ 27 w 88"/>
                <a:gd name="T43" fmla="*/ 70 h 70"/>
                <a:gd name="T44" fmla="*/ 21 w 88"/>
                <a:gd name="T45" fmla="*/ 67 h 70"/>
                <a:gd name="T46" fmla="*/ 14 w 88"/>
                <a:gd name="T47" fmla="*/ 64 h 70"/>
                <a:gd name="T48" fmla="*/ 10 w 88"/>
                <a:gd name="T49" fmla="*/ 60 h 70"/>
                <a:gd name="T50" fmla="*/ 5 w 88"/>
                <a:gd name="T51" fmla="*/ 54 h 70"/>
                <a:gd name="T52" fmla="*/ 2 w 88"/>
                <a:gd name="T53" fmla="*/ 48 h 70"/>
                <a:gd name="T54" fmla="*/ 0 w 88"/>
                <a:gd name="T55" fmla="*/ 42 h 70"/>
                <a:gd name="T56" fmla="*/ 0 w 88"/>
                <a:gd name="T57" fmla="*/ 34 h 70"/>
                <a:gd name="T58" fmla="*/ 0 w 88"/>
                <a:gd name="T59" fmla="*/ 27 h 70"/>
                <a:gd name="T60" fmla="*/ 2 w 88"/>
                <a:gd name="T61" fmla="*/ 21 h 70"/>
                <a:gd name="T62" fmla="*/ 5 w 88"/>
                <a:gd name="T63" fmla="*/ 16 h 70"/>
                <a:gd name="T64" fmla="*/ 10 w 88"/>
                <a:gd name="T65" fmla="*/ 10 h 70"/>
                <a:gd name="T66" fmla="*/ 14 w 88"/>
                <a:gd name="T67" fmla="*/ 6 h 70"/>
                <a:gd name="T68" fmla="*/ 21 w 88"/>
                <a:gd name="T69" fmla="*/ 2 h 70"/>
                <a:gd name="T70" fmla="*/ 27 w 88"/>
                <a:gd name="T71" fmla="*/ 1 h 70"/>
                <a:gd name="T72" fmla="*/ 34 w 88"/>
                <a:gd name="T73" fmla="*/ 0 h 70"/>
                <a:gd name="T74" fmla="*/ 54 w 88"/>
                <a:gd name="T75" fmla="*/ 0 h 70"/>
                <a:gd name="T76" fmla="*/ 60 w 88"/>
                <a:gd name="T77" fmla="*/ 1 h 70"/>
                <a:gd name="T78" fmla="*/ 67 w 88"/>
                <a:gd name="T79" fmla="*/ 2 h 70"/>
                <a:gd name="T80" fmla="*/ 72 w 88"/>
                <a:gd name="T81" fmla="*/ 6 h 70"/>
                <a:gd name="T82" fmla="*/ 78 w 88"/>
                <a:gd name="T83" fmla="*/ 10 h 70"/>
                <a:gd name="T84" fmla="*/ 82 w 88"/>
                <a:gd name="T85" fmla="*/ 16 h 70"/>
                <a:gd name="T86" fmla="*/ 86 w 88"/>
                <a:gd name="T87" fmla="*/ 21 h 70"/>
                <a:gd name="T88" fmla="*/ 87 w 88"/>
                <a:gd name="T89" fmla="*/ 27 h 70"/>
                <a:gd name="T90" fmla="*/ 88 w 88"/>
                <a:gd name="T91" fmla="*/ 34 h 70"/>
                <a:gd name="T92" fmla="*/ 87 w 88"/>
                <a:gd name="T93" fmla="*/ 42 h 70"/>
                <a:gd name="T94" fmla="*/ 86 w 88"/>
                <a:gd name="T95" fmla="*/ 48 h 70"/>
                <a:gd name="T96" fmla="*/ 82 w 88"/>
                <a:gd name="T97" fmla="*/ 54 h 70"/>
                <a:gd name="T98" fmla="*/ 78 w 88"/>
                <a:gd name="T99" fmla="*/ 60 h 70"/>
                <a:gd name="T100" fmla="*/ 72 w 88"/>
                <a:gd name="T101" fmla="*/ 64 h 70"/>
                <a:gd name="T102" fmla="*/ 67 w 88"/>
                <a:gd name="T103" fmla="*/ 67 h 70"/>
                <a:gd name="T104" fmla="*/ 60 w 88"/>
                <a:gd name="T105" fmla="*/ 70 h 70"/>
                <a:gd name="T106" fmla="*/ 54 w 88"/>
                <a:gd name="T10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70">
                  <a:moveTo>
                    <a:pt x="34" y="24"/>
                  </a:moveTo>
                  <a:lnTo>
                    <a:pt x="29" y="26"/>
                  </a:lnTo>
                  <a:lnTo>
                    <a:pt x="27" y="28"/>
                  </a:lnTo>
                  <a:lnTo>
                    <a:pt x="24" y="31"/>
                  </a:lnTo>
                  <a:lnTo>
                    <a:pt x="23" y="34"/>
                  </a:lnTo>
                  <a:lnTo>
                    <a:pt x="24" y="39"/>
                  </a:lnTo>
                  <a:lnTo>
                    <a:pt x="27" y="42"/>
                  </a:lnTo>
                  <a:lnTo>
                    <a:pt x="29" y="44"/>
                  </a:lnTo>
                  <a:lnTo>
                    <a:pt x="34" y="45"/>
                  </a:lnTo>
                  <a:lnTo>
                    <a:pt x="54" y="45"/>
                  </a:lnTo>
                  <a:lnTo>
                    <a:pt x="57" y="44"/>
                  </a:lnTo>
                  <a:lnTo>
                    <a:pt x="61" y="42"/>
                  </a:lnTo>
                  <a:lnTo>
                    <a:pt x="63" y="39"/>
                  </a:lnTo>
                  <a:lnTo>
                    <a:pt x="63" y="34"/>
                  </a:lnTo>
                  <a:lnTo>
                    <a:pt x="63" y="31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4" y="24"/>
                  </a:lnTo>
                  <a:lnTo>
                    <a:pt x="34" y="24"/>
                  </a:lnTo>
                  <a:close/>
                  <a:moveTo>
                    <a:pt x="54" y="70"/>
                  </a:moveTo>
                  <a:lnTo>
                    <a:pt x="34" y="70"/>
                  </a:lnTo>
                  <a:lnTo>
                    <a:pt x="27" y="70"/>
                  </a:lnTo>
                  <a:lnTo>
                    <a:pt x="21" y="67"/>
                  </a:lnTo>
                  <a:lnTo>
                    <a:pt x="14" y="64"/>
                  </a:lnTo>
                  <a:lnTo>
                    <a:pt x="10" y="60"/>
                  </a:lnTo>
                  <a:lnTo>
                    <a:pt x="5" y="54"/>
                  </a:lnTo>
                  <a:lnTo>
                    <a:pt x="2" y="48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1"/>
                  </a:lnTo>
                  <a:lnTo>
                    <a:pt x="5" y="16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21" y="2"/>
                  </a:lnTo>
                  <a:lnTo>
                    <a:pt x="27" y="1"/>
                  </a:lnTo>
                  <a:lnTo>
                    <a:pt x="34" y="0"/>
                  </a:lnTo>
                  <a:lnTo>
                    <a:pt x="54" y="0"/>
                  </a:lnTo>
                  <a:lnTo>
                    <a:pt x="60" y="1"/>
                  </a:lnTo>
                  <a:lnTo>
                    <a:pt x="67" y="2"/>
                  </a:lnTo>
                  <a:lnTo>
                    <a:pt x="72" y="6"/>
                  </a:lnTo>
                  <a:lnTo>
                    <a:pt x="78" y="10"/>
                  </a:lnTo>
                  <a:lnTo>
                    <a:pt x="82" y="16"/>
                  </a:lnTo>
                  <a:lnTo>
                    <a:pt x="86" y="21"/>
                  </a:lnTo>
                  <a:lnTo>
                    <a:pt x="87" y="27"/>
                  </a:lnTo>
                  <a:lnTo>
                    <a:pt x="88" y="34"/>
                  </a:lnTo>
                  <a:lnTo>
                    <a:pt x="87" y="42"/>
                  </a:lnTo>
                  <a:lnTo>
                    <a:pt x="86" y="48"/>
                  </a:lnTo>
                  <a:lnTo>
                    <a:pt x="82" y="54"/>
                  </a:lnTo>
                  <a:lnTo>
                    <a:pt x="78" y="60"/>
                  </a:lnTo>
                  <a:lnTo>
                    <a:pt x="72" y="64"/>
                  </a:lnTo>
                  <a:lnTo>
                    <a:pt x="67" y="67"/>
                  </a:lnTo>
                  <a:lnTo>
                    <a:pt x="60" y="70"/>
                  </a:lnTo>
                  <a:lnTo>
                    <a:pt x="54" y="7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49" name="Freeform 280"/>
            <p:cNvSpPr>
              <a:spLocks/>
            </p:cNvSpPr>
            <p:nvPr/>
          </p:nvSpPr>
          <p:spPr bwMode="auto">
            <a:xfrm>
              <a:off x="3390900" y="5568950"/>
              <a:ext cx="23813" cy="9525"/>
            </a:xfrm>
            <a:custGeom>
              <a:avLst/>
              <a:gdLst>
                <a:gd name="T0" fmla="*/ 47 w 59"/>
                <a:gd name="T1" fmla="*/ 25 h 25"/>
                <a:gd name="T2" fmla="*/ 13 w 59"/>
                <a:gd name="T3" fmla="*/ 25 h 25"/>
                <a:gd name="T4" fmla="*/ 8 w 59"/>
                <a:gd name="T5" fmla="*/ 23 h 25"/>
                <a:gd name="T6" fmla="*/ 4 w 59"/>
                <a:gd name="T7" fmla="*/ 20 h 25"/>
                <a:gd name="T8" fmla="*/ 1 w 59"/>
                <a:gd name="T9" fmla="*/ 16 h 25"/>
                <a:gd name="T10" fmla="*/ 0 w 59"/>
                <a:gd name="T11" fmla="*/ 11 h 25"/>
                <a:gd name="T12" fmla="*/ 1 w 59"/>
                <a:gd name="T13" fmla="*/ 6 h 25"/>
                <a:gd name="T14" fmla="*/ 4 w 59"/>
                <a:gd name="T15" fmla="*/ 3 h 25"/>
                <a:gd name="T16" fmla="*/ 8 w 59"/>
                <a:gd name="T17" fmla="*/ 0 h 25"/>
                <a:gd name="T18" fmla="*/ 13 w 59"/>
                <a:gd name="T19" fmla="*/ 0 h 25"/>
                <a:gd name="T20" fmla="*/ 47 w 59"/>
                <a:gd name="T21" fmla="*/ 0 h 25"/>
                <a:gd name="T22" fmla="*/ 52 w 59"/>
                <a:gd name="T23" fmla="*/ 0 h 25"/>
                <a:gd name="T24" fmla="*/ 55 w 59"/>
                <a:gd name="T25" fmla="*/ 3 h 25"/>
                <a:gd name="T26" fmla="*/ 58 w 59"/>
                <a:gd name="T27" fmla="*/ 6 h 25"/>
                <a:gd name="T28" fmla="*/ 59 w 59"/>
                <a:gd name="T29" fmla="*/ 11 h 25"/>
                <a:gd name="T30" fmla="*/ 58 w 59"/>
                <a:gd name="T31" fmla="*/ 16 h 25"/>
                <a:gd name="T32" fmla="*/ 55 w 59"/>
                <a:gd name="T33" fmla="*/ 20 h 25"/>
                <a:gd name="T34" fmla="*/ 52 w 59"/>
                <a:gd name="T35" fmla="*/ 23 h 25"/>
                <a:gd name="T36" fmla="*/ 47 w 59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" h="25">
                  <a:moveTo>
                    <a:pt x="47" y="25"/>
                  </a:moveTo>
                  <a:lnTo>
                    <a:pt x="13" y="25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1" y="6"/>
                  </a:lnTo>
                  <a:lnTo>
                    <a:pt x="4" y="3"/>
                  </a:lnTo>
                  <a:lnTo>
                    <a:pt x="8" y="0"/>
                  </a:lnTo>
                  <a:lnTo>
                    <a:pt x="13" y="0"/>
                  </a:lnTo>
                  <a:lnTo>
                    <a:pt x="47" y="0"/>
                  </a:lnTo>
                  <a:lnTo>
                    <a:pt x="52" y="0"/>
                  </a:lnTo>
                  <a:lnTo>
                    <a:pt x="55" y="3"/>
                  </a:lnTo>
                  <a:lnTo>
                    <a:pt x="58" y="6"/>
                  </a:lnTo>
                  <a:lnTo>
                    <a:pt x="59" y="11"/>
                  </a:lnTo>
                  <a:lnTo>
                    <a:pt x="58" y="16"/>
                  </a:lnTo>
                  <a:lnTo>
                    <a:pt x="55" y="20"/>
                  </a:lnTo>
                  <a:lnTo>
                    <a:pt x="52" y="23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0" name="Freeform 281"/>
            <p:cNvSpPr>
              <a:spLocks/>
            </p:cNvSpPr>
            <p:nvPr/>
          </p:nvSpPr>
          <p:spPr bwMode="auto">
            <a:xfrm>
              <a:off x="3332163" y="5822950"/>
              <a:ext cx="142875" cy="314325"/>
            </a:xfrm>
            <a:custGeom>
              <a:avLst/>
              <a:gdLst>
                <a:gd name="T0" fmla="*/ 0 w 359"/>
                <a:gd name="T1" fmla="*/ 0 h 795"/>
                <a:gd name="T2" fmla="*/ 5 w 359"/>
                <a:gd name="T3" fmla="*/ 795 h 795"/>
                <a:gd name="T4" fmla="*/ 154 w 359"/>
                <a:gd name="T5" fmla="*/ 795 h 795"/>
                <a:gd name="T6" fmla="*/ 149 w 359"/>
                <a:gd name="T7" fmla="*/ 203 h 795"/>
                <a:gd name="T8" fmla="*/ 212 w 359"/>
                <a:gd name="T9" fmla="*/ 203 h 795"/>
                <a:gd name="T10" fmla="*/ 206 w 359"/>
                <a:gd name="T11" fmla="*/ 795 h 795"/>
                <a:gd name="T12" fmla="*/ 355 w 359"/>
                <a:gd name="T13" fmla="*/ 795 h 795"/>
                <a:gd name="T14" fmla="*/ 359 w 359"/>
                <a:gd name="T15" fmla="*/ 3 h 795"/>
                <a:gd name="T16" fmla="*/ 0 w 359"/>
                <a:gd name="T17" fmla="*/ 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" h="795">
                  <a:moveTo>
                    <a:pt x="0" y="0"/>
                  </a:moveTo>
                  <a:lnTo>
                    <a:pt x="5" y="795"/>
                  </a:lnTo>
                  <a:lnTo>
                    <a:pt x="154" y="795"/>
                  </a:lnTo>
                  <a:lnTo>
                    <a:pt x="149" y="203"/>
                  </a:lnTo>
                  <a:lnTo>
                    <a:pt x="212" y="203"/>
                  </a:lnTo>
                  <a:lnTo>
                    <a:pt x="206" y="795"/>
                  </a:lnTo>
                  <a:lnTo>
                    <a:pt x="355" y="795"/>
                  </a:lnTo>
                  <a:lnTo>
                    <a:pt x="359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FB4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1" name="Freeform 282"/>
            <p:cNvSpPr>
              <a:spLocks noEditPoints="1"/>
            </p:cNvSpPr>
            <p:nvPr/>
          </p:nvSpPr>
          <p:spPr bwMode="auto">
            <a:xfrm>
              <a:off x="3327400" y="5818188"/>
              <a:ext cx="152400" cy="323850"/>
            </a:xfrm>
            <a:custGeom>
              <a:avLst/>
              <a:gdLst>
                <a:gd name="T0" fmla="*/ 231 w 384"/>
                <a:gd name="T1" fmla="*/ 795 h 817"/>
                <a:gd name="T2" fmla="*/ 355 w 384"/>
                <a:gd name="T3" fmla="*/ 795 h 817"/>
                <a:gd name="T4" fmla="*/ 360 w 384"/>
                <a:gd name="T5" fmla="*/ 25 h 817"/>
                <a:gd name="T6" fmla="*/ 25 w 384"/>
                <a:gd name="T7" fmla="*/ 23 h 817"/>
                <a:gd name="T8" fmla="*/ 30 w 384"/>
                <a:gd name="T9" fmla="*/ 795 h 817"/>
                <a:gd name="T10" fmla="*/ 153 w 384"/>
                <a:gd name="T11" fmla="*/ 795 h 817"/>
                <a:gd name="T12" fmla="*/ 148 w 384"/>
                <a:gd name="T13" fmla="*/ 214 h 817"/>
                <a:gd name="T14" fmla="*/ 150 w 384"/>
                <a:gd name="T15" fmla="*/ 211 h 817"/>
                <a:gd name="T16" fmla="*/ 152 w 384"/>
                <a:gd name="T17" fmla="*/ 207 h 817"/>
                <a:gd name="T18" fmla="*/ 156 w 384"/>
                <a:gd name="T19" fmla="*/ 205 h 817"/>
                <a:gd name="T20" fmla="*/ 161 w 384"/>
                <a:gd name="T21" fmla="*/ 203 h 817"/>
                <a:gd name="T22" fmla="*/ 161 w 384"/>
                <a:gd name="T23" fmla="*/ 203 h 817"/>
                <a:gd name="T24" fmla="*/ 224 w 384"/>
                <a:gd name="T25" fmla="*/ 203 h 817"/>
                <a:gd name="T26" fmla="*/ 229 w 384"/>
                <a:gd name="T27" fmla="*/ 205 h 817"/>
                <a:gd name="T28" fmla="*/ 233 w 384"/>
                <a:gd name="T29" fmla="*/ 207 h 817"/>
                <a:gd name="T30" fmla="*/ 234 w 384"/>
                <a:gd name="T31" fmla="*/ 209 h 817"/>
                <a:gd name="T32" fmla="*/ 235 w 384"/>
                <a:gd name="T33" fmla="*/ 211 h 817"/>
                <a:gd name="T34" fmla="*/ 235 w 384"/>
                <a:gd name="T35" fmla="*/ 213 h 817"/>
                <a:gd name="T36" fmla="*/ 235 w 384"/>
                <a:gd name="T37" fmla="*/ 217 h 817"/>
                <a:gd name="T38" fmla="*/ 231 w 384"/>
                <a:gd name="T39" fmla="*/ 795 h 817"/>
                <a:gd name="T40" fmla="*/ 367 w 384"/>
                <a:gd name="T41" fmla="*/ 817 h 817"/>
                <a:gd name="T42" fmla="*/ 218 w 384"/>
                <a:gd name="T43" fmla="*/ 817 h 817"/>
                <a:gd name="T44" fmla="*/ 213 w 384"/>
                <a:gd name="T45" fmla="*/ 817 h 817"/>
                <a:gd name="T46" fmla="*/ 210 w 384"/>
                <a:gd name="T47" fmla="*/ 814 h 817"/>
                <a:gd name="T48" fmla="*/ 207 w 384"/>
                <a:gd name="T49" fmla="*/ 811 h 817"/>
                <a:gd name="T50" fmla="*/ 206 w 384"/>
                <a:gd name="T51" fmla="*/ 806 h 817"/>
                <a:gd name="T52" fmla="*/ 212 w 384"/>
                <a:gd name="T53" fmla="*/ 228 h 817"/>
                <a:gd name="T54" fmla="*/ 173 w 384"/>
                <a:gd name="T55" fmla="*/ 228 h 817"/>
                <a:gd name="T56" fmla="*/ 178 w 384"/>
                <a:gd name="T57" fmla="*/ 806 h 817"/>
                <a:gd name="T58" fmla="*/ 177 w 384"/>
                <a:gd name="T59" fmla="*/ 811 h 817"/>
                <a:gd name="T60" fmla="*/ 174 w 384"/>
                <a:gd name="T61" fmla="*/ 814 h 817"/>
                <a:gd name="T62" fmla="*/ 171 w 384"/>
                <a:gd name="T63" fmla="*/ 817 h 817"/>
                <a:gd name="T64" fmla="*/ 166 w 384"/>
                <a:gd name="T65" fmla="*/ 817 h 817"/>
                <a:gd name="T66" fmla="*/ 17 w 384"/>
                <a:gd name="T67" fmla="*/ 817 h 817"/>
                <a:gd name="T68" fmla="*/ 12 w 384"/>
                <a:gd name="T69" fmla="*/ 817 h 817"/>
                <a:gd name="T70" fmla="*/ 9 w 384"/>
                <a:gd name="T71" fmla="*/ 814 h 817"/>
                <a:gd name="T72" fmla="*/ 6 w 384"/>
                <a:gd name="T73" fmla="*/ 811 h 817"/>
                <a:gd name="T74" fmla="*/ 5 w 384"/>
                <a:gd name="T75" fmla="*/ 806 h 817"/>
                <a:gd name="T76" fmla="*/ 0 w 384"/>
                <a:gd name="T77" fmla="*/ 11 h 817"/>
                <a:gd name="T78" fmla="*/ 1 w 384"/>
                <a:gd name="T79" fmla="*/ 7 h 817"/>
                <a:gd name="T80" fmla="*/ 4 w 384"/>
                <a:gd name="T81" fmla="*/ 3 h 817"/>
                <a:gd name="T82" fmla="*/ 8 w 384"/>
                <a:gd name="T83" fmla="*/ 0 h 817"/>
                <a:gd name="T84" fmla="*/ 12 w 384"/>
                <a:gd name="T85" fmla="*/ 0 h 817"/>
                <a:gd name="T86" fmla="*/ 12 w 384"/>
                <a:gd name="T87" fmla="*/ 0 h 817"/>
                <a:gd name="T88" fmla="*/ 373 w 384"/>
                <a:gd name="T89" fmla="*/ 0 h 817"/>
                <a:gd name="T90" fmla="*/ 376 w 384"/>
                <a:gd name="T91" fmla="*/ 1 h 817"/>
                <a:gd name="T92" fmla="*/ 380 w 384"/>
                <a:gd name="T93" fmla="*/ 5 h 817"/>
                <a:gd name="T94" fmla="*/ 384 w 384"/>
                <a:gd name="T95" fmla="*/ 9 h 817"/>
                <a:gd name="T96" fmla="*/ 384 w 384"/>
                <a:gd name="T97" fmla="*/ 14 h 817"/>
                <a:gd name="T98" fmla="*/ 379 w 384"/>
                <a:gd name="T99" fmla="*/ 806 h 817"/>
                <a:gd name="T100" fmla="*/ 378 w 384"/>
                <a:gd name="T101" fmla="*/ 811 h 817"/>
                <a:gd name="T102" fmla="*/ 375 w 384"/>
                <a:gd name="T103" fmla="*/ 814 h 817"/>
                <a:gd name="T104" fmla="*/ 371 w 384"/>
                <a:gd name="T105" fmla="*/ 817 h 817"/>
                <a:gd name="T106" fmla="*/ 367 w 384"/>
                <a:gd name="T107" fmla="*/ 81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817">
                  <a:moveTo>
                    <a:pt x="231" y="795"/>
                  </a:moveTo>
                  <a:lnTo>
                    <a:pt x="355" y="795"/>
                  </a:lnTo>
                  <a:lnTo>
                    <a:pt x="360" y="25"/>
                  </a:lnTo>
                  <a:lnTo>
                    <a:pt x="25" y="23"/>
                  </a:lnTo>
                  <a:lnTo>
                    <a:pt x="30" y="795"/>
                  </a:lnTo>
                  <a:lnTo>
                    <a:pt x="153" y="795"/>
                  </a:lnTo>
                  <a:lnTo>
                    <a:pt x="148" y="214"/>
                  </a:lnTo>
                  <a:lnTo>
                    <a:pt x="150" y="211"/>
                  </a:lnTo>
                  <a:lnTo>
                    <a:pt x="152" y="207"/>
                  </a:lnTo>
                  <a:lnTo>
                    <a:pt x="156" y="205"/>
                  </a:lnTo>
                  <a:lnTo>
                    <a:pt x="161" y="203"/>
                  </a:lnTo>
                  <a:lnTo>
                    <a:pt x="161" y="203"/>
                  </a:lnTo>
                  <a:lnTo>
                    <a:pt x="224" y="203"/>
                  </a:lnTo>
                  <a:lnTo>
                    <a:pt x="229" y="205"/>
                  </a:lnTo>
                  <a:lnTo>
                    <a:pt x="233" y="207"/>
                  </a:lnTo>
                  <a:lnTo>
                    <a:pt x="234" y="209"/>
                  </a:lnTo>
                  <a:lnTo>
                    <a:pt x="235" y="211"/>
                  </a:lnTo>
                  <a:lnTo>
                    <a:pt x="235" y="213"/>
                  </a:lnTo>
                  <a:lnTo>
                    <a:pt x="235" y="217"/>
                  </a:lnTo>
                  <a:lnTo>
                    <a:pt x="231" y="795"/>
                  </a:lnTo>
                  <a:close/>
                  <a:moveTo>
                    <a:pt x="367" y="817"/>
                  </a:moveTo>
                  <a:lnTo>
                    <a:pt x="218" y="817"/>
                  </a:lnTo>
                  <a:lnTo>
                    <a:pt x="213" y="817"/>
                  </a:lnTo>
                  <a:lnTo>
                    <a:pt x="210" y="814"/>
                  </a:lnTo>
                  <a:lnTo>
                    <a:pt x="207" y="811"/>
                  </a:lnTo>
                  <a:lnTo>
                    <a:pt x="206" y="806"/>
                  </a:lnTo>
                  <a:lnTo>
                    <a:pt x="212" y="228"/>
                  </a:lnTo>
                  <a:lnTo>
                    <a:pt x="173" y="228"/>
                  </a:lnTo>
                  <a:lnTo>
                    <a:pt x="178" y="806"/>
                  </a:lnTo>
                  <a:lnTo>
                    <a:pt x="177" y="811"/>
                  </a:lnTo>
                  <a:lnTo>
                    <a:pt x="174" y="814"/>
                  </a:lnTo>
                  <a:lnTo>
                    <a:pt x="171" y="817"/>
                  </a:lnTo>
                  <a:lnTo>
                    <a:pt x="166" y="817"/>
                  </a:lnTo>
                  <a:lnTo>
                    <a:pt x="17" y="817"/>
                  </a:lnTo>
                  <a:lnTo>
                    <a:pt x="12" y="817"/>
                  </a:lnTo>
                  <a:lnTo>
                    <a:pt x="9" y="814"/>
                  </a:lnTo>
                  <a:lnTo>
                    <a:pt x="6" y="811"/>
                  </a:lnTo>
                  <a:lnTo>
                    <a:pt x="5" y="806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373" y="0"/>
                  </a:lnTo>
                  <a:lnTo>
                    <a:pt x="376" y="1"/>
                  </a:lnTo>
                  <a:lnTo>
                    <a:pt x="380" y="5"/>
                  </a:lnTo>
                  <a:lnTo>
                    <a:pt x="384" y="9"/>
                  </a:lnTo>
                  <a:lnTo>
                    <a:pt x="384" y="14"/>
                  </a:lnTo>
                  <a:lnTo>
                    <a:pt x="379" y="806"/>
                  </a:lnTo>
                  <a:lnTo>
                    <a:pt x="378" y="811"/>
                  </a:lnTo>
                  <a:lnTo>
                    <a:pt x="375" y="814"/>
                  </a:lnTo>
                  <a:lnTo>
                    <a:pt x="371" y="817"/>
                  </a:lnTo>
                  <a:lnTo>
                    <a:pt x="367" y="817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2" name="Freeform 283"/>
            <p:cNvSpPr>
              <a:spLocks/>
            </p:cNvSpPr>
            <p:nvPr/>
          </p:nvSpPr>
          <p:spPr bwMode="auto">
            <a:xfrm>
              <a:off x="3363913" y="5756275"/>
              <a:ext cx="80963" cy="52388"/>
            </a:xfrm>
            <a:custGeom>
              <a:avLst/>
              <a:gdLst>
                <a:gd name="T0" fmla="*/ 190 w 202"/>
                <a:gd name="T1" fmla="*/ 133 h 133"/>
                <a:gd name="T2" fmla="*/ 12 w 202"/>
                <a:gd name="T3" fmla="*/ 133 h 133"/>
                <a:gd name="T4" fmla="*/ 7 w 202"/>
                <a:gd name="T5" fmla="*/ 131 h 133"/>
                <a:gd name="T6" fmla="*/ 4 w 202"/>
                <a:gd name="T7" fmla="*/ 129 h 133"/>
                <a:gd name="T8" fmla="*/ 1 w 202"/>
                <a:gd name="T9" fmla="*/ 126 h 133"/>
                <a:gd name="T10" fmla="*/ 0 w 202"/>
                <a:gd name="T11" fmla="*/ 122 h 133"/>
                <a:gd name="T12" fmla="*/ 0 w 202"/>
                <a:gd name="T13" fmla="*/ 14 h 133"/>
                <a:gd name="T14" fmla="*/ 1 w 202"/>
                <a:gd name="T15" fmla="*/ 10 h 133"/>
                <a:gd name="T16" fmla="*/ 4 w 202"/>
                <a:gd name="T17" fmla="*/ 6 h 133"/>
                <a:gd name="T18" fmla="*/ 7 w 202"/>
                <a:gd name="T19" fmla="*/ 3 h 133"/>
                <a:gd name="T20" fmla="*/ 12 w 202"/>
                <a:gd name="T21" fmla="*/ 2 h 133"/>
                <a:gd name="T22" fmla="*/ 17 w 202"/>
                <a:gd name="T23" fmla="*/ 3 h 133"/>
                <a:gd name="T24" fmla="*/ 21 w 202"/>
                <a:gd name="T25" fmla="*/ 6 h 133"/>
                <a:gd name="T26" fmla="*/ 23 w 202"/>
                <a:gd name="T27" fmla="*/ 10 h 133"/>
                <a:gd name="T28" fmla="*/ 24 w 202"/>
                <a:gd name="T29" fmla="*/ 14 h 133"/>
                <a:gd name="T30" fmla="*/ 24 w 202"/>
                <a:gd name="T31" fmla="*/ 111 h 133"/>
                <a:gd name="T32" fmla="*/ 179 w 202"/>
                <a:gd name="T33" fmla="*/ 111 h 133"/>
                <a:gd name="T34" fmla="*/ 179 w 202"/>
                <a:gd name="T35" fmla="*/ 14 h 133"/>
                <a:gd name="T36" fmla="*/ 179 w 202"/>
                <a:gd name="T37" fmla="*/ 9 h 133"/>
                <a:gd name="T38" fmla="*/ 181 w 202"/>
                <a:gd name="T39" fmla="*/ 4 h 133"/>
                <a:gd name="T40" fmla="*/ 186 w 202"/>
                <a:gd name="T41" fmla="*/ 2 h 133"/>
                <a:gd name="T42" fmla="*/ 190 w 202"/>
                <a:gd name="T43" fmla="*/ 0 h 133"/>
                <a:gd name="T44" fmla="*/ 195 w 202"/>
                <a:gd name="T45" fmla="*/ 2 h 133"/>
                <a:gd name="T46" fmla="*/ 198 w 202"/>
                <a:gd name="T47" fmla="*/ 4 h 133"/>
                <a:gd name="T48" fmla="*/ 201 w 202"/>
                <a:gd name="T49" fmla="*/ 9 h 133"/>
                <a:gd name="T50" fmla="*/ 202 w 202"/>
                <a:gd name="T51" fmla="*/ 14 h 133"/>
                <a:gd name="T52" fmla="*/ 202 w 202"/>
                <a:gd name="T53" fmla="*/ 122 h 133"/>
                <a:gd name="T54" fmla="*/ 201 w 202"/>
                <a:gd name="T55" fmla="*/ 126 h 133"/>
                <a:gd name="T56" fmla="*/ 198 w 202"/>
                <a:gd name="T57" fmla="*/ 129 h 133"/>
                <a:gd name="T58" fmla="*/ 195 w 202"/>
                <a:gd name="T59" fmla="*/ 131 h 133"/>
                <a:gd name="T60" fmla="*/ 190 w 202"/>
                <a:gd name="T6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2" h="133">
                  <a:moveTo>
                    <a:pt x="190" y="133"/>
                  </a:moveTo>
                  <a:lnTo>
                    <a:pt x="12" y="133"/>
                  </a:lnTo>
                  <a:lnTo>
                    <a:pt x="7" y="131"/>
                  </a:lnTo>
                  <a:lnTo>
                    <a:pt x="4" y="129"/>
                  </a:lnTo>
                  <a:lnTo>
                    <a:pt x="1" y="126"/>
                  </a:lnTo>
                  <a:lnTo>
                    <a:pt x="0" y="122"/>
                  </a:lnTo>
                  <a:lnTo>
                    <a:pt x="0" y="14"/>
                  </a:lnTo>
                  <a:lnTo>
                    <a:pt x="1" y="10"/>
                  </a:lnTo>
                  <a:lnTo>
                    <a:pt x="4" y="6"/>
                  </a:lnTo>
                  <a:lnTo>
                    <a:pt x="7" y="3"/>
                  </a:lnTo>
                  <a:lnTo>
                    <a:pt x="12" y="2"/>
                  </a:lnTo>
                  <a:lnTo>
                    <a:pt x="17" y="3"/>
                  </a:lnTo>
                  <a:lnTo>
                    <a:pt x="21" y="6"/>
                  </a:lnTo>
                  <a:lnTo>
                    <a:pt x="23" y="10"/>
                  </a:lnTo>
                  <a:lnTo>
                    <a:pt x="24" y="14"/>
                  </a:lnTo>
                  <a:lnTo>
                    <a:pt x="24" y="111"/>
                  </a:lnTo>
                  <a:lnTo>
                    <a:pt x="179" y="111"/>
                  </a:lnTo>
                  <a:lnTo>
                    <a:pt x="179" y="14"/>
                  </a:lnTo>
                  <a:lnTo>
                    <a:pt x="179" y="9"/>
                  </a:lnTo>
                  <a:lnTo>
                    <a:pt x="181" y="4"/>
                  </a:lnTo>
                  <a:lnTo>
                    <a:pt x="186" y="2"/>
                  </a:lnTo>
                  <a:lnTo>
                    <a:pt x="190" y="0"/>
                  </a:lnTo>
                  <a:lnTo>
                    <a:pt x="195" y="2"/>
                  </a:lnTo>
                  <a:lnTo>
                    <a:pt x="198" y="4"/>
                  </a:lnTo>
                  <a:lnTo>
                    <a:pt x="201" y="9"/>
                  </a:lnTo>
                  <a:lnTo>
                    <a:pt x="202" y="14"/>
                  </a:lnTo>
                  <a:lnTo>
                    <a:pt x="202" y="122"/>
                  </a:lnTo>
                  <a:lnTo>
                    <a:pt x="201" y="126"/>
                  </a:lnTo>
                  <a:lnTo>
                    <a:pt x="198" y="129"/>
                  </a:lnTo>
                  <a:lnTo>
                    <a:pt x="195" y="131"/>
                  </a:lnTo>
                  <a:lnTo>
                    <a:pt x="190" y="133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3" name="Freeform 284"/>
            <p:cNvSpPr>
              <a:spLocks/>
            </p:cNvSpPr>
            <p:nvPr/>
          </p:nvSpPr>
          <p:spPr bwMode="auto">
            <a:xfrm>
              <a:off x="3363913" y="5689600"/>
              <a:ext cx="80963" cy="46038"/>
            </a:xfrm>
            <a:custGeom>
              <a:avLst/>
              <a:gdLst>
                <a:gd name="T0" fmla="*/ 12 w 202"/>
                <a:gd name="T1" fmla="*/ 116 h 116"/>
                <a:gd name="T2" fmla="*/ 7 w 202"/>
                <a:gd name="T3" fmla="*/ 115 h 116"/>
                <a:gd name="T4" fmla="*/ 4 w 202"/>
                <a:gd name="T5" fmla="*/ 112 h 116"/>
                <a:gd name="T6" fmla="*/ 1 w 202"/>
                <a:gd name="T7" fmla="*/ 108 h 116"/>
                <a:gd name="T8" fmla="*/ 0 w 202"/>
                <a:gd name="T9" fmla="*/ 103 h 116"/>
                <a:gd name="T10" fmla="*/ 0 w 202"/>
                <a:gd name="T11" fmla="*/ 13 h 116"/>
                <a:gd name="T12" fmla="*/ 1 w 202"/>
                <a:gd name="T13" fmla="*/ 8 h 116"/>
                <a:gd name="T14" fmla="*/ 4 w 202"/>
                <a:gd name="T15" fmla="*/ 4 h 116"/>
                <a:gd name="T16" fmla="*/ 7 w 202"/>
                <a:gd name="T17" fmla="*/ 1 h 116"/>
                <a:gd name="T18" fmla="*/ 12 w 202"/>
                <a:gd name="T19" fmla="*/ 0 h 116"/>
                <a:gd name="T20" fmla="*/ 190 w 202"/>
                <a:gd name="T21" fmla="*/ 0 h 116"/>
                <a:gd name="T22" fmla="*/ 195 w 202"/>
                <a:gd name="T23" fmla="*/ 1 h 116"/>
                <a:gd name="T24" fmla="*/ 198 w 202"/>
                <a:gd name="T25" fmla="*/ 4 h 116"/>
                <a:gd name="T26" fmla="*/ 201 w 202"/>
                <a:gd name="T27" fmla="*/ 8 h 116"/>
                <a:gd name="T28" fmla="*/ 202 w 202"/>
                <a:gd name="T29" fmla="*/ 13 h 116"/>
                <a:gd name="T30" fmla="*/ 202 w 202"/>
                <a:gd name="T31" fmla="*/ 103 h 116"/>
                <a:gd name="T32" fmla="*/ 201 w 202"/>
                <a:gd name="T33" fmla="*/ 106 h 116"/>
                <a:gd name="T34" fmla="*/ 198 w 202"/>
                <a:gd name="T35" fmla="*/ 110 h 116"/>
                <a:gd name="T36" fmla="*/ 195 w 202"/>
                <a:gd name="T37" fmla="*/ 112 h 116"/>
                <a:gd name="T38" fmla="*/ 190 w 202"/>
                <a:gd name="T39" fmla="*/ 114 h 116"/>
                <a:gd name="T40" fmla="*/ 186 w 202"/>
                <a:gd name="T41" fmla="*/ 112 h 116"/>
                <a:gd name="T42" fmla="*/ 181 w 202"/>
                <a:gd name="T43" fmla="*/ 110 h 116"/>
                <a:gd name="T44" fmla="*/ 179 w 202"/>
                <a:gd name="T45" fmla="*/ 106 h 116"/>
                <a:gd name="T46" fmla="*/ 179 w 202"/>
                <a:gd name="T47" fmla="*/ 103 h 116"/>
                <a:gd name="T48" fmla="*/ 179 w 202"/>
                <a:gd name="T49" fmla="*/ 24 h 116"/>
                <a:gd name="T50" fmla="*/ 24 w 202"/>
                <a:gd name="T51" fmla="*/ 24 h 116"/>
                <a:gd name="T52" fmla="*/ 24 w 202"/>
                <a:gd name="T53" fmla="*/ 103 h 116"/>
                <a:gd name="T54" fmla="*/ 23 w 202"/>
                <a:gd name="T55" fmla="*/ 108 h 116"/>
                <a:gd name="T56" fmla="*/ 21 w 202"/>
                <a:gd name="T57" fmla="*/ 112 h 116"/>
                <a:gd name="T58" fmla="*/ 17 w 202"/>
                <a:gd name="T59" fmla="*/ 115 h 116"/>
                <a:gd name="T60" fmla="*/ 12 w 202"/>
                <a:gd name="T6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2" h="116">
                  <a:moveTo>
                    <a:pt x="12" y="116"/>
                  </a:moveTo>
                  <a:lnTo>
                    <a:pt x="7" y="115"/>
                  </a:lnTo>
                  <a:lnTo>
                    <a:pt x="4" y="112"/>
                  </a:lnTo>
                  <a:lnTo>
                    <a:pt x="1" y="108"/>
                  </a:lnTo>
                  <a:lnTo>
                    <a:pt x="0" y="10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90" y="0"/>
                  </a:lnTo>
                  <a:lnTo>
                    <a:pt x="195" y="1"/>
                  </a:lnTo>
                  <a:lnTo>
                    <a:pt x="198" y="4"/>
                  </a:lnTo>
                  <a:lnTo>
                    <a:pt x="201" y="8"/>
                  </a:lnTo>
                  <a:lnTo>
                    <a:pt x="202" y="13"/>
                  </a:lnTo>
                  <a:lnTo>
                    <a:pt x="202" y="103"/>
                  </a:lnTo>
                  <a:lnTo>
                    <a:pt x="201" y="106"/>
                  </a:lnTo>
                  <a:lnTo>
                    <a:pt x="198" y="110"/>
                  </a:lnTo>
                  <a:lnTo>
                    <a:pt x="195" y="112"/>
                  </a:lnTo>
                  <a:lnTo>
                    <a:pt x="190" y="114"/>
                  </a:lnTo>
                  <a:lnTo>
                    <a:pt x="186" y="112"/>
                  </a:lnTo>
                  <a:lnTo>
                    <a:pt x="181" y="110"/>
                  </a:lnTo>
                  <a:lnTo>
                    <a:pt x="179" y="106"/>
                  </a:lnTo>
                  <a:lnTo>
                    <a:pt x="179" y="103"/>
                  </a:lnTo>
                  <a:lnTo>
                    <a:pt x="179" y="24"/>
                  </a:lnTo>
                  <a:lnTo>
                    <a:pt x="24" y="24"/>
                  </a:lnTo>
                  <a:lnTo>
                    <a:pt x="24" y="103"/>
                  </a:lnTo>
                  <a:lnTo>
                    <a:pt x="23" y="108"/>
                  </a:lnTo>
                  <a:lnTo>
                    <a:pt x="21" y="112"/>
                  </a:lnTo>
                  <a:lnTo>
                    <a:pt x="17" y="115"/>
                  </a:lnTo>
                  <a:lnTo>
                    <a:pt x="12" y="116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4" name="Freeform 285"/>
            <p:cNvSpPr>
              <a:spLocks/>
            </p:cNvSpPr>
            <p:nvPr/>
          </p:nvSpPr>
          <p:spPr bwMode="auto">
            <a:xfrm>
              <a:off x="3354388" y="5729288"/>
              <a:ext cx="36513" cy="31750"/>
            </a:xfrm>
            <a:custGeom>
              <a:avLst/>
              <a:gdLst>
                <a:gd name="T0" fmla="*/ 22 w 95"/>
                <a:gd name="T1" fmla="*/ 82 h 82"/>
                <a:gd name="T2" fmla="*/ 31 w 95"/>
                <a:gd name="T3" fmla="*/ 81 h 82"/>
                <a:gd name="T4" fmla="*/ 52 w 95"/>
                <a:gd name="T5" fmla="*/ 79 h 82"/>
                <a:gd name="T6" fmla="*/ 64 w 95"/>
                <a:gd name="T7" fmla="*/ 77 h 82"/>
                <a:gd name="T8" fmla="*/ 75 w 95"/>
                <a:gd name="T9" fmla="*/ 73 h 82"/>
                <a:gd name="T10" fmla="*/ 81 w 95"/>
                <a:gd name="T11" fmla="*/ 72 h 82"/>
                <a:gd name="T12" fmla="*/ 85 w 95"/>
                <a:gd name="T13" fmla="*/ 70 h 82"/>
                <a:gd name="T14" fmla="*/ 89 w 95"/>
                <a:gd name="T15" fmla="*/ 67 h 82"/>
                <a:gd name="T16" fmla="*/ 91 w 95"/>
                <a:gd name="T17" fmla="*/ 63 h 82"/>
                <a:gd name="T18" fmla="*/ 93 w 95"/>
                <a:gd name="T19" fmla="*/ 59 h 82"/>
                <a:gd name="T20" fmla="*/ 95 w 95"/>
                <a:gd name="T21" fmla="*/ 54 h 82"/>
                <a:gd name="T22" fmla="*/ 95 w 95"/>
                <a:gd name="T23" fmla="*/ 49 h 82"/>
                <a:gd name="T24" fmla="*/ 95 w 95"/>
                <a:gd name="T25" fmla="*/ 43 h 82"/>
                <a:gd name="T26" fmla="*/ 90 w 95"/>
                <a:gd name="T27" fmla="*/ 33 h 82"/>
                <a:gd name="T28" fmla="*/ 84 w 95"/>
                <a:gd name="T29" fmla="*/ 23 h 82"/>
                <a:gd name="T30" fmla="*/ 76 w 95"/>
                <a:gd name="T31" fmla="*/ 13 h 82"/>
                <a:gd name="T32" fmla="*/ 68 w 95"/>
                <a:gd name="T33" fmla="*/ 7 h 82"/>
                <a:gd name="T34" fmla="*/ 64 w 95"/>
                <a:gd name="T35" fmla="*/ 3 h 82"/>
                <a:gd name="T36" fmla="*/ 59 w 95"/>
                <a:gd name="T37" fmla="*/ 2 h 82"/>
                <a:gd name="T38" fmla="*/ 56 w 95"/>
                <a:gd name="T39" fmla="*/ 1 h 82"/>
                <a:gd name="T40" fmla="*/ 52 w 95"/>
                <a:gd name="T41" fmla="*/ 0 h 82"/>
                <a:gd name="T42" fmla="*/ 44 w 95"/>
                <a:gd name="T43" fmla="*/ 2 h 82"/>
                <a:gd name="T44" fmla="*/ 36 w 95"/>
                <a:gd name="T45" fmla="*/ 6 h 82"/>
                <a:gd name="T46" fmla="*/ 27 w 95"/>
                <a:gd name="T47" fmla="*/ 12 h 82"/>
                <a:gd name="T48" fmla="*/ 19 w 95"/>
                <a:gd name="T49" fmla="*/ 18 h 82"/>
                <a:gd name="T50" fmla="*/ 5 w 95"/>
                <a:gd name="T51" fmla="*/ 30 h 82"/>
                <a:gd name="T52" fmla="*/ 0 w 95"/>
                <a:gd name="T53" fmla="*/ 37 h 82"/>
                <a:gd name="T54" fmla="*/ 22 w 95"/>
                <a:gd name="T5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5" h="82">
                  <a:moveTo>
                    <a:pt x="22" y="82"/>
                  </a:moveTo>
                  <a:lnTo>
                    <a:pt x="31" y="81"/>
                  </a:lnTo>
                  <a:lnTo>
                    <a:pt x="52" y="79"/>
                  </a:lnTo>
                  <a:lnTo>
                    <a:pt x="64" y="77"/>
                  </a:lnTo>
                  <a:lnTo>
                    <a:pt x="75" y="73"/>
                  </a:lnTo>
                  <a:lnTo>
                    <a:pt x="81" y="72"/>
                  </a:lnTo>
                  <a:lnTo>
                    <a:pt x="85" y="70"/>
                  </a:lnTo>
                  <a:lnTo>
                    <a:pt x="89" y="67"/>
                  </a:lnTo>
                  <a:lnTo>
                    <a:pt x="91" y="63"/>
                  </a:lnTo>
                  <a:lnTo>
                    <a:pt x="93" y="59"/>
                  </a:lnTo>
                  <a:lnTo>
                    <a:pt x="95" y="54"/>
                  </a:lnTo>
                  <a:lnTo>
                    <a:pt x="95" y="49"/>
                  </a:lnTo>
                  <a:lnTo>
                    <a:pt x="95" y="43"/>
                  </a:lnTo>
                  <a:lnTo>
                    <a:pt x="90" y="33"/>
                  </a:lnTo>
                  <a:lnTo>
                    <a:pt x="84" y="23"/>
                  </a:lnTo>
                  <a:lnTo>
                    <a:pt x="76" y="13"/>
                  </a:lnTo>
                  <a:lnTo>
                    <a:pt x="68" y="7"/>
                  </a:lnTo>
                  <a:lnTo>
                    <a:pt x="64" y="3"/>
                  </a:lnTo>
                  <a:lnTo>
                    <a:pt x="59" y="2"/>
                  </a:lnTo>
                  <a:lnTo>
                    <a:pt x="56" y="1"/>
                  </a:lnTo>
                  <a:lnTo>
                    <a:pt x="52" y="0"/>
                  </a:lnTo>
                  <a:lnTo>
                    <a:pt x="44" y="2"/>
                  </a:lnTo>
                  <a:lnTo>
                    <a:pt x="36" y="6"/>
                  </a:lnTo>
                  <a:lnTo>
                    <a:pt x="27" y="12"/>
                  </a:lnTo>
                  <a:lnTo>
                    <a:pt x="19" y="18"/>
                  </a:lnTo>
                  <a:lnTo>
                    <a:pt x="5" y="30"/>
                  </a:lnTo>
                  <a:lnTo>
                    <a:pt x="0" y="37"/>
                  </a:lnTo>
                  <a:lnTo>
                    <a:pt x="22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5" name="Freeform 286"/>
            <p:cNvSpPr>
              <a:spLocks/>
            </p:cNvSpPr>
            <p:nvPr/>
          </p:nvSpPr>
          <p:spPr bwMode="auto">
            <a:xfrm>
              <a:off x="3349625" y="5724525"/>
              <a:ext cx="46038" cy="41275"/>
            </a:xfrm>
            <a:custGeom>
              <a:avLst/>
              <a:gdLst>
                <a:gd name="T0" fmla="*/ 37 w 119"/>
                <a:gd name="T1" fmla="*/ 104 h 104"/>
                <a:gd name="T2" fmla="*/ 30 w 119"/>
                <a:gd name="T3" fmla="*/ 103 h 104"/>
                <a:gd name="T4" fmla="*/ 22 w 119"/>
                <a:gd name="T5" fmla="*/ 97 h 104"/>
                <a:gd name="T6" fmla="*/ 23 w 119"/>
                <a:gd name="T7" fmla="*/ 88 h 104"/>
                <a:gd name="T8" fmla="*/ 30 w 119"/>
                <a:gd name="T9" fmla="*/ 81 h 104"/>
                <a:gd name="T10" fmla="*/ 34 w 119"/>
                <a:gd name="T11" fmla="*/ 79 h 104"/>
                <a:gd name="T12" fmla="*/ 54 w 119"/>
                <a:gd name="T13" fmla="*/ 79 h 104"/>
                <a:gd name="T14" fmla="*/ 86 w 119"/>
                <a:gd name="T15" fmla="*/ 73 h 104"/>
                <a:gd name="T16" fmla="*/ 94 w 119"/>
                <a:gd name="T17" fmla="*/ 63 h 104"/>
                <a:gd name="T18" fmla="*/ 92 w 119"/>
                <a:gd name="T19" fmla="*/ 51 h 104"/>
                <a:gd name="T20" fmla="*/ 83 w 119"/>
                <a:gd name="T21" fmla="*/ 38 h 104"/>
                <a:gd name="T22" fmla="*/ 69 w 119"/>
                <a:gd name="T23" fmla="*/ 27 h 104"/>
                <a:gd name="T24" fmla="*/ 64 w 119"/>
                <a:gd name="T25" fmla="*/ 24 h 104"/>
                <a:gd name="T26" fmla="*/ 55 w 119"/>
                <a:gd name="T27" fmla="*/ 28 h 104"/>
                <a:gd name="T28" fmla="*/ 44 w 119"/>
                <a:gd name="T29" fmla="*/ 35 h 104"/>
                <a:gd name="T30" fmla="*/ 21 w 119"/>
                <a:gd name="T31" fmla="*/ 56 h 104"/>
                <a:gd name="T32" fmla="*/ 12 w 119"/>
                <a:gd name="T33" fmla="*/ 60 h 104"/>
                <a:gd name="T34" fmla="*/ 4 w 119"/>
                <a:gd name="T35" fmla="*/ 56 h 104"/>
                <a:gd name="T36" fmla="*/ 0 w 119"/>
                <a:gd name="T37" fmla="*/ 49 h 104"/>
                <a:gd name="T38" fmla="*/ 3 w 119"/>
                <a:gd name="T39" fmla="*/ 40 h 104"/>
                <a:gd name="T40" fmla="*/ 28 w 119"/>
                <a:gd name="T41" fmla="*/ 17 h 104"/>
                <a:gd name="T42" fmla="*/ 47 w 119"/>
                <a:gd name="T43" fmla="*/ 5 h 104"/>
                <a:gd name="T44" fmla="*/ 64 w 119"/>
                <a:gd name="T45" fmla="*/ 0 h 104"/>
                <a:gd name="T46" fmla="*/ 70 w 119"/>
                <a:gd name="T47" fmla="*/ 1 h 104"/>
                <a:gd name="T48" fmla="*/ 83 w 119"/>
                <a:gd name="T49" fmla="*/ 7 h 104"/>
                <a:gd name="T50" fmla="*/ 97 w 119"/>
                <a:gd name="T51" fmla="*/ 17 h 104"/>
                <a:gd name="T52" fmla="*/ 107 w 119"/>
                <a:gd name="T53" fmla="*/ 29 h 104"/>
                <a:gd name="T54" fmla="*/ 114 w 119"/>
                <a:gd name="T55" fmla="*/ 43 h 104"/>
                <a:gd name="T56" fmla="*/ 118 w 119"/>
                <a:gd name="T57" fmla="*/ 54 h 104"/>
                <a:gd name="T58" fmla="*/ 119 w 119"/>
                <a:gd name="T59" fmla="*/ 65 h 104"/>
                <a:gd name="T60" fmla="*/ 117 w 119"/>
                <a:gd name="T61" fmla="*/ 76 h 104"/>
                <a:gd name="T62" fmla="*/ 110 w 119"/>
                <a:gd name="T63" fmla="*/ 84 h 104"/>
                <a:gd name="T64" fmla="*/ 104 w 119"/>
                <a:gd name="T65" fmla="*/ 90 h 104"/>
                <a:gd name="T66" fmla="*/ 90 w 119"/>
                <a:gd name="T67" fmla="*/ 98 h 104"/>
                <a:gd name="T68" fmla="*/ 58 w 119"/>
                <a:gd name="T69" fmla="*/ 10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9" h="104">
                  <a:moveTo>
                    <a:pt x="39" y="104"/>
                  </a:moveTo>
                  <a:lnTo>
                    <a:pt x="37" y="104"/>
                  </a:lnTo>
                  <a:lnTo>
                    <a:pt x="33" y="104"/>
                  </a:lnTo>
                  <a:lnTo>
                    <a:pt x="30" y="103"/>
                  </a:lnTo>
                  <a:lnTo>
                    <a:pt x="26" y="100"/>
                  </a:lnTo>
                  <a:lnTo>
                    <a:pt x="22" y="97"/>
                  </a:lnTo>
                  <a:lnTo>
                    <a:pt x="22" y="93"/>
                  </a:lnTo>
                  <a:lnTo>
                    <a:pt x="23" y="88"/>
                  </a:lnTo>
                  <a:lnTo>
                    <a:pt x="26" y="83"/>
                  </a:lnTo>
                  <a:lnTo>
                    <a:pt x="30" y="81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54" y="79"/>
                  </a:lnTo>
                  <a:lnTo>
                    <a:pt x="72" y="77"/>
                  </a:lnTo>
                  <a:lnTo>
                    <a:pt x="86" y="73"/>
                  </a:lnTo>
                  <a:lnTo>
                    <a:pt x="93" y="70"/>
                  </a:lnTo>
                  <a:lnTo>
                    <a:pt x="94" y="63"/>
                  </a:lnTo>
                  <a:lnTo>
                    <a:pt x="94" y="57"/>
                  </a:lnTo>
                  <a:lnTo>
                    <a:pt x="92" y="51"/>
                  </a:lnTo>
                  <a:lnTo>
                    <a:pt x="90" y="48"/>
                  </a:lnTo>
                  <a:lnTo>
                    <a:pt x="83" y="38"/>
                  </a:lnTo>
                  <a:lnTo>
                    <a:pt x="76" y="32"/>
                  </a:lnTo>
                  <a:lnTo>
                    <a:pt x="69" y="27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5"/>
                  </a:lnTo>
                  <a:lnTo>
                    <a:pt x="55" y="28"/>
                  </a:lnTo>
                  <a:lnTo>
                    <a:pt x="50" y="30"/>
                  </a:lnTo>
                  <a:lnTo>
                    <a:pt x="44" y="35"/>
                  </a:lnTo>
                  <a:lnTo>
                    <a:pt x="32" y="45"/>
                  </a:lnTo>
                  <a:lnTo>
                    <a:pt x="21" y="56"/>
                  </a:lnTo>
                  <a:lnTo>
                    <a:pt x="17" y="59"/>
                  </a:lnTo>
                  <a:lnTo>
                    <a:pt x="12" y="60"/>
                  </a:lnTo>
                  <a:lnTo>
                    <a:pt x="7" y="59"/>
                  </a:lnTo>
                  <a:lnTo>
                    <a:pt x="4" y="56"/>
                  </a:lnTo>
                  <a:lnTo>
                    <a:pt x="1" y="52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3" y="40"/>
                  </a:lnTo>
                  <a:lnTo>
                    <a:pt x="14" y="30"/>
                  </a:lnTo>
                  <a:lnTo>
                    <a:pt x="28" y="17"/>
                  </a:lnTo>
                  <a:lnTo>
                    <a:pt x="37" y="11"/>
                  </a:lnTo>
                  <a:lnTo>
                    <a:pt x="47" y="5"/>
                  </a:lnTo>
                  <a:lnTo>
                    <a:pt x="55" y="1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0" y="1"/>
                  </a:lnTo>
                  <a:lnTo>
                    <a:pt x="77" y="3"/>
                  </a:lnTo>
                  <a:lnTo>
                    <a:pt x="83" y="7"/>
                  </a:lnTo>
                  <a:lnTo>
                    <a:pt x="91" y="11"/>
                  </a:lnTo>
                  <a:lnTo>
                    <a:pt x="97" y="17"/>
                  </a:lnTo>
                  <a:lnTo>
                    <a:pt x="102" y="23"/>
                  </a:lnTo>
                  <a:lnTo>
                    <a:pt x="107" y="29"/>
                  </a:lnTo>
                  <a:lnTo>
                    <a:pt x="110" y="37"/>
                  </a:lnTo>
                  <a:lnTo>
                    <a:pt x="114" y="43"/>
                  </a:lnTo>
                  <a:lnTo>
                    <a:pt x="117" y="48"/>
                  </a:lnTo>
                  <a:lnTo>
                    <a:pt x="118" y="54"/>
                  </a:lnTo>
                  <a:lnTo>
                    <a:pt x="119" y="60"/>
                  </a:lnTo>
                  <a:lnTo>
                    <a:pt x="119" y="65"/>
                  </a:lnTo>
                  <a:lnTo>
                    <a:pt x="118" y="71"/>
                  </a:lnTo>
                  <a:lnTo>
                    <a:pt x="117" y="76"/>
                  </a:lnTo>
                  <a:lnTo>
                    <a:pt x="114" y="81"/>
                  </a:lnTo>
                  <a:lnTo>
                    <a:pt x="110" y="84"/>
                  </a:lnTo>
                  <a:lnTo>
                    <a:pt x="108" y="88"/>
                  </a:lnTo>
                  <a:lnTo>
                    <a:pt x="104" y="90"/>
                  </a:lnTo>
                  <a:lnTo>
                    <a:pt x="99" y="93"/>
                  </a:lnTo>
                  <a:lnTo>
                    <a:pt x="90" y="98"/>
                  </a:lnTo>
                  <a:lnTo>
                    <a:pt x="80" y="100"/>
                  </a:lnTo>
                  <a:lnTo>
                    <a:pt x="58" y="103"/>
                  </a:lnTo>
                  <a:lnTo>
                    <a:pt x="39" y="10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6" name="Freeform 287"/>
            <p:cNvSpPr>
              <a:spLocks/>
            </p:cNvSpPr>
            <p:nvPr/>
          </p:nvSpPr>
          <p:spPr bwMode="auto">
            <a:xfrm>
              <a:off x="3257550" y="5740400"/>
              <a:ext cx="107950" cy="80963"/>
            </a:xfrm>
            <a:custGeom>
              <a:avLst/>
              <a:gdLst>
                <a:gd name="T0" fmla="*/ 239 w 274"/>
                <a:gd name="T1" fmla="*/ 0 h 206"/>
                <a:gd name="T2" fmla="*/ 116 w 274"/>
                <a:gd name="T3" fmla="*/ 60 h 206"/>
                <a:gd name="T4" fmla="*/ 24 w 274"/>
                <a:gd name="T5" fmla="*/ 103 h 206"/>
                <a:gd name="T6" fmla="*/ 15 w 274"/>
                <a:gd name="T7" fmla="*/ 109 h 206"/>
                <a:gd name="T8" fmla="*/ 9 w 274"/>
                <a:gd name="T9" fmla="*/ 116 h 206"/>
                <a:gd name="T10" fmla="*/ 4 w 274"/>
                <a:gd name="T11" fmla="*/ 126 h 206"/>
                <a:gd name="T12" fmla="*/ 2 w 274"/>
                <a:gd name="T13" fmla="*/ 136 h 206"/>
                <a:gd name="T14" fmla="*/ 0 w 274"/>
                <a:gd name="T15" fmla="*/ 147 h 206"/>
                <a:gd name="T16" fmla="*/ 0 w 274"/>
                <a:gd name="T17" fmla="*/ 157 h 206"/>
                <a:gd name="T18" fmla="*/ 3 w 274"/>
                <a:gd name="T19" fmla="*/ 168 h 206"/>
                <a:gd name="T20" fmla="*/ 7 w 274"/>
                <a:gd name="T21" fmla="*/ 178 h 206"/>
                <a:gd name="T22" fmla="*/ 9 w 274"/>
                <a:gd name="T23" fmla="*/ 182 h 206"/>
                <a:gd name="T24" fmla="*/ 13 w 274"/>
                <a:gd name="T25" fmla="*/ 187 h 206"/>
                <a:gd name="T26" fmla="*/ 15 w 274"/>
                <a:gd name="T27" fmla="*/ 192 h 206"/>
                <a:gd name="T28" fmla="*/ 19 w 274"/>
                <a:gd name="T29" fmla="*/ 196 h 206"/>
                <a:gd name="T30" fmla="*/ 27 w 274"/>
                <a:gd name="T31" fmla="*/ 201 h 206"/>
                <a:gd name="T32" fmla="*/ 36 w 274"/>
                <a:gd name="T33" fmla="*/ 204 h 206"/>
                <a:gd name="T34" fmla="*/ 46 w 274"/>
                <a:gd name="T35" fmla="*/ 206 h 206"/>
                <a:gd name="T36" fmla="*/ 56 w 274"/>
                <a:gd name="T37" fmla="*/ 206 h 206"/>
                <a:gd name="T38" fmla="*/ 64 w 274"/>
                <a:gd name="T39" fmla="*/ 203 h 206"/>
                <a:gd name="T40" fmla="*/ 74 w 274"/>
                <a:gd name="T41" fmla="*/ 200 h 206"/>
                <a:gd name="T42" fmla="*/ 274 w 274"/>
                <a:gd name="T43" fmla="*/ 67 h 206"/>
                <a:gd name="T44" fmla="*/ 239 w 274"/>
                <a:gd name="T4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4" h="206">
                  <a:moveTo>
                    <a:pt x="239" y="0"/>
                  </a:moveTo>
                  <a:lnTo>
                    <a:pt x="116" y="60"/>
                  </a:lnTo>
                  <a:lnTo>
                    <a:pt x="24" y="103"/>
                  </a:lnTo>
                  <a:lnTo>
                    <a:pt x="15" y="109"/>
                  </a:lnTo>
                  <a:lnTo>
                    <a:pt x="9" y="116"/>
                  </a:lnTo>
                  <a:lnTo>
                    <a:pt x="4" y="126"/>
                  </a:lnTo>
                  <a:lnTo>
                    <a:pt x="2" y="136"/>
                  </a:lnTo>
                  <a:lnTo>
                    <a:pt x="0" y="147"/>
                  </a:lnTo>
                  <a:lnTo>
                    <a:pt x="0" y="157"/>
                  </a:lnTo>
                  <a:lnTo>
                    <a:pt x="3" y="168"/>
                  </a:lnTo>
                  <a:lnTo>
                    <a:pt x="7" y="178"/>
                  </a:lnTo>
                  <a:lnTo>
                    <a:pt x="9" y="182"/>
                  </a:lnTo>
                  <a:lnTo>
                    <a:pt x="13" y="187"/>
                  </a:lnTo>
                  <a:lnTo>
                    <a:pt x="15" y="192"/>
                  </a:lnTo>
                  <a:lnTo>
                    <a:pt x="19" y="196"/>
                  </a:lnTo>
                  <a:lnTo>
                    <a:pt x="27" y="201"/>
                  </a:lnTo>
                  <a:lnTo>
                    <a:pt x="36" y="204"/>
                  </a:lnTo>
                  <a:lnTo>
                    <a:pt x="46" y="206"/>
                  </a:lnTo>
                  <a:lnTo>
                    <a:pt x="56" y="206"/>
                  </a:lnTo>
                  <a:lnTo>
                    <a:pt x="64" y="203"/>
                  </a:lnTo>
                  <a:lnTo>
                    <a:pt x="74" y="200"/>
                  </a:lnTo>
                  <a:lnTo>
                    <a:pt x="274" y="67"/>
                  </a:lnTo>
                  <a:lnTo>
                    <a:pt x="239" y="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7" name="Freeform 288"/>
            <p:cNvSpPr>
              <a:spLocks noEditPoints="1"/>
            </p:cNvSpPr>
            <p:nvPr/>
          </p:nvSpPr>
          <p:spPr bwMode="auto">
            <a:xfrm>
              <a:off x="3252788" y="5735638"/>
              <a:ext cx="117475" cy="90488"/>
            </a:xfrm>
            <a:custGeom>
              <a:avLst/>
              <a:gdLst>
                <a:gd name="T0" fmla="*/ 246 w 298"/>
                <a:gd name="T1" fmla="*/ 27 h 230"/>
                <a:gd name="T2" fmla="*/ 41 w 298"/>
                <a:gd name="T3" fmla="*/ 126 h 230"/>
                <a:gd name="T4" fmla="*/ 34 w 298"/>
                <a:gd name="T5" fmla="*/ 131 h 230"/>
                <a:gd name="T6" fmla="*/ 31 w 298"/>
                <a:gd name="T7" fmla="*/ 136 h 230"/>
                <a:gd name="T8" fmla="*/ 27 w 298"/>
                <a:gd name="T9" fmla="*/ 143 h 230"/>
                <a:gd name="T10" fmla="*/ 25 w 298"/>
                <a:gd name="T11" fmla="*/ 150 h 230"/>
                <a:gd name="T12" fmla="*/ 23 w 298"/>
                <a:gd name="T13" fmla="*/ 159 h 230"/>
                <a:gd name="T14" fmla="*/ 25 w 298"/>
                <a:gd name="T15" fmla="*/ 167 h 230"/>
                <a:gd name="T16" fmla="*/ 26 w 298"/>
                <a:gd name="T17" fmla="*/ 176 h 230"/>
                <a:gd name="T18" fmla="*/ 28 w 298"/>
                <a:gd name="T19" fmla="*/ 185 h 230"/>
                <a:gd name="T20" fmla="*/ 33 w 298"/>
                <a:gd name="T21" fmla="*/ 191 h 230"/>
                <a:gd name="T22" fmla="*/ 37 w 298"/>
                <a:gd name="T23" fmla="*/ 197 h 230"/>
                <a:gd name="T24" fmla="*/ 43 w 298"/>
                <a:gd name="T25" fmla="*/ 201 h 230"/>
                <a:gd name="T26" fmla="*/ 48 w 298"/>
                <a:gd name="T27" fmla="*/ 205 h 230"/>
                <a:gd name="T28" fmla="*/ 55 w 298"/>
                <a:gd name="T29" fmla="*/ 207 h 230"/>
                <a:gd name="T30" fmla="*/ 64 w 298"/>
                <a:gd name="T31" fmla="*/ 205 h 230"/>
                <a:gd name="T32" fmla="*/ 71 w 298"/>
                <a:gd name="T33" fmla="*/ 204 h 230"/>
                <a:gd name="T34" fmla="*/ 80 w 298"/>
                <a:gd name="T35" fmla="*/ 201 h 230"/>
                <a:gd name="T36" fmla="*/ 271 w 298"/>
                <a:gd name="T37" fmla="*/ 74 h 230"/>
                <a:gd name="T38" fmla="*/ 246 w 298"/>
                <a:gd name="T39" fmla="*/ 27 h 230"/>
                <a:gd name="T40" fmla="*/ 59 w 298"/>
                <a:gd name="T41" fmla="*/ 230 h 230"/>
                <a:gd name="T42" fmla="*/ 49 w 298"/>
                <a:gd name="T43" fmla="*/ 230 h 230"/>
                <a:gd name="T44" fmla="*/ 41 w 298"/>
                <a:gd name="T45" fmla="*/ 227 h 230"/>
                <a:gd name="T46" fmla="*/ 36 w 298"/>
                <a:gd name="T47" fmla="*/ 225 h 230"/>
                <a:gd name="T48" fmla="*/ 31 w 298"/>
                <a:gd name="T49" fmla="*/ 223 h 230"/>
                <a:gd name="T50" fmla="*/ 26 w 298"/>
                <a:gd name="T51" fmla="*/ 219 h 230"/>
                <a:gd name="T52" fmla="*/ 21 w 298"/>
                <a:gd name="T53" fmla="*/ 215 h 230"/>
                <a:gd name="T54" fmla="*/ 14 w 298"/>
                <a:gd name="T55" fmla="*/ 205 h 230"/>
                <a:gd name="T56" fmla="*/ 7 w 298"/>
                <a:gd name="T57" fmla="*/ 193 h 230"/>
                <a:gd name="T58" fmla="*/ 3 w 298"/>
                <a:gd name="T59" fmla="*/ 182 h 230"/>
                <a:gd name="T60" fmla="*/ 0 w 298"/>
                <a:gd name="T61" fmla="*/ 171 h 230"/>
                <a:gd name="T62" fmla="*/ 0 w 298"/>
                <a:gd name="T63" fmla="*/ 158 h 230"/>
                <a:gd name="T64" fmla="*/ 1 w 298"/>
                <a:gd name="T65" fmla="*/ 145 h 230"/>
                <a:gd name="T66" fmla="*/ 5 w 298"/>
                <a:gd name="T67" fmla="*/ 133 h 230"/>
                <a:gd name="T68" fmla="*/ 11 w 298"/>
                <a:gd name="T69" fmla="*/ 121 h 230"/>
                <a:gd name="T70" fmla="*/ 15 w 298"/>
                <a:gd name="T71" fmla="*/ 116 h 230"/>
                <a:gd name="T72" fmla="*/ 20 w 298"/>
                <a:gd name="T73" fmla="*/ 111 h 230"/>
                <a:gd name="T74" fmla="*/ 23 w 298"/>
                <a:gd name="T75" fmla="*/ 107 h 230"/>
                <a:gd name="T76" fmla="*/ 30 w 298"/>
                <a:gd name="T77" fmla="*/ 104 h 230"/>
                <a:gd name="T78" fmla="*/ 246 w 298"/>
                <a:gd name="T79" fmla="*/ 0 h 230"/>
                <a:gd name="T80" fmla="*/ 251 w 298"/>
                <a:gd name="T81" fmla="*/ 0 h 230"/>
                <a:gd name="T82" fmla="*/ 256 w 298"/>
                <a:gd name="T83" fmla="*/ 0 h 230"/>
                <a:gd name="T84" fmla="*/ 260 w 298"/>
                <a:gd name="T85" fmla="*/ 2 h 230"/>
                <a:gd name="T86" fmla="*/ 262 w 298"/>
                <a:gd name="T87" fmla="*/ 7 h 230"/>
                <a:gd name="T88" fmla="*/ 297 w 298"/>
                <a:gd name="T89" fmla="*/ 74 h 230"/>
                <a:gd name="T90" fmla="*/ 298 w 298"/>
                <a:gd name="T91" fmla="*/ 78 h 230"/>
                <a:gd name="T92" fmla="*/ 298 w 298"/>
                <a:gd name="T93" fmla="*/ 82 h 230"/>
                <a:gd name="T94" fmla="*/ 295 w 298"/>
                <a:gd name="T95" fmla="*/ 85 h 230"/>
                <a:gd name="T96" fmla="*/ 293 w 298"/>
                <a:gd name="T97" fmla="*/ 88 h 230"/>
                <a:gd name="T98" fmla="*/ 92 w 298"/>
                <a:gd name="T99" fmla="*/ 220 h 230"/>
                <a:gd name="T100" fmla="*/ 83 w 298"/>
                <a:gd name="T101" fmla="*/ 225 h 230"/>
                <a:gd name="T102" fmla="*/ 75 w 298"/>
                <a:gd name="T103" fmla="*/ 227 h 230"/>
                <a:gd name="T104" fmla="*/ 66 w 298"/>
                <a:gd name="T105" fmla="*/ 229 h 230"/>
                <a:gd name="T106" fmla="*/ 59 w 298"/>
                <a:gd name="T10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230">
                  <a:moveTo>
                    <a:pt x="246" y="27"/>
                  </a:moveTo>
                  <a:lnTo>
                    <a:pt x="41" y="126"/>
                  </a:lnTo>
                  <a:lnTo>
                    <a:pt x="34" y="131"/>
                  </a:lnTo>
                  <a:lnTo>
                    <a:pt x="31" y="136"/>
                  </a:lnTo>
                  <a:lnTo>
                    <a:pt x="27" y="143"/>
                  </a:lnTo>
                  <a:lnTo>
                    <a:pt x="25" y="150"/>
                  </a:lnTo>
                  <a:lnTo>
                    <a:pt x="23" y="159"/>
                  </a:lnTo>
                  <a:lnTo>
                    <a:pt x="25" y="167"/>
                  </a:lnTo>
                  <a:lnTo>
                    <a:pt x="26" y="176"/>
                  </a:lnTo>
                  <a:lnTo>
                    <a:pt x="28" y="185"/>
                  </a:lnTo>
                  <a:lnTo>
                    <a:pt x="33" y="191"/>
                  </a:lnTo>
                  <a:lnTo>
                    <a:pt x="37" y="197"/>
                  </a:lnTo>
                  <a:lnTo>
                    <a:pt x="43" y="201"/>
                  </a:lnTo>
                  <a:lnTo>
                    <a:pt x="48" y="205"/>
                  </a:lnTo>
                  <a:lnTo>
                    <a:pt x="55" y="207"/>
                  </a:lnTo>
                  <a:lnTo>
                    <a:pt x="64" y="205"/>
                  </a:lnTo>
                  <a:lnTo>
                    <a:pt x="71" y="204"/>
                  </a:lnTo>
                  <a:lnTo>
                    <a:pt x="80" y="201"/>
                  </a:lnTo>
                  <a:lnTo>
                    <a:pt x="271" y="74"/>
                  </a:lnTo>
                  <a:lnTo>
                    <a:pt x="246" y="27"/>
                  </a:lnTo>
                  <a:close/>
                  <a:moveTo>
                    <a:pt x="59" y="230"/>
                  </a:moveTo>
                  <a:lnTo>
                    <a:pt x="49" y="230"/>
                  </a:lnTo>
                  <a:lnTo>
                    <a:pt x="41" y="227"/>
                  </a:lnTo>
                  <a:lnTo>
                    <a:pt x="36" y="225"/>
                  </a:lnTo>
                  <a:lnTo>
                    <a:pt x="31" y="223"/>
                  </a:lnTo>
                  <a:lnTo>
                    <a:pt x="26" y="219"/>
                  </a:lnTo>
                  <a:lnTo>
                    <a:pt x="21" y="215"/>
                  </a:lnTo>
                  <a:lnTo>
                    <a:pt x="14" y="205"/>
                  </a:lnTo>
                  <a:lnTo>
                    <a:pt x="7" y="193"/>
                  </a:lnTo>
                  <a:lnTo>
                    <a:pt x="3" y="182"/>
                  </a:lnTo>
                  <a:lnTo>
                    <a:pt x="0" y="171"/>
                  </a:lnTo>
                  <a:lnTo>
                    <a:pt x="0" y="158"/>
                  </a:lnTo>
                  <a:lnTo>
                    <a:pt x="1" y="145"/>
                  </a:lnTo>
                  <a:lnTo>
                    <a:pt x="5" y="133"/>
                  </a:lnTo>
                  <a:lnTo>
                    <a:pt x="11" y="121"/>
                  </a:lnTo>
                  <a:lnTo>
                    <a:pt x="15" y="116"/>
                  </a:lnTo>
                  <a:lnTo>
                    <a:pt x="20" y="111"/>
                  </a:lnTo>
                  <a:lnTo>
                    <a:pt x="23" y="107"/>
                  </a:lnTo>
                  <a:lnTo>
                    <a:pt x="30" y="104"/>
                  </a:lnTo>
                  <a:lnTo>
                    <a:pt x="246" y="0"/>
                  </a:lnTo>
                  <a:lnTo>
                    <a:pt x="251" y="0"/>
                  </a:lnTo>
                  <a:lnTo>
                    <a:pt x="256" y="0"/>
                  </a:lnTo>
                  <a:lnTo>
                    <a:pt x="260" y="2"/>
                  </a:lnTo>
                  <a:lnTo>
                    <a:pt x="262" y="7"/>
                  </a:lnTo>
                  <a:lnTo>
                    <a:pt x="297" y="74"/>
                  </a:lnTo>
                  <a:lnTo>
                    <a:pt x="298" y="78"/>
                  </a:lnTo>
                  <a:lnTo>
                    <a:pt x="298" y="82"/>
                  </a:lnTo>
                  <a:lnTo>
                    <a:pt x="295" y="85"/>
                  </a:lnTo>
                  <a:lnTo>
                    <a:pt x="293" y="88"/>
                  </a:lnTo>
                  <a:lnTo>
                    <a:pt x="92" y="220"/>
                  </a:lnTo>
                  <a:lnTo>
                    <a:pt x="83" y="225"/>
                  </a:lnTo>
                  <a:lnTo>
                    <a:pt x="75" y="227"/>
                  </a:lnTo>
                  <a:lnTo>
                    <a:pt x="66" y="229"/>
                  </a:lnTo>
                  <a:lnTo>
                    <a:pt x="59" y="23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8" name="Freeform 289"/>
            <p:cNvSpPr>
              <a:spLocks/>
            </p:cNvSpPr>
            <p:nvPr/>
          </p:nvSpPr>
          <p:spPr bwMode="auto">
            <a:xfrm>
              <a:off x="3252788" y="5627688"/>
              <a:ext cx="303213" cy="169863"/>
            </a:xfrm>
            <a:custGeom>
              <a:avLst/>
              <a:gdLst>
                <a:gd name="T0" fmla="*/ 750 w 766"/>
                <a:gd name="T1" fmla="*/ 426 h 427"/>
                <a:gd name="T2" fmla="*/ 743 w 766"/>
                <a:gd name="T3" fmla="*/ 421 h 427"/>
                <a:gd name="T4" fmla="*/ 735 w 766"/>
                <a:gd name="T5" fmla="*/ 383 h 427"/>
                <a:gd name="T6" fmla="*/ 721 w 766"/>
                <a:gd name="T7" fmla="*/ 319 h 427"/>
                <a:gd name="T8" fmla="*/ 704 w 766"/>
                <a:gd name="T9" fmla="*/ 262 h 427"/>
                <a:gd name="T10" fmla="*/ 685 w 766"/>
                <a:gd name="T11" fmla="*/ 212 h 427"/>
                <a:gd name="T12" fmla="*/ 659 w 766"/>
                <a:gd name="T13" fmla="*/ 150 h 427"/>
                <a:gd name="T14" fmla="*/ 634 w 766"/>
                <a:gd name="T15" fmla="*/ 99 h 427"/>
                <a:gd name="T16" fmla="*/ 619 w 766"/>
                <a:gd name="T17" fmla="*/ 82 h 427"/>
                <a:gd name="T18" fmla="*/ 598 w 766"/>
                <a:gd name="T19" fmla="*/ 67 h 427"/>
                <a:gd name="T20" fmla="*/ 563 w 766"/>
                <a:gd name="T21" fmla="*/ 50 h 427"/>
                <a:gd name="T22" fmla="*/ 495 w 766"/>
                <a:gd name="T23" fmla="*/ 30 h 427"/>
                <a:gd name="T24" fmla="*/ 392 w 766"/>
                <a:gd name="T25" fmla="*/ 115 h 427"/>
                <a:gd name="T26" fmla="*/ 389 w 766"/>
                <a:gd name="T27" fmla="*/ 119 h 427"/>
                <a:gd name="T28" fmla="*/ 384 w 766"/>
                <a:gd name="T29" fmla="*/ 119 h 427"/>
                <a:gd name="T30" fmla="*/ 379 w 766"/>
                <a:gd name="T31" fmla="*/ 119 h 427"/>
                <a:gd name="T32" fmla="*/ 374 w 766"/>
                <a:gd name="T33" fmla="*/ 115 h 427"/>
                <a:gd name="T34" fmla="*/ 283 w 766"/>
                <a:gd name="T35" fmla="*/ 27 h 427"/>
                <a:gd name="T36" fmla="*/ 244 w 766"/>
                <a:gd name="T37" fmla="*/ 37 h 427"/>
                <a:gd name="T38" fmla="*/ 198 w 766"/>
                <a:gd name="T39" fmla="*/ 53 h 427"/>
                <a:gd name="T40" fmla="*/ 165 w 766"/>
                <a:gd name="T41" fmla="*/ 70 h 427"/>
                <a:gd name="T42" fmla="*/ 146 w 766"/>
                <a:gd name="T43" fmla="*/ 83 h 427"/>
                <a:gd name="T44" fmla="*/ 138 w 766"/>
                <a:gd name="T45" fmla="*/ 90 h 427"/>
                <a:gd name="T46" fmla="*/ 124 w 766"/>
                <a:gd name="T47" fmla="*/ 114 h 427"/>
                <a:gd name="T48" fmla="*/ 92 w 766"/>
                <a:gd name="T49" fmla="*/ 181 h 427"/>
                <a:gd name="T50" fmla="*/ 74 w 766"/>
                <a:gd name="T51" fmla="*/ 229 h 427"/>
                <a:gd name="T52" fmla="*/ 55 w 766"/>
                <a:gd name="T53" fmla="*/ 284 h 427"/>
                <a:gd name="T54" fmla="*/ 38 w 766"/>
                <a:gd name="T55" fmla="*/ 348 h 427"/>
                <a:gd name="T56" fmla="*/ 25 w 766"/>
                <a:gd name="T57" fmla="*/ 416 h 427"/>
                <a:gd name="T58" fmla="*/ 20 w 766"/>
                <a:gd name="T59" fmla="*/ 425 h 427"/>
                <a:gd name="T60" fmla="*/ 11 w 766"/>
                <a:gd name="T61" fmla="*/ 427 h 427"/>
                <a:gd name="T62" fmla="*/ 3 w 766"/>
                <a:gd name="T63" fmla="*/ 421 h 427"/>
                <a:gd name="T64" fmla="*/ 0 w 766"/>
                <a:gd name="T65" fmla="*/ 411 h 427"/>
                <a:gd name="T66" fmla="*/ 15 w 766"/>
                <a:gd name="T67" fmla="*/ 342 h 427"/>
                <a:gd name="T68" fmla="*/ 32 w 766"/>
                <a:gd name="T69" fmla="*/ 278 h 427"/>
                <a:gd name="T70" fmla="*/ 51 w 766"/>
                <a:gd name="T71" fmla="*/ 220 h 427"/>
                <a:gd name="T72" fmla="*/ 70 w 766"/>
                <a:gd name="T73" fmla="*/ 173 h 427"/>
                <a:gd name="T74" fmla="*/ 103 w 766"/>
                <a:gd name="T75" fmla="*/ 103 h 427"/>
                <a:gd name="T76" fmla="*/ 119 w 766"/>
                <a:gd name="T77" fmla="*/ 76 h 427"/>
                <a:gd name="T78" fmla="*/ 141 w 766"/>
                <a:gd name="T79" fmla="*/ 57 h 427"/>
                <a:gd name="T80" fmla="*/ 168 w 766"/>
                <a:gd name="T81" fmla="*/ 42 h 427"/>
                <a:gd name="T82" fmla="*/ 196 w 766"/>
                <a:gd name="T83" fmla="*/ 28 h 427"/>
                <a:gd name="T84" fmla="*/ 226 w 766"/>
                <a:gd name="T85" fmla="*/ 18 h 427"/>
                <a:gd name="T86" fmla="*/ 298 w 766"/>
                <a:gd name="T87" fmla="*/ 0 h 427"/>
                <a:gd name="T88" fmla="*/ 309 w 766"/>
                <a:gd name="T89" fmla="*/ 5 h 427"/>
                <a:gd name="T90" fmla="*/ 450 w 766"/>
                <a:gd name="T91" fmla="*/ 5 h 427"/>
                <a:gd name="T92" fmla="*/ 461 w 766"/>
                <a:gd name="T93" fmla="*/ 0 h 427"/>
                <a:gd name="T94" fmla="*/ 484 w 766"/>
                <a:gd name="T95" fmla="*/ 5 h 427"/>
                <a:gd name="T96" fmla="*/ 534 w 766"/>
                <a:gd name="T97" fmla="*/ 16 h 427"/>
                <a:gd name="T98" fmla="*/ 564 w 766"/>
                <a:gd name="T99" fmla="*/ 26 h 427"/>
                <a:gd name="T100" fmla="*/ 593 w 766"/>
                <a:gd name="T101" fmla="*/ 38 h 427"/>
                <a:gd name="T102" fmla="*/ 621 w 766"/>
                <a:gd name="T103" fmla="*/ 54 h 427"/>
                <a:gd name="T104" fmla="*/ 646 w 766"/>
                <a:gd name="T105" fmla="*/ 75 h 427"/>
                <a:gd name="T106" fmla="*/ 648 w 766"/>
                <a:gd name="T107" fmla="*/ 76 h 427"/>
                <a:gd name="T108" fmla="*/ 667 w 766"/>
                <a:gd name="T109" fmla="*/ 110 h 427"/>
                <a:gd name="T110" fmla="*/ 700 w 766"/>
                <a:gd name="T111" fmla="*/ 181 h 427"/>
                <a:gd name="T112" fmla="*/ 718 w 766"/>
                <a:gd name="T113" fmla="*/ 228 h 427"/>
                <a:gd name="T114" fmla="*/ 737 w 766"/>
                <a:gd name="T115" fmla="*/ 283 h 427"/>
                <a:gd name="T116" fmla="*/ 753 w 766"/>
                <a:gd name="T117" fmla="*/ 344 h 427"/>
                <a:gd name="T118" fmla="*/ 766 w 766"/>
                <a:gd name="T119" fmla="*/ 411 h 427"/>
                <a:gd name="T120" fmla="*/ 764 w 766"/>
                <a:gd name="T121" fmla="*/ 421 h 427"/>
                <a:gd name="T122" fmla="*/ 756 w 766"/>
                <a:gd name="T123" fmla="*/ 427 h 427"/>
                <a:gd name="T124" fmla="*/ 754 w 766"/>
                <a:gd name="T125" fmla="*/ 42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6" h="427">
                  <a:moveTo>
                    <a:pt x="754" y="427"/>
                  </a:moveTo>
                  <a:lnTo>
                    <a:pt x="750" y="426"/>
                  </a:lnTo>
                  <a:lnTo>
                    <a:pt x="746" y="425"/>
                  </a:lnTo>
                  <a:lnTo>
                    <a:pt x="743" y="421"/>
                  </a:lnTo>
                  <a:lnTo>
                    <a:pt x="741" y="416"/>
                  </a:lnTo>
                  <a:lnTo>
                    <a:pt x="735" y="383"/>
                  </a:lnTo>
                  <a:lnTo>
                    <a:pt x="729" y="350"/>
                  </a:lnTo>
                  <a:lnTo>
                    <a:pt x="721" y="319"/>
                  </a:lnTo>
                  <a:lnTo>
                    <a:pt x="713" y="290"/>
                  </a:lnTo>
                  <a:lnTo>
                    <a:pt x="704" y="262"/>
                  </a:lnTo>
                  <a:lnTo>
                    <a:pt x="695" y="236"/>
                  </a:lnTo>
                  <a:lnTo>
                    <a:pt x="685" y="212"/>
                  </a:lnTo>
                  <a:lnTo>
                    <a:pt x="677" y="188"/>
                  </a:lnTo>
                  <a:lnTo>
                    <a:pt x="659" y="150"/>
                  </a:lnTo>
                  <a:lnTo>
                    <a:pt x="645" y="120"/>
                  </a:lnTo>
                  <a:lnTo>
                    <a:pt x="634" y="99"/>
                  </a:lnTo>
                  <a:lnTo>
                    <a:pt x="628" y="90"/>
                  </a:lnTo>
                  <a:lnTo>
                    <a:pt x="619" y="82"/>
                  </a:lnTo>
                  <a:lnTo>
                    <a:pt x="609" y="75"/>
                  </a:lnTo>
                  <a:lnTo>
                    <a:pt x="598" y="67"/>
                  </a:lnTo>
                  <a:lnTo>
                    <a:pt x="587" y="61"/>
                  </a:lnTo>
                  <a:lnTo>
                    <a:pt x="563" y="50"/>
                  </a:lnTo>
                  <a:lnTo>
                    <a:pt x="539" y="42"/>
                  </a:lnTo>
                  <a:lnTo>
                    <a:pt x="495" y="30"/>
                  </a:lnTo>
                  <a:lnTo>
                    <a:pt x="465" y="24"/>
                  </a:lnTo>
                  <a:lnTo>
                    <a:pt x="392" y="115"/>
                  </a:lnTo>
                  <a:lnTo>
                    <a:pt x="390" y="117"/>
                  </a:lnTo>
                  <a:lnTo>
                    <a:pt x="389" y="119"/>
                  </a:lnTo>
                  <a:lnTo>
                    <a:pt x="386" y="119"/>
                  </a:lnTo>
                  <a:lnTo>
                    <a:pt x="384" y="119"/>
                  </a:lnTo>
                  <a:lnTo>
                    <a:pt x="381" y="119"/>
                  </a:lnTo>
                  <a:lnTo>
                    <a:pt x="379" y="119"/>
                  </a:lnTo>
                  <a:lnTo>
                    <a:pt x="376" y="117"/>
                  </a:lnTo>
                  <a:lnTo>
                    <a:pt x="374" y="115"/>
                  </a:lnTo>
                  <a:lnTo>
                    <a:pt x="296" y="24"/>
                  </a:lnTo>
                  <a:lnTo>
                    <a:pt x="283" y="27"/>
                  </a:lnTo>
                  <a:lnTo>
                    <a:pt x="265" y="30"/>
                  </a:lnTo>
                  <a:lnTo>
                    <a:pt x="244" y="37"/>
                  </a:lnTo>
                  <a:lnTo>
                    <a:pt x="221" y="44"/>
                  </a:lnTo>
                  <a:lnTo>
                    <a:pt x="198" y="53"/>
                  </a:lnTo>
                  <a:lnTo>
                    <a:pt x="176" y="64"/>
                  </a:lnTo>
                  <a:lnTo>
                    <a:pt x="165" y="70"/>
                  </a:lnTo>
                  <a:lnTo>
                    <a:pt x="155" y="76"/>
                  </a:lnTo>
                  <a:lnTo>
                    <a:pt x="146" y="83"/>
                  </a:lnTo>
                  <a:lnTo>
                    <a:pt x="138" y="90"/>
                  </a:lnTo>
                  <a:lnTo>
                    <a:pt x="138" y="90"/>
                  </a:lnTo>
                  <a:lnTo>
                    <a:pt x="134" y="97"/>
                  </a:lnTo>
                  <a:lnTo>
                    <a:pt x="124" y="114"/>
                  </a:lnTo>
                  <a:lnTo>
                    <a:pt x="111" y="143"/>
                  </a:lnTo>
                  <a:lnTo>
                    <a:pt x="92" y="181"/>
                  </a:lnTo>
                  <a:lnTo>
                    <a:pt x="84" y="204"/>
                  </a:lnTo>
                  <a:lnTo>
                    <a:pt x="74" y="229"/>
                  </a:lnTo>
                  <a:lnTo>
                    <a:pt x="64" y="256"/>
                  </a:lnTo>
                  <a:lnTo>
                    <a:pt x="55" y="284"/>
                  </a:lnTo>
                  <a:lnTo>
                    <a:pt x="47" y="315"/>
                  </a:lnTo>
                  <a:lnTo>
                    <a:pt x="38" y="348"/>
                  </a:lnTo>
                  <a:lnTo>
                    <a:pt x="31" y="381"/>
                  </a:lnTo>
                  <a:lnTo>
                    <a:pt x="25" y="416"/>
                  </a:lnTo>
                  <a:lnTo>
                    <a:pt x="22" y="421"/>
                  </a:lnTo>
                  <a:lnTo>
                    <a:pt x="20" y="425"/>
                  </a:lnTo>
                  <a:lnTo>
                    <a:pt x="15" y="426"/>
                  </a:lnTo>
                  <a:lnTo>
                    <a:pt x="11" y="427"/>
                  </a:lnTo>
                  <a:lnTo>
                    <a:pt x="6" y="425"/>
                  </a:lnTo>
                  <a:lnTo>
                    <a:pt x="3" y="421"/>
                  </a:lnTo>
                  <a:lnTo>
                    <a:pt x="2" y="416"/>
                  </a:lnTo>
                  <a:lnTo>
                    <a:pt x="0" y="411"/>
                  </a:lnTo>
                  <a:lnTo>
                    <a:pt x="8" y="376"/>
                  </a:lnTo>
                  <a:lnTo>
                    <a:pt x="15" y="342"/>
                  </a:lnTo>
                  <a:lnTo>
                    <a:pt x="24" y="308"/>
                  </a:lnTo>
                  <a:lnTo>
                    <a:pt x="32" y="278"/>
                  </a:lnTo>
                  <a:lnTo>
                    <a:pt x="41" y="248"/>
                  </a:lnTo>
                  <a:lnTo>
                    <a:pt x="51" y="220"/>
                  </a:lnTo>
                  <a:lnTo>
                    <a:pt x="60" y="196"/>
                  </a:lnTo>
                  <a:lnTo>
                    <a:pt x="70" y="173"/>
                  </a:lnTo>
                  <a:lnTo>
                    <a:pt x="89" y="133"/>
                  </a:lnTo>
                  <a:lnTo>
                    <a:pt x="103" y="103"/>
                  </a:lnTo>
                  <a:lnTo>
                    <a:pt x="114" y="84"/>
                  </a:lnTo>
                  <a:lnTo>
                    <a:pt x="119" y="76"/>
                  </a:lnTo>
                  <a:lnTo>
                    <a:pt x="129" y="66"/>
                  </a:lnTo>
                  <a:lnTo>
                    <a:pt x="141" y="57"/>
                  </a:lnTo>
                  <a:lnTo>
                    <a:pt x="153" y="49"/>
                  </a:lnTo>
                  <a:lnTo>
                    <a:pt x="168" y="42"/>
                  </a:lnTo>
                  <a:lnTo>
                    <a:pt x="182" y="34"/>
                  </a:lnTo>
                  <a:lnTo>
                    <a:pt x="196" y="28"/>
                  </a:lnTo>
                  <a:lnTo>
                    <a:pt x="211" y="23"/>
                  </a:lnTo>
                  <a:lnTo>
                    <a:pt x="226" y="18"/>
                  </a:lnTo>
                  <a:lnTo>
                    <a:pt x="275" y="5"/>
                  </a:lnTo>
                  <a:lnTo>
                    <a:pt x="298" y="0"/>
                  </a:lnTo>
                  <a:lnTo>
                    <a:pt x="304" y="1"/>
                  </a:lnTo>
                  <a:lnTo>
                    <a:pt x="309" y="5"/>
                  </a:lnTo>
                  <a:lnTo>
                    <a:pt x="383" y="90"/>
                  </a:lnTo>
                  <a:lnTo>
                    <a:pt x="450" y="5"/>
                  </a:lnTo>
                  <a:lnTo>
                    <a:pt x="456" y="1"/>
                  </a:lnTo>
                  <a:lnTo>
                    <a:pt x="461" y="0"/>
                  </a:lnTo>
                  <a:lnTo>
                    <a:pt x="468" y="1"/>
                  </a:lnTo>
                  <a:lnTo>
                    <a:pt x="484" y="5"/>
                  </a:lnTo>
                  <a:lnTo>
                    <a:pt x="506" y="8"/>
                  </a:lnTo>
                  <a:lnTo>
                    <a:pt x="534" y="16"/>
                  </a:lnTo>
                  <a:lnTo>
                    <a:pt x="549" y="21"/>
                  </a:lnTo>
                  <a:lnTo>
                    <a:pt x="564" y="26"/>
                  </a:lnTo>
                  <a:lnTo>
                    <a:pt x="579" y="32"/>
                  </a:lnTo>
                  <a:lnTo>
                    <a:pt x="593" y="38"/>
                  </a:lnTo>
                  <a:lnTo>
                    <a:pt x="608" y="45"/>
                  </a:lnTo>
                  <a:lnTo>
                    <a:pt x="621" y="54"/>
                  </a:lnTo>
                  <a:lnTo>
                    <a:pt x="635" y="64"/>
                  </a:lnTo>
                  <a:lnTo>
                    <a:pt x="646" y="75"/>
                  </a:lnTo>
                  <a:lnTo>
                    <a:pt x="647" y="76"/>
                  </a:lnTo>
                  <a:lnTo>
                    <a:pt x="648" y="76"/>
                  </a:lnTo>
                  <a:lnTo>
                    <a:pt x="655" y="88"/>
                  </a:lnTo>
                  <a:lnTo>
                    <a:pt x="667" y="110"/>
                  </a:lnTo>
                  <a:lnTo>
                    <a:pt x="681" y="141"/>
                  </a:lnTo>
                  <a:lnTo>
                    <a:pt x="700" y="181"/>
                  </a:lnTo>
                  <a:lnTo>
                    <a:pt x="708" y="203"/>
                  </a:lnTo>
                  <a:lnTo>
                    <a:pt x="718" y="228"/>
                  </a:lnTo>
                  <a:lnTo>
                    <a:pt x="727" y="255"/>
                  </a:lnTo>
                  <a:lnTo>
                    <a:pt x="737" y="283"/>
                  </a:lnTo>
                  <a:lnTo>
                    <a:pt x="744" y="313"/>
                  </a:lnTo>
                  <a:lnTo>
                    <a:pt x="753" y="344"/>
                  </a:lnTo>
                  <a:lnTo>
                    <a:pt x="760" y="377"/>
                  </a:lnTo>
                  <a:lnTo>
                    <a:pt x="766" y="411"/>
                  </a:lnTo>
                  <a:lnTo>
                    <a:pt x="766" y="416"/>
                  </a:lnTo>
                  <a:lnTo>
                    <a:pt x="764" y="421"/>
                  </a:lnTo>
                  <a:lnTo>
                    <a:pt x="760" y="425"/>
                  </a:lnTo>
                  <a:lnTo>
                    <a:pt x="756" y="427"/>
                  </a:lnTo>
                  <a:lnTo>
                    <a:pt x="755" y="427"/>
                  </a:lnTo>
                  <a:lnTo>
                    <a:pt x="754" y="427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59" name="Freeform 290"/>
            <p:cNvSpPr>
              <a:spLocks/>
            </p:cNvSpPr>
            <p:nvPr/>
          </p:nvSpPr>
          <p:spPr bwMode="auto">
            <a:xfrm>
              <a:off x="3471863" y="5707063"/>
              <a:ext cx="34925" cy="57150"/>
            </a:xfrm>
            <a:custGeom>
              <a:avLst/>
              <a:gdLst>
                <a:gd name="T0" fmla="*/ 76 w 87"/>
                <a:gd name="T1" fmla="*/ 144 h 144"/>
                <a:gd name="T2" fmla="*/ 72 w 87"/>
                <a:gd name="T3" fmla="*/ 144 h 144"/>
                <a:gd name="T4" fmla="*/ 70 w 87"/>
                <a:gd name="T5" fmla="*/ 143 h 144"/>
                <a:gd name="T6" fmla="*/ 67 w 87"/>
                <a:gd name="T7" fmla="*/ 141 h 144"/>
                <a:gd name="T8" fmla="*/ 65 w 87"/>
                <a:gd name="T9" fmla="*/ 137 h 144"/>
                <a:gd name="T10" fmla="*/ 23 w 87"/>
                <a:gd name="T11" fmla="*/ 59 h 144"/>
                <a:gd name="T12" fmla="*/ 23 w 87"/>
                <a:gd name="T13" fmla="*/ 104 h 144"/>
                <a:gd name="T14" fmla="*/ 22 w 87"/>
                <a:gd name="T15" fmla="*/ 108 h 144"/>
                <a:gd name="T16" fmla="*/ 19 w 87"/>
                <a:gd name="T17" fmla="*/ 111 h 144"/>
                <a:gd name="T18" fmla="*/ 16 w 87"/>
                <a:gd name="T19" fmla="*/ 114 h 144"/>
                <a:gd name="T20" fmla="*/ 11 w 87"/>
                <a:gd name="T21" fmla="*/ 115 h 144"/>
                <a:gd name="T22" fmla="*/ 6 w 87"/>
                <a:gd name="T23" fmla="*/ 114 h 144"/>
                <a:gd name="T24" fmla="*/ 2 w 87"/>
                <a:gd name="T25" fmla="*/ 111 h 144"/>
                <a:gd name="T26" fmla="*/ 0 w 87"/>
                <a:gd name="T27" fmla="*/ 108 h 144"/>
                <a:gd name="T28" fmla="*/ 0 w 87"/>
                <a:gd name="T29" fmla="*/ 104 h 144"/>
                <a:gd name="T30" fmla="*/ 0 w 87"/>
                <a:gd name="T31" fmla="*/ 12 h 144"/>
                <a:gd name="T32" fmla="*/ 0 w 87"/>
                <a:gd name="T33" fmla="*/ 8 h 144"/>
                <a:gd name="T34" fmla="*/ 2 w 87"/>
                <a:gd name="T35" fmla="*/ 5 h 144"/>
                <a:gd name="T36" fmla="*/ 5 w 87"/>
                <a:gd name="T37" fmla="*/ 2 h 144"/>
                <a:gd name="T38" fmla="*/ 8 w 87"/>
                <a:gd name="T39" fmla="*/ 0 h 144"/>
                <a:gd name="T40" fmla="*/ 12 w 87"/>
                <a:gd name="T41" fmla="*/ 0 h 144"/>
                <a:gd name="T42" fmla="*/ 16 w 87"/>
                <a:gd name="T43" fmla="*/ 0 h 144"/>
                <a:gd name="T44" fmla="*/ 19 w 87"/>
                <a:gd name="T45" fmla="*/ 2 h 144"/>
                <a:gd name="T46" fmla="*/ 22 w 87"/>
                <a:gd name="T47" fmla="*/ 7 h 144"/>
                <a:gd name="T48" fmla="*/ 86 w 87"/>
                <a:gd name="T49" fmla="*/ 126 h 144"/>
                <a:gd name="T50" fmla="*/ 87 w 87"/>
                <a:gd name="T51" fmla="*/ 131 h 144"/>
                <a:gd name="T52" fmla="*/ 87 w 87"/>
                <a:gd name="T53" fmla="*/ 136 h 144"/>
                <a:gd name="T54" fmla="*/ 84 w 87"/>
                <a:gd name="T55" fmla="*/ 140 h 144"/>
                <a:gd name="T56" fmla="*/ 81 w 87"/>
                <a:gd name="T57" fmla="*/ 142 h 144"/>
                <a:gd name="T58" fmla="*/ 78 w 87"/>
                <a:gd name="T59" fmla="*/ 144 h 144"/>
                <a:gd name="T60" fmla="*/ 76 w 87"/>
                <a:gd name="T6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7" h="144">
                  <a:moveTo>
                    <a:pt x="76" y="144"/>
                  </a:moveTo>
                  <a:lnTo>
                    <a:pt x="72" y="144"/>
                  </a:lnTo>
                  <a:lnTo>
                    <a:pt x="70" y="143"/>
                  </a:lnTo>
                  <a:lnTo>
                    <a:pt x="67" y="141"/>
                  </a:lnTo>
                  <a:lnTo>
                    <a:pt x="65" y="137"/>
                  </a:lnTo>
                  <a:lnTo>
                    <a:pt x="23" y="59"/>
                  </a:lnTo>
                  <a:lnTo>
                    <a:pt x="23" y="104"/>
                  </a:lnTo>
                  <a:lnTo>
                    <a:pt x="22" y="108"/>
                  </a:lnTo>
                  <a:lnTo>
                    <a:pt x="19" y="111"/>
                  </a:lnTo>
                  <a:lnTo>
                    <a:pt x="16" y="114"/>
                  </a:lnTo>
                  <a:lnTo>
                    <a:pt x="11" y="115"/>
                  </a:lnTo>
                  <a:lnTo>
                    <a:pt x="6" y="114"/>
                  </a:lnTo>
                  <a:lnTo>
                    <a:pt x="2" y="111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5"/>
                  </a:lnTo>
                  <a:lnTo>
                    <a:pt x="5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22" y="7"/>
                  </a:lnTo>
                  <a:lnTo>
                    <a:pt x="86" y="126"/>
                  </a:lnTo>
                  <a:lnTo>
                    <a:pt x="87" y="131"/>
                  </a:lnTo>
                  <a:lnTo>
                    <a:pt x="87" y="136"/>
                  </a:lnTo>
                  <a:lnTo>
                    <a:pt x="84" y="140"/>
                  </a:lnTo>
                  <a:lnTo>
                    <a:pt x="81" y="142"/>
                  </a:lnTo>
                  <a:lnTo>
                    <a:pt x="78" y="144"/>
                  </a:lnTo>
                  <a:lnTo>
                    <a:pt x="76" y="14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60" name="Freeform 291"/>
            <p:cNvSpPr>
              <a:spLocks/>
            </p:cNvSpPr>
            <p:nvPr/>
          </p:nvSpPr>
          <p:spPr bwMode="auto">
            <a:xfrm>
              <a:off x="3417888" y="5729288"/>
              <a:ext cx="36513" cy="31750"/>
            </a:xfrm>
            <a:custGeom>
              <a:avLst/>
              <a:gdLst>
                <a:gd name="T0" fmla="*/ 73 w 94"/>
                <a:gd name="T1" fmla="*/ 82 h 82"/>
                <a:gd name="T2" fmla="*/ 63 w 94"/>
                <a:gd name="T3" fmla="*/ 81 h 82"/>
                <a:gd name="T4" fmla="*/ 43 w 94"/>
                <a:gd name="T5" fmla="*/ 79 h 82"/>
                <a:gd name="T6" fmla="*/ 30 w 94"/>
                <a:gd name="T7" fmla="*/ 77 h 82"/>
                <a:gd name="T8" fmla="*/ 19 w 94"/>
                <a:gd name="T9" fmla="*/ 73 h 82"/>
                <a:gd name="T10" fmla="*/ 14 w 94"/>
                <a:gd name="T11" fmla="*/ 72 h 82"/>
                <a:gd name="T12" fmla="*/ 9 w 94"/>
                <a:gd name="T13" fmla="*/ 70 h 82"/>
                <a:gd name="T14" fmla="*/ 6 w 94"/>
                <a:gd name="T15" fmla="*/ 67 h 82"/>
                <a:gd name="T16" fmla="*/ 3 w 94"/>
                <a:gd name="T17" fmla="*/ 63 h 82"/>
                <a:gd name="T18" fmla="*/ 1 w 94"/>
                <a:gd name="T19" fmla="*/ 59 h 82"/>
                <a:gd name="T20" fmla="*/ 0 w 94"/>
                <a:gd name="T21" fmla="*/ 54 h 82"/>
                <a:gd name="T22" fmla="*/ 0 w 94"/>
                <a:gd name="T23" fmla="*/ 49 h 82"/>
                <a:gd name="T24" fmla="*/ 1 w 94"/>
                <a:gd name="T25" fmla="*/ 43 h 82"/>
                <a:gd name="T26" fmla="*/ 5 w 94"/>
                <a:gd name="T27" fmla="*/ 33 h 82"/>
                <a:gd name="T28" fmla="*/ 11 w 94"/>
                <a:gd name="T29" fmla="*/ 23 h 82"/>
                <a:gd name="T30" fmla="*/ 18 w 94"/>
                <a:gd name="T31" fmla="*/ 13 h 82"/>
                <a:gd name="T32" fmla="*/ 27 w 94"/>
                <a:gd name="T33" fmla="*/ 7 h 82"/>
                <a:gd name="T34" fmla="*/ 30 w 94"/>
                <a:gd name="T35" fmla="*/ 3 h 82"/>
                <a:gd name="T36" fmla="*/ 35 w 94"/>
                <a:gd name="T37" fmla="*/ 2 h 82"/>
                <a:gd name="T38" fmla="*/ 39 w 94"/>
                <a:gd name="T39" fmla="*/ 1 h 82"/>
                <a:gd name="T40" fmla="*/ 43 w 94"/>
                <a:gd name="T41" fmla="*/ 0 h 82"/>
                <a:gd name="T42" fmla="*/ 50 w 94"/>
                <a:gd name="T43" fmla="*/ 2 h 82"/>
                <a:gd name="T44" fmla="*/ 58 w 94"/>
                <a:gd name="T45" fmla="*/ 6 h 82"/>
                <a:gd name="T46" fmla="*/ 67 w 94"/>
                <a:gd name="T47" fmla="*/ 12 h 82"/>
                <a:gd name="T48" fmla="*/ 76 w 94"/>
                <a:gd name="T49" fmla="*/ 18 h 82"/>
                <a:gd name="T50" fmla="*/ 89 w 94"/>
                <a:gd name="T51" fmla="*/ 30 h 82"/>
                <a:gd name="T52" fmla="*/ 94 w 94"/>
                <a:gd name="T53" fmla="*/ 37 h 82"/>
                <a:gd name="T54" fmla="*/ 73 w 94"/>
                <a:gd name="T5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" h="82">
                  <a:moveTo>
                    <a:pt x="73" y="82"/>
                  </a:moveTo>
                  <a:lnTo>
                    <a:pt x="63" y="81"/>
                  </a:lnTo>
                  <a:lnTo>
                    <a:pt x="43" y="79"/>
                  </a:lnTo>
                  <a:lnTo>
                    <a:pt x="30" y="77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9" y="70"/>
                  </a:lnTo>
                  <a:lnTo>
                    <a:pt x="6" y="67"/>
                  </a:lnTo>
                  <a:lnTo>
                    <a:pt x="3" y="63"/>
                  </a:lnTo>
                  <a:lnTo>
                    <a:pt x="1" y="59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1" y="43"/>
                  </a:lnTo>
                  <a:lnTo>
                    <a:pt x="5" y="33"/>
                  </a:lnTo>
                  <a:lnTo>
                    <a:pt x="11" y="23"/>
                  </a:lnTo>
                  <a:lnTo>
                    <a:pt x="18" y="13"/>
                  </a:lnTo>
                  <a:lnTo>
                    <a:pt x="27" y="7"/>
                  </a:lnTo>
                  <a:lnTo>
                    <a:pt x="30" y="3"/>
                  </a:lnTo>
                  <a:lnTo>
                    <a:pt x="35" y="2"/>
                  </a:lnTo>
                  <a:lnTo>
                    <a:pt x="39" y="1"/>
                  </a:lnTo>
                  <a:lnTo>
                    <a:pt x="43" y="0"/>
                  </a:lnTo>
                  <a:lnTo>
                    <a:pt x="50" y="2"/>
                  </a:lnTo>
                  <a:lnTo>
                    <a:pt x="58" y="6"/>
                  </a:lnTo>
                  <a:lnTo>
                    <a:pt x="67" y="12"/>
                  </a:lnTo>
                  <a:lnTo>
                    <a:pt x="76" y="18"/>
                  </a:lnTo>
                  <a:lnTo>
                    <a:pt x="89" y="30"/>
                  </a:lnTo>
                  <a:lnTo>
                    <a:pt x="94" y="37"/>
                  </a:lnTo>
                  <a:lnTo>
                    <a:pt x="73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61" name="Freeform 292"/>
            <p:cNvSpPr>
              <a:spLocks/>
            </p:cNvSpPr>
            <p:nvPr/>
          </p:nvSpPr>
          <p:spPr bwMode="auto">
            <a:xfrm>
              <a:off x="3413125" y="5724525"/>
              <a:ext cx="46038" cy="41275"/>
            </a:xfrm>
            <a:custGeom>
              <a:avLst/>
              <a:gdLst>
                <a:gd name="T0" fmla="*/ 62 w 119"/>
                <a:gd name="T1" fmla="*/ 103 h 104"/>
                <a:gd name="T2" fmla="*/ 30 w 119"/>
                <a:gd name="T3" fmla="*/ 98 h 104"/>
                <a:gd name="T4" fmla="*/ 16 w 119"/>
                <a:gd name="T5" fmla="*/ 90 h 104"/>
                <a:gd name="T6" fmla="*/ 9 w 119"/>
                <a:gd name="T7" fmla="*/ 84 h 104"/>
                <a:gd name="T8" fmla="*/ 3 w 119"/>
                <a:gd name="T9" fmla="*/ 76 h 104"/>
                <a:gd name="T10" fmla="*/ 0 w 119"/>
                <a:gd name="T11" fmla="*/ 65 h 104"/>
                <a:gd name="T12" fmla="*/ 2 w 119"/>
                <a:gd name="T13" fmla="*/ 54 h 104"/>
                <a:gd name="T14" fmla="*/ 5 w 119"/>
                <a:gd name="T15" fmla="*/ 43 h 104"/>
                <a:gd name="T16" fmla="*/ 13 w 119"/>
                <a:gd name="T17" fmla="*/ 29 h 104"/>
                <a:gd name="T18" fmla="*/ 22 w 119"/>
                <a:gd name="T19" fmla="*/ 17 h 104"/>
                <a:gd name="T20" fmla="*/ 36 w 119"/>
                <a:gd name="T21" fmla="*/ 7 h 104"/>
                <a:gd name="T22" fmla="*/ 49 w 119"/>
                <a:gd name="T23" fmla="*/ 1 h 104"/>
                <a:gd name="T24" fmla="*/ 56 w 119"/>
                <a:gd name="T25" fmla="*/ 0 h 104"/>
                <a:gd name="T26" fmla="*/ 74 w 119"/>
                <a:gd name="T27" fmla="*/ 5 h 104"/>
                <a:gd name="T28" fmla="*/ 91 w 119"/>
                <a:gd name="T29" fmla="*/ 17 h 104"/>
                <a:gd name="T30" fmla="*/ 117 w 119"/>
                <a:gd name="T31" fmla="*/ 40 h 104"/>
                <a:gd name="T32" fmla="*/ 119 w 119"/>
                <a:gd name="T33" fmla="*/ 49 h 104"/>
                <a:gd name="T34" fmla="*/ 116 w 119"/>
                <a:gd name="T35" fmla="*/ 56 h 104"/>
                <a:gd name="T36" fmla="*/ 107 w 119"/>
                <a:gd name="T37" fmla="*/ 60 h 104"/>
                <a:gd name="T38" fmla="*/ 98 w 119"/>
                <a:gd name="T39" fmla="*/ 56 h 104"/>
                <a:gd name="T40" fmla="*/ 75 w 119"/>
                <a:gd name="T41" fmla="*/ 35 h 104"/>
                <a:gd name="T42" fmla="*/ 64 w 119"/>
                <a:gd name="T43" fmla="*/ 28 h 104"/>
                <a:gd name="T44" fmla="*/ 56 w 119"/>
                <a:gd name="T45" fmla="*/ 24 h 104"/>
                <a:gd name="T46" fmla="*/ 56 w 119"/>
                <a:gd name="T47" fmla="*/ 24 h 104"/>
                <a:gd name="T48" fmla="*/ 43 w 119"/>
                <a:gd name="T49" fmla="*/ 32 h 104"/>
                <a:gd name="T50" fmla="*/ 30 w 119"/>
                <a:gd name="T51" fmla="*/ 48 h 104"/>
                <a:gd name="T52" fmla="*/ 25 w 119"/>
                <a:gd name="T53" fmla="*/ 57 h 104"/>
                <a:gd name="T54" fmla="*/ 26 w 119"/>
                <a:gd name="T55" fmla="*/ 70 h 104"/>
                <a:gd name="T56" fmla="*/ 47 w 119"/>
                <a:gd name="T57" fmla="*/ 77 h 104"/>
                <a:gd name="T58" fmla="*/ 85 w 119"/>
                <a:gd name="T59" fmla="*/ 79 h 104"/>
                <a:gd name="T60" fmla="*/ 86 w 119"/>
                <a:gd name="T61" fmla="*/ 79 h 104"/>
                <a:gd name="T62" fmla="*/ 93 w 119"/>
                <a:gd name="T63" fmla="*/ 83 h 104"/>
                <a:gd name="T64" fmla="*/ 97 w 119"/>
                <a:gd name="T65" fmla="*/ 93 h 104"/>
                <a:gd name="T66" fmla="*/ 95 w 119"/>
                <a:gd name="T67" fmla="*/ 100 h 104"/>
                <a:gd name="T68" fmla="*/ 86 w 119"/>
                <a:gd name="T69" fmla="*/ 104 h 104"/>
                <a:gd name="T70" fmla="*/ 80 w 119"/>
                <a:gd name="T7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9" h="104">
                  <a:moveTo>
                    <a:pt x="80" y="104"/>
                  </a:moveTo>
                  <a:lnTo>
                    <a:pt x="62" y="103"/>
                  </a:lnTo>
                  <a:lnTo>
                    <a:pt x="41" y="100"/>
                  </a:lnTo>
                  <a:lnTo>
                    <a:pt x="30" y="98"/>
                  </a:lnTo>
                  <a:lnTo>
                    <a:pt x="20" y="93"/>
                  </a:lnTo>
                  <a:lnTo>
                    <a:pt x="16" y="90"/>
                  </a:lnTo>
                  <a:lnTo>
                    <a:pt x="11" y="88"/>
                  </a:lnTo>
                  <a:lnTo>
                    <a:pt x="9" y="84"/>
                  </a:lnTo>
                  <a:lnTo>
                    <a:pt x="7" y="81"/>
                  </a:lnTo>
                  <a:lnTo>
                    <a:pt x="3" y="76"/>
                  </a:lnTo>
                  <a:lnTo>
                    <a:pt x="2" y="71"/>
                  </a:lnTo>
                  <a:lnTo>
                    <a:pt x="0" y="65"/>
                  </a:lnTo>
                  <a:lnTo>
                    <a:pt x="0" y="60"/>
                  </a:lnTo>
                  <a:lnTo>
                    <a:pt x="2" y="54"/>
                  </a:lnTo>
                  <a:lnTo>
                    <a:pt x="3" y="48"/>
                  </a:lnTo>
                  <a:lnTo>
                    <a:pt x="5" y="43"/>
                  </a:lnTo>
                  <a:lnTo>
                    <a:pt x="9" y="37"/>
                  </a:lnTo>
                  <a:lnTo>
                    <a:pt x="13" y="29"/>
                  </a:lnTo>
                  <a:lnTo>
                    <a:pt x="18" y="23"/>
                  </a:lnTo>
                  <a:lnTo>
                    <a:pt x="22" y="17"/>
                  </a:lnTo>
                  <a:lnTo>
                    <a:pt x="29" y="11"/>
                  </a:lnTo>
                  <a:lnTo>
                    <a:pt x="36" y="7"/>
                  </a:lnTo>
                  <a:lnTo>
                    <a:pt x="42" y="3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4" y="1"/>
                  </a:lnTo>
                  <a:lnTo>
                    <a:pt x="74" y="5"/>
                  </a:lnTo>
                  <a:lnTo>
                    <a:pt x="82" y="11"/>
                  </a:lnTo>
                  <a:lnTo>
                    <a:pt x="91" y="17"/>
                  </a:lnTo>
                  <a:lnTo>
                    <a:pt x="106" y="30"/>
                  </a:lnTo>
                  <a:lnTo>
                    <a:pt x="117" y="40"/>
                  </a:lnTo>
                  <a:lnTo>
                    <a:pt x="119" y="44"/>
                  </a:lnTo>
                  <a:lnTo>
                    <a:pt x="119" y="49"/>
                  </a:lnTo>
                  <a:lnTo>
                    <a:pt x="118" y="52"/>
                  </a:lnTo>
                  <a:lnTo>
                    <a:pt x="116" y="56"/>
                  </a:lnTo>
                  <a:lnTo>
                    <a:pt x="112" y="59"/>
                  </a:lnTo>
                  <a:lnTo>
                    <a:pt x="107" y="60"/>
                  </a:lnTo>
                  <a:lnTo>
                    <a:pt x="102" y="59"/>
                  </a:lnTo>
                  <a:lnTo>
                    <a:pt x="98" y="56"/>
                  </a:lnTo>
                  <a:lnTo>
                    <a:pt x="87" y="45"/>
                  </a:lnTo>
                  <a:lnTo>
                    <a:pt x="75" y="35"/>
                  </a:lnTo>
                  <a:lnTo>
                    <a:pt x="69" y="30"/>
                  </a:lnTo>
                  <a:lnTo>
                    <a:pt x="64" y="28"/>
                  </a:lnTo>
                  <a:lnTo>
                    <a:pt x="59" y="25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1" y="27"/>
                  </a:lnTo>
                  <a:lnTo>
                    <a:pt x="43" y="32"/>
                  </a:lnTo>
                  <a:lnTo>
                    <a:pt x="36" y="38"/>
                  </a:lnTo>
                  <a:lnTo>
                    <a:pt x="30" y="48"/>
                  </a:lnTo>
                  <a:lnTo>
                    <a:pt x="27" y="51"/>
                  </a:lnTo>
                  <a:lnTo>
                    <a:pt x="25" y="57"/>
                  </a:lnTo>
                  <a:lnTo>
                    <a:pt x="25" y="63"/>
                  </a:lnTo>
                  <a:lnTo>
                    <a:pt x="26" y="70"/>
                  </a:lnTo>
                  <a:lnTo>
                    <a:pt x="33" y="73"/>
                  </a:lnTo>
                  <a:lnTo>
                    <a:pt x="47" y="77"/>
                  </a:lnTo>
                  <a:lnTo>
                    <a:pt x="6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6" y="79"/>
                  </a:lnTo>
                  <a:lnTo>
                    <a:pt x="90" y="81"/>
                  </a:lnTo>
                  <a:lnTo>
                    <a:pt x="93" y="83"/>
                  </a:lnTo>
                  <a:lnTo>
                    <a:pt x="96" y="88"/>
                  </a:lnTo>
                  <a:lnTo>
                    <a:pt x="97" y="93"/>
                  </a:lnTo>
                  <a:lnTo>
                    <a:pt x="97" y="97"/>
                  </a:lnTo>
                  <a:lnTo>
                    <a:pt x="95" y="100"/>
                  </a:lnTo>
                  <a:lnTo>
                    <a:pt x="91" y="103"/>
                  </a:lnTo>
                  <a:lnTo>
                    <a:pt x="86" y="104"/>
                  </a:lnTo>
                  <a:lnTo>
                    <a:pt x="82" y="104"/>
                  </a:lnTo>
                  <a:lnTo>
                    <a:pt x="80" y="104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62" name="Freeform 293"/>
            <p:cNvSpPr>
              <a:spLocks/>
            </p:cNvSpPr>
            <p:nvPr/>
          </p:nvSpPr>
          <p:spPr bwMode="auto">
            <a:xfrm>
              <a:off x="3443288" y="5740400"/>
              <a:ext cx="107950" cy="80963"/>
            </a:xfrm>
            <a:custGeom>
              <a:avLst/>
              <a:gdLst>
                <a:gd name="T0" fmla="*/ 33 w 273"/>
                <a:gd name="T1" fmla="*/ 0 h 206"/>
                <a:gd name="T2" fmla="*/ 159 w 273"/>
                <a:gd name="T3" fmla="*/ 60 h 206"/>
                <a:gd name="T4" fmla="*/ 251 w 273"/>
                <a:gd name="T5" fmla="*/ 103 h 206"/>
                <a:gd name="T6" fmla="*/ 258 w 273"/>
                <a:gd name="T7" fmla="*/ 109 h 206"/>
                <a:gd name="T8" fmla="*/ 264 w 273"/>
                <a:gd name="T9" fmla="*/ 116 h 206"/>
                <a:gd name="T10" fmla="*/ 269 w 273"/>
                <a:gd name="T11" fmla="*/ 126 h 206"/>
                <a:gd name="T12" fmla="*/ 272 w 273"/>
                <a:gd name="T13" fmla="*/ 136 h 206"/>
                <a:gd name="T14" fmla="*/ 273 w 273"/>
                <a:gd name="T15" fmla="*/ 147 h 206"/>
                <a:gd name="T16" fmla="*/ 273 w 273"/>
                <a:gd name="T17" fmla="*/ 157 h 206"/>
                <a:gd name="T18" fmla="*/ 271 w 273"/>
                <a:gd name="T19" fmla="*/ 168 h 206"/>
                <a:gd name="T20" fmla="*/ 267 w 273"/>
                <a:gd name="T21" fmla="*/ 178 h 206"/>
                <a:gd name="T22" fmla="*/ 264 w 273"/>
                <a:gd name="T23" fmla="*/ 182 h 206"/>
                <a:gd name="T24" fmla="*/ 262 w 273"/>
                <a:gd name="T25" fmla="*/ 187 h 206"/>
                <a:gd name="T26" fmla="*/ 258 w 273"/>
                <a:gd name="T27" fmla="*/ 192 h 206"/>
                <a:gd name="T28" fmla="*/ 255 w 273"/>
                <a:gd name="T29" fmla="*/ 196 h 206"/>
                <a:gd name="T30" fmla="*/ 246 w 273"/>
                <a:gd name="T31" fmla="*/ 201 h 206"/>
                <a:gd name="T32" fmla="*/ 237 w 273"/>
                <a:gd name="T33" fmla="*/ 204 h 206"/>
                <a:gd name="T34" fmla="*/ 228 w 273"/>
                <a:gd name="T35" fmla="*/ 206 h 206"/>
                <a:gd name="T36" fmla="*/ 219 w 273"/>
                <a:gd name="T37" fmla="*/ 206 h 206"/>
                <a:gd name="T38" fmla="*/ 209 w 273"/>
                <a:gd name="T39" fmla="*/ 203 h 206"/>
                <a:gd name="T40" fmla="*/ 201 w 273"/>
                <a:gd name="T41" fmla="*/ 200 h 206"/>
                <a:gd name="T42" fmla="*/ 0 w 273"/>
                <a:gd name="T43" fmla="*/ 67 h 206"/>
                <a:gd name="T44" fmla="*/ 33 w 273"/>
                <a:gd name="T45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3" h="206">
                  <a:moveTo>
                    <a:pt x="33" y="0"/>
                  </a:moveTo>
                  <a:lnTo>
                    <a:pt x="159" y="60"/>
                  </a:lnTo>
                  <a:lnTo>
                    <a:pt x="251" y="103"/>
                  </a:lnTo>
                  <a:lnTo>
                    <a:pt x="258" y="109"/>
                  </a:lnTo>
                  <a:lnTo>
                    <a:pt x="264" y="116"/>
                  </a:lnTo>
                  <a:lnTo>
                    <a:pt x="269" y="126"/>
                  </a:lnTo>
                  <a:lnTo>
                    <a:pt x="272" y="136"/>
                  </a:lnTo>
                  <a:lnTo>
                    <a:pt x="273" y="147"/>
                  </a:lnTo>
                  <a:lnTo>
                    <a:pt x="273" y="157"/>
                  </a:lnTo>
                  <a:lnTo>
                    <a:pt x="271" y="168"/>
                  </a:lnTo>
                  <a:lnTo>
                    <a:pt x="267" y="178"/>
                  </a:lnTo>
                  <a:lnTo>
                    <a:pt x="264" y="182"/>
                  </a:lnTo>
                  <a:lnTo>
                    <a:pt x="262" y="187"/>
                  </a:lnTo>
                  <a:lnTo>
                    <a:pt x="258" y="192"/>
                  </a:lnTo>
                  <a:lnTo>
                    <a:pt x="255" y="196"/>
                  </a:lnTo>
                  <a:lnTo>
                    <a:pt x="246" y="201"/>
                  </a:lnTo>
                  <a:lnTo>
                    <a:pt x="237" y="204"/>
                  </a:lnTo>
                  <a:lnTo>
                    <a:pt x="228" y="206"/>
                  </a:lnTo>
                  <a:lnTo>
                    <a:pt x="219" y="206"/>
                  </a:lnTo>
                  <a:lnTo>
                    <a:pt x="209" y="203"/>
                  </a:lnTo>
                  <a:lnTo>
                    <a:pt x="201" y="200"/>
                  </a:lnTo>
                  <a:lnTo>
                    <a:pt x="0" y="67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9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463" name="Freeform 294"/>
            <p:cNvSpPr>
              <a:spLocks noEditPoints="1"/>
            </p:cNvSpPr>
            <p:nvPr/>
          </p:nvSpPr>
          <p:spPr bwMode="auto">
            <a:xfrm>
              <a:off x="3438525" y="5735638"/>
              <a:ext cx="119063" cy="90488"/>
            </a:xfrm>
            <a:custGeom>
              <a:avLst/>
              <a:gdLst>
                <a:gd name="T0" fmla="*/ 26 w 297"/>
                <a:gd name="T1" fmla="*/ 74 h 230"/>
                <a:gd name="T2" fmla="*/ 219 w 297"/>
                <a:gd name="T3" fmla="*/ 201 h 230"/>
                <a:gd name="T4" fmla="*/ 226 w 297"/>
                <a:gd name="T5" fmla="*/ 204 h 230"/>
                <a:gd name="T6" fmla="*/ 234 w 297"/>
                <a:gd name="T7" fmla="*/ 205 h 230"/>
                <a:gd name="T8" fmla="*/ 241 w 297"/>
                <a:gd name="T9" fmla="*/ 207 h 230"/>
                <a:gd name="T10" fmla="*/ 248 w 297"/>
                <a:gd name="T11" fmla="*/ 205 h 230"/>
                <a:gd name="T12" fmla="*/ 254 w 297"/>
                <a:gd name="T13" fmla="*/ 201 h 230"/>
                <a:gd name="T14" fmla="*/ 259 w 297"/>
                <a:gd name="T15" fmla="*/ 197 h 230"/>
                <a:gd name="T16" fmla="*/ 264 w 297"/>
                <a:gd name="T17" fmla="*/ 191 h 230"/>
                <a:gd name="T18" fmla="*/ 268 w 297"/>
                <a:gd name="T19" fmla="*/ 185 h 230"/>
                <a:gd name="T20" fmla="*/ 271 w 297"/>
                <a:gd name="T21" fmla="*/ 176 h 230"/>
                <a:gd name="T22" fmla="*/ 273 w 297"/>
                <a:gd name="T23" fmla="*/ 167 h 230"/>
                <a:gd name="T24" fmla="*/ 273 w 297"/>
                <a:gd name="T25" fmla="*/ 159 h 230"/>
                <a:gd name="T26" fmla="*/ 273 w 297"/>
                <a:gd name="T27" fmla="*/ 150 h 230"/>
                <a:gd name="T28" fmla="*/ 270 w 297"/>
                <a:gd name="T29" fmla="*/ 143 h 230"/>
                <a:gd name="T30" fmla="*/ 267 w 297"/>
                <a:gd name="T31" fmla="*/ 136 h 230"/>
                <a:gd name="T32" fmla="*/ 262 w 297"/>
                <a:gd name="T33" fmla="*/ 131 h 230"/>
                <a:gd name="T34" fmla="*/ 257 w 297"/>
                <a:gd name="T35" fmla="*/ 126 h 230"/>
                <a:gd name="T36" fmla="*/ 51 w 297"/>
                <a:gd name="T37" fmla="*/ 27 h 230"/>
                <a:gd name="T38" fmla="*/ 26 w 297"/>
                <a:gd name="T39" fmla="*/ 74 h 230"/>
                <a:gd name="T40" fmla="*/ 238 w 297"/>
                <a:gd name="T41" fmla="*/ 230 h 230"/>
                <a:gd name="T42" fmla="*/ 231 w 297"/>
                <a:gd name="T43" fmla="*/ 229 h 230"/>
                <a:gd name="T44" fmla="*/ 222 w 297"/>
                <a:gd name="T45" fmla="*/ 227 h 230"/>
                <a:gd name="T46" fmla="*/ 214 w 297"/>
                <a:gd name="T47" fmla="*/ 225 h 230"/>
                <a:gd name="T48" fmla="*/ 207 w 297"/>
                <a:gd name="T49" fmla="*/ 220 h 230"/>
                <a:gd name="T50" fmla="*/ 4 w 297"/>
                <a:gd name="T51" fmla="*/ 88 h 230"/>
                <a:gd name="T52" fmla="*/ 2 w 297"/>
                <a:gd name="T53" fmla="*/ 85 h 230"/>
                <a:gd name="T54" fmla="*/ 0 w 297"/>
                <a:gd name="T55" fmla="*/ 82 h 230"/>
                <a:gd name="T56" fmla="*/ 0 w 297"/>
                <a:gd name="T57" fmla="*/ 78 h 230"/>
                <a:gd name="T58" fmla="*/ 1 w 297"/>
                <a:gd name="T59" fmla="*/ 74 h 230"/>
                <a:gd name="T60" fmla="*/ 35 w 297"/>
                <a:gd name="T61" fmla="*/ 7 h 230"/>
                <a:gd name="T62" fmla="*/ 38 w 297"/>
                <a:gd name="T63" fmla="*/ 2 h 230"/>
                <a:gd name="T64" fmla="*/ 41 w 297"/>
                <a:gd name="T65" fmla="*/ 0 h 230"/>
                <a:gd name="T66" fmla="*/ 46 w 297"/>
                <a:gd name="T67" fmla="*/ 0 h 230"/>
                <a:gd name="T68" fmla="*/ 51 w 297"/>
                <a:gd name="T69" fmla="*/ 0 h 230"/>
                <a:gd name="T70" fmla="*/ 268 w 297"/>
                <a:gd name="T71" fmla="*/ 104 h 230"/>
                <a:gd name="T72" fmla="*/ 273 w 297"/>
                <a:gd name="T73" fmla="*/ 107 h 230"/>
                <a:gd name="T74" fmla="*/ 278 w 297"/>
                <a:gd name="T75" fmla="*/ 111 h 230"/>
                <a:gd name="T76" fmla="*/ 283 w 297"/>
                <a:gd name="T77" fmla="*/ 116 h 230"/>
                <a:gd name="T78" fmla="*/ 286 w 297"/>
                <a:gd name="T79" fmla="*/ 121 h 230"/>
                <a:gd name="T80" fmla="*/ 292 w 297"/>
                <a:gd name="T81" fmla="*/ 133 h 230"/>
                <a:gd name="T82" fmla="*/ 296 w 297"/>
                <a:gd name="T83" fmla="*/ 145 h 230"/>
                <a:gd name="T84" fmla="*/ 297 w 297"/>
                <a:gd name="T85" fmla="*/ 158 h 230"/>
                <a:gd name="T86" fmla="*/ 297 w 297"/>
                <a:gd name="T87" fmla="*/ 171 h 230"/>
                <a:gd name="T88" fmla="*/ 295 w 297"/>
                <a:gd name="T89" fmla="*/ 182 h 230"/>
                <a:gd name="T90" fmla="*/ 290 w 297"/>
                <a:gd name="T91" fmla="*/ 193 h 230"/>
                <a:gd name="T92" fmla="*/ 284 w 297"/>
                <a:gd name="T93" fmla="*/ 205 h 230"/>
                <a:gd name="T94" fmla="*/ 276 w 297"/>
                <a:gd name="T95" fmla="*/ 215 h 230"/>
                <a:gd name="T96" fmla="*/ 271 w 297"/>
                <a:gd name="T97" fmla="*/ 219 h 230"/>
                <a:gd name="T98" fmla="*/ 267 w 297"/>
                <a:gd name="T99" fmla="*/ 223 h 230"/>
                <a:gd name="T100" fmla="*/ 262 w 297"/>
                <a:gd name="T101" fmla="*/ 225 h 230"/>
                <a:gd name="T102" fmla="*/ 257 w 297"/>
                <a:gd name="T103" fmla="*/ 227 h 230"/>
                <a:gd name="T104" fmla="*/ 248 w 297"/>
                <a:gd name="T105" fmla="*/ 230 h 230"/>
                <a:gd name="T106" fmla="*/ 238 w 297"/>
                <a:gd name="T10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7" h="230">
                  <a:moveTo>
                    <a:pt x="26" y="74"/>
                  </a:moveTo>
                  <a:lnTo>
                    <a:pt x="219" y="201"/>
                  </a:lnTo>
                  <a:lnTo>
                    <a:pt x="226" y="204"/>
                  </a:lnTo>
                  <a:lnTo>
                    <a:pt x="234" y="205"/>
                  </a:lnTo>
                  <a:lnTo>
                    <a:pt x="241" y="207"/>
                  </a:lnTo>
                  <a:lnTo>
                    <a:pt x="248" y="205"/>
                  </a:lnTo>
                  <a:lnTo>
                    <a:pt x="254" y="201"/>
                  </a:lnTo>
                  <a:lnTo>
                    <a:pt x="259" y="197"/>
                  </a:lnTo>
                  <a:lnTo>
                    <a:pt x="264" y="191"/>
                  </a:lnTo>
                  <a:lnTo>
                    <a:pt x="268" y="185"/>
                  </a:lnTo>
                  <a:lnTo>
                    <a:pt x="271" y="176"/>
                  </a:lnTo>
                  <a:lnTo>
                    <a:pt x="273" y="167"/>
                  </a:lnTo>
                  <a:lnTo>
                    <a:pt x="273" y="159"/>
                  </a:lnTo>
                  <a:lnTo>
                    <a:pt x="273" y="150"/>
                  </a:lnTo>
                  <a:lnTo>
                    <a:pt x="270" y="143"/>
                  </a:lnTo>
                  <a:lnTo>
                    <a:pt x="267" y="136"/>
                  </a:lnTo>
                  <a:lnTo>
                    <a:pt x="262" y="131"/>
                  </a:lnTo>
                  <a:lnTo>
                    <a:pt x="257" y="126"/>
                  </a:lnTo>
                  <a:lnTo>
                    <a:pt x="51" y="27"/>
                  </a:lnTo>
                  <a:lnTo>
                    <a:pt x="26" y="74"/>
                  </a:lnTo>
                  <a:close/>
                  <a:moveTo>
                    <a:pt x="238" y="230"/>
                  </a:moveTo>
                  <a:lnTo>
                    <a:pt x="231" y="229"/>
                  </a:lnTo>
                  <a:lnTo>
                    <a:pt x="222" y="227"/>
                  </a:lnTo>
                  <a:lnTo>
                    <a:pt x="214" y="225"/>
                  </a:lnTo>
                  <a:lnTo>
                    <a:pt x="207" y="220"/>
                  </a:lnTo>
                  <a:lnTo>
                    <a:pt x="4" y="88"/>
                  </a:lnTo>
                  <a:lnTo>
                    <a:pt x="2" y="85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1" y="74"/>
                  </a:lnTo>
                  <a:lnTo>
                    <a:pt x="35" y="7"/>
                  </a:lnTo>
                  <a:lnTo>
                    <a:pt x="38" y="2"/>
                  </a:lnTo>
                  <a:lnTo>
                    <a:pt x="41" y="0"/>
                  </a:lnTo>
                  <a:lnTo>
                    <a:pt x="46" y="0"/>
                  </a:lnTo>
                  <a:lnTo>
                    <a:pt x="51" y="0"/>
                  </a:lnTo>
                  <a:lnTo>
                    <a:pt x="268" y="104"/>
                  </a:lnTo>
                  <a:lnTo>
                    <a:pt x="273" y="107"/>
                  </a:lnTo>
                  <a:lnTo>
                    <a:pt x="278" y="111"/>
                  </a:lnTo>
                  <a:lnTo>
                    <a:pt x="283" y="116"/>
                  </a:lnTo>
                  <a:lnTo>
                    <a:pt x="286" y="121"/>
                  </a:lnTo>
                  <a:lnTo>
                    <a:pt x="292" y="133"/>
                  </a:lnTo>
                  <a:lnTo>
                    <a:pt x="296" y="145"/>
                  </a:lnTo>
                  <a:lnTo>
                    <a:pt x="297" y="158"/>
                  </a:lnTo>
                  <a:lnTo>
                    <a:pt x="297" y="171"/>
                  </a:lnTo>
                  <a:lnTo>
                    <a:pt x="295" y="182"/>
                  </a:lnTo>
                  <a:lnTo>
                    <a:pt x="290" y="193"/>
                  </a:lnTo>
                  <a:lnTo>
                    <a:pt x="284" y="205"/>
                  </a:lnTo>
                  <a:lnTo>
                    <a:pt x="276" y="215"/>
                  </a:lnTo>
                  <a:lnTo>
                    <a:pt x="271" y="219"/>
                  </a:lnTo>
                  <a:lnTo>
                    <a:pt x="267" y="223"/>
                  </a:lnTo>
                  <a:lnTo>
                    <a:pt x="262" y="225"/>
                  </a:lnTo>
                  <a:lnTo>
                    <a:pt x="257" y="227"/>
                  </a:lnTo>
                  <a:lnTo>
                    <a:pt x="248" y="230"/>
                  </a:lnTo>
                  <a:lnTo>
                    <a:pt x="238" y="230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559" name="Прямоугольник 558"/>
          <p:cNvSpPr/>
          <p:nvPr/>
        </p:nvSpPr>
        <p:spPr>
          <a:xfrm>
            <a:off x="1864927" y="1535490"/>
            <a:ext cx="1731708" cy="144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Учет при приемке ЖД-цистерн</a:t>
            </a:r>
          </a:p>
        </p:txBody>
      </p:sp>
      <p:sp>
        <p:nvSpPr>
          <p:cNvPr id="649" name="Прямоугольник 648"/>
          <p:cNvSpPr/>
          <p:nvPr/>
        </p:nvSpPr>
        <p:spPr>
          <a:xfrm>
            <a:off x="1979712" y="3886476"/>
            <a:ext cx="1548172" cy="468052"/>
          </a:xfrm>
          <a:prstGeom prst="rect">
            <a:avLst/>
          </a:prstGeom>
          <a:solidFill>
            <a:schemeClr val="bg1">
              <a:alpha val="37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Предел погрешности: </a:t>
            </a:r>
            <a:endParaRPr lang="ru-RU" sz="600" b="1" dirty="0" smtClean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масса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- 0,65</a:t>
            </a: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%</a:t>
            </a:r>
          </a:p>
          <a:p>
            <a:pPr>
              <a:spcBef>
                <a:spcPts val="300"/>
              </a:spcBef>
            </a:pP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Опционально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: автоматизированный учет по КТ-549</a:t>
            </a:r>
          </a:p>
        </p:txBody>
      </p:sp>
      <p:sp>
        <p:nvSpPr>
          <p:cNvPr id="652" name="Прямоугольник 651"/>
          <p:cNvSpPr/>
          <p:nvPr/>
        </p:nvSpPr>
        <p:spPr>
          <a:xfrm>
            <a:off x="1979712" y="3506838"/>
            <a:ext cx="1548172" cy="360040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spcBef>
                <a:spcPts val="450"/>
              </a:spcBef>
            </a:pPr>
            <a:r>
              <a:rPr lang="ru-RU" sz="600" b="1" dirty="0">
                <a:solidFill>
                  <a:schemeClr val="tx1"/>
                </a:solidFill>
              </a:rPr>
              <a:t>Ручные измерения в ЖД-цистернах и ручное внесение информации из ТТН в ЕАСКУ</a:t>
            </a:r>
          </a:p>
        </p:txBody>
      </p:sp>
      <p:grpSp>
        <p:nvGrpSpPr>
          <p:cNvPr id="498" name="knot_z"/>
          <p:cNvGrpSpPr>
            <a:grpSpLocks noChangeAspect="1"/>
          </p:cNvGrpSpPr>
          <p:nvPr/>
        </p:nvGrpSpPr>
        <p:grpSpPr>
          <a:xfrm>
            <a:off x="3323941" y="3722858"/>
            <a:ext cx="182612" cy="145615"/>
            <a:chOff x="5645151" y="4616451"/>
            <a:chExt cx="854075" cy="681038"/>
          </a:xfrm>
        </p:grpSpPr>
        <p:sp>
          <p:nvSpPr>
            <p:cNvPr id="499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0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1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2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3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4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5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6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7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8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09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0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1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2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3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4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5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6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7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8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519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582596" y="4136185"/>
            <a:ext cx="234074" cy="252916"/>
            <a:chOff x="582596" y="4208193"/>
            <a:chExt cx="234074" cy="252916"/>
          </a:xfrm>
        </p:grpSpPr>
        <p:grpSp>
          <p:nvGrpSpPr>
            <p:cNvPr id="696" name="sur_2_z"/>
            <p:cNvGrpSpPr>
              <a:grpSpLocks noChangeAspect="1"/>
            </p:cNvGrpSpPr>
            <p:nvPr/>
          </p:nvGrpSpPr>
          <p:grpSpPr>
            <a:xfrm>
              <a:off x="649496" y="4214983"/>
              <a:ext cx="98820" cy="219140"/>
              <a:chOff x="3252788" y="5476875"/>
              <a:chExt cx="304800" cy="695325"/>
            </a:xfrm>
          </p:grpSpPr>
          <p:sp>
            <p:nvSpPr>
              <p:cNvPr id="697" name="Freeform 262"/>
              <p:cNvSpPr>
                <a:spLocks/>
              </p:cNvSpPr>
              <p:nvPr/>
            </p:nvSpPr>
            <p:spPr bwMode="auto">
              <a:xfrm>
                <a:off x="3257550" y="5632450"/>
                <a:ext cx="293688" cy="190500"/>
              </a:xfrm>
              <a:custGeom>
                <a:avLst/>
                <a:gdLst>
                  <a:gd name="T0" fmla="*/ 624 w 741"/>
                  <a:gd name="T1" fmla="*/ 70 h 479"/>
                  <a:gd name="T2" fmla="*/ 624 w 741"/>
                  <a:gd name="T3" fmla="*/ 70 h 479"/>
                  <a:gd name="T4" fmla="*/ 613 w 741"/>
                  <a:gd name="T5" fmla="*/ 60 h 479"/>
                  <a:gd name="T6" fmla="*/ 601 w 741"/>
                  <a:gd name="T7" fmla="*/ 51 h 479"/>
                  <a:gd name="T8" fmla="*/ 588 w 741"/>
                  <a:gd name="T9" fmla="*/ 43 h 479"/>
                  <a:gd name="T10" fmla="*/ 573 w 741"/>
                  <a:gd name="T11" fmla="*/ 36 h 479"/>
                  <a:gd name="T12" fmla="*/ 558 w 741"/>
                  <a:gd name="T13" fmla="*/ 29 h 479"/>
                  <a:gd name="T14" fmla="*/ 544 w 741"/>
                  <a:gd name="T15" fmla="*/ 24 h 479"/>
                  <a:gd name="T16" fmla="*/ 529 w 741"/>
                  <a:gd name="T17" fmla="*/ 19 h 479"/>
                  <a:gd name="T18" fmla="*/ 515 w 741"/>
                  <a:gd name="T19" fmla="*/ 14 h 479"/>
                  <a:gd name="T20" fmla="*/ 468 w 741"/>
                  <a:gd name="T21" fmla="*/ 3 h 479"/>
                  <a:gd name="T22" fmla="*/ 447 w 741"/>
                  <a:gd name="T23" fmla="*/ 0 h 479"/>
                  <a:gd name="T24" fmla="*/ 370 w 741"/>
                  <a:gd name="T25" fmla="*/ 95 h 479"/>
                  <a:gd name="T26" fmla="*/ 287 w 741"/>
                  <a:gd name="T27" fmla="*/ 0 h 479"/>
                  <a:gd name="T28" fmla="*/ 267 w 741"/>
                  <a:gd name="T29" fmla="*/ 4 h 479"/>
                  <a:gd name="T30" fmla="*/ 219 w 741"/>
                  <a:gd name="T31" fmla="*/ 16 h 479"/>
                  <a:gd name="T32" fmla="*/ 205 w 741"/>
                  <a:gd name="T33" fmla="*/ 20 h 479"/>
                  <a:gd name="T34" fmla="*/ 191 w 741"/>
                  <a:gd name="T35" fmla="*/ 25 h 479"/>
                  <a:gd name="T36" fmla="*/ 177 w 741"/>
                  <a:gd name="T37" fmla="*/ 31 h 479"/>
                  <a:gd name="T38" fmla="*/ 163 w 741"/>
                  <a:gd name="T39" fmla="*/ 37 h 479"/>
                  <a:gd name="T40" fmla="*/ 149 w 741"/>
                  <a:gd name="T41" fmla="*/ 44 h 479"/>
                  <a:gd name="T42" fmla="*/ 137 w 741"/>
                  <a:gd name="T43" fmla="*/ 52 h 479"/>
                  <a:gd name="T44" fmla="*/ 126 w 741"/>
                  <a:gd name="T45" fmla="*/ 60 h 479"/>
                  <a:gd name="T46" fmla="*/ 116 w 741"/>
                  <a:gd name="T47" fmla="*/ 70 h 479"/>
                  <a:gd name="T48" fmla="*/ 112 w 741"/>
                  <a:gd name="T49" fmla="*/ 76 h 479"/>
                  <a:gd name="T50" fmla="*/ 103 w 741"/>
                  <a:gd name="T51" fmla="*/ 95 h 479"/>
                  <a:gd name="T52" fmla="*/ 88 w 741"/>
                  <a:gd name="T53" fmla="*/ 123 h 479"/>
                  <a:gd name="T54" fmla="*/ 69 w 741"/>
                  <a:gd name="T55" fmla="*/ 162 h 479"/>
                  <a:gd name="T56" fmla="*/ 60 w 741"/>
                  <a:gd name="T57" fmla="*/ 185 h 479"/>
                  <a:gd name="T58" fmla="*/ 50 w 741"/>
                  <a:gd name="T59" fmla="*/ 210 h 479"/>
                  <a:gd name="T60" fmla="*/ 40 w 741"/>
                  <a:gd name="T61" fmla="*/ 238 h 479"/>
                  <a:gd name="T62" fmla="*/ 31 w 741"/>
                  <a:gd name="T63" fmla="*/ 266 h 479"/>
                  <a:gd name="T64" fmla="*/ 22 w 741"/>
                  <a:gd name="T65" fmla="*/ 298 h 479"/>
                  <a:gd name="T66" fmla="*/ 13 w 741"/>
                  <a:gd name="T67" fmla="*/ 331 h 479"/>
                  <a:gd name="T68" fmla="*/ 6 w 741"/>
                  <a:gd name="T69" fmla="*/ 365 h 479"/>
                  <a:gd name="T70" fmla="*/ 0 w 741"/>
                  <a:gd name="T71" fmla="*/ 401 h 479"/>
                  <a:gd name="T72" fmla="*/ 189 w 741"/>
                  <a:gd name="T73" fmla="*/ 401 h 479"/>
                  <a:gd name="T74" fmla="*/ 189 w 741"/>
                  <a:gd name="T75" fmla="*/ 479 h 479"/>
                  <a:gd name="T76" fmla="*/ 548 w 741"/>
                  <a:gd name="T77" fmla="*/ 479 h 479"/>
                  <a:gd name="T78" fmla="*/ 548 w 741"/>
                  <a:gd name="T79" fmla="*/ 401 h 479"/>
                  <a:gd name="T80" fmla="*/ 741 w 741"/>
                  <a:gd name="T81" fmla="*/ 401 h 479"/>
                  <a:gd name="T82" fmla="*/ 735 w 741"/>
                  <a:gd name="T83" fmla="*/ 365 h 479"/>
                  <a:gd name="T84" fmla="*/ 727 w 741"/>
                  <a:gd name="T85" fmla="*/ 331 h 479"/>
                  <a:gd name="T86" fmla="*/ 719 w 741"/>
                  <a:gd name="T87" fmla="*/ 298 h 479"/>
                  <a:gd name="T88" fmla="*/ 709 w 741"/>
                  <a:gd name="T89" fmla="*/ 266 h 479"/>
                  <a:gd name="T90" fmla="*/ 700 w 741"/>
                  <a:gd name="T91" fmla="*/ 238 h 479"/>
                  <a:gd name="T92" fmla="*/ 691 w 741"/>
                  <a:gd name="T93" fmla="*/ 210 h 479"/>
                  <a:gd name="T94" fmla="*/ 681 w 741"/>
                  <a:gd name="T95" fmla="*/ 185 h 479"/>
                  <a:gd name="T96" fmla="*/ 671 w 741"/>
                  <a:gd name="T97" fmla="*/ 162 h 479"/>
                  <a:gd name="T98" fmla="*/ 653 w 741"/>
                  <a:gd name="T99" fmla="*/ 123 h 479"/>
                  <a:gd name="T100" fmla="*/ 638 w 741"/>
                  <a:gd name="T101" fmla="*/ 95 h 479"/>
                  <a:gd name="T102" fmla="*/ 628 w 741"/>
                  <a:gd name="T103" fmla="*/ 76 h 479"/>
                  <a:gd name="T104" fmla="*/ 624 w 741"/>
                  <a:gd name="T105" fmla="*/ 70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41" h="479">
                    <a:moveTo>
                      <a:pt x="624" y="70"/>
                    </a:moveTo>
                    <a:lnTo>
                      <a:pt x="624" y="70"/>
                    </a:lnTo>
                    <a:lnTo>
                      <a:pt x="613" y="60"/>
                    </a:lnTo>
                    <a:lnTo>
                      <a:pt x="601" y="51"/>
                    </a:lnTo>
                    <a:lnTo>
                      <a:pt x="588" y="43"/>
                    </a:lnTo>
                    <a:lnTo>
                      <a:pt x="573" y="36"/>
                    </a:lnTo>
                    <a:lnTo>
                      <a:pt x="558" y="29"/>
                    </a:lnTo>
                    <a:lnTo>
                      <a:pt x="544" y="24"/>
                    </a:lnTo>
                    <a:lnTo>
                      <a:pt x="529" y="19"/>
                    </a:lnTo>
                    <a:lnTo>
                      <a:pt x="515" y="14"/>
                    </a:lnTo>
                    <a:lnTo>
                      <a:pt x="468" y="3"/>
                    </a:lnTo>
                    <a:lnTo>
                      <a:pt x="447" y="0"/>
                    </a:lnTo>
                    <a:lnTo>
                      <a:pt x="370" y="95"/>
                    </a:lnTo>
                    <a:lnTo>
                      <a:pt x="287" y="0"/>
                    </a:lnTo>
                    <a:lnTo>
                      <a:pt x="267" y="4"/>
                    </a:lnTo>
                    <a:lnTo>
                      <a:pt x="219" y="16"/>
                    </a:lnTo>
                    <a:lnTo>
                      <a:pt x="205" y="20"/>
                    </a:lnTo>
                    <a:lnTo>
                      <a:pt x="191" y="25"/>
                    </a:lnTo>
                    <a:lnTo>
                      <a:pt x="177" y="31"/>
                    </a:lnTo>
                    <a:lnTo>
                      <a:pt x="163" y="37"/>
                    </a:lnTo>
                    <a:lnTo>
                      <a:pt x="149" y="44"/>
                    </a:lnTo>
                    <a:lnTo>
                      <a:pt x="137" y="52"/>
                    </a:lnTo>
                    <a:lnTo>
                      <a:pt x="126" y="60"/>
                    </a:lnTo>
                    <a:lnTo>
                      <a:pt x="116" y="70"/>
                    </a:lnTo>
                    <a:lnTo>
                      <a:pt x="112" y="76"/>
                    </a:lnTo>
                    <a:lnTo>
                      <a:pt x="103" y="95"/>
                    </a:lnTo>
                    <a:lnTo>
                      <a:pt x="88" y="123"/>
                    </a:lnTo>
                    <a:lnTo>
                      <a:pt x="69" y="162"/>
                    </a:lnTo>
                    <a:lnTo>
                      <a:pt x="60" y="185"/>
                    </a:lnTo>
                    <a:lnTo>
                      <a:pt x="50" y="210"/>
                    </a:lnTo>
                    <a:lnTo>
                      <a:pt x="40" y="238"/>
                    </a:lnTo>
                    <a:lnTo>
                      <a:pt x="31" y="266"/>
                    </a:lnTo>
                    <a:lnTo>
                      <a:pt x="22" y="298"/>
                    </a:lnTo>
                    <a:lnTo>
                      <a:pt x="13" y="331"/>
                    </a:lnTo>
                    <a:lnTo>
                      <a:pt x="6" y="365"/>
                    </a:lnTo>
                    <a:lnTo>
                      <a:pt x="0" y="401"/>
                    </a:lnTo>
                    <a:lnTo>
                      <a:pt x="189" y="401"/>
                    </a:lnTo>
                    <a:lnTo>
                      <a:pt x="189" y="479"/>
                    </a:lnTo>
                    <a:lnTo>
                      <a:pt x="548" y="479"/>
                    </a:lnTo>
                    <a:lnTo>
                      <a:pt x="548" y="401"/>
                    </a:lnTo>
                    <a:lnTo>
                      <a:pt x="741" y="401"/>
                    </a:lnTo>
                    <a:lnTo>
                      <a:pt x="735" y="365"/>
                    </a:lnTo>
                    <a:lnTo>
                      <a:pt x="727" y="331"/>
                    </a:lnTo>
                    <a:lnTo>
                      <a:pt x="719" y="298"/>
                    </a:lnTo>
                    <a:lnTo>
                      <a:pt x="709" y="266"/>
                    </a:lnTo>
                    <a:lnTo>
                      <a:pt x="700" y="238"/>
                    </a:lnTo>
                    <a:lnTo>
                      <a:pt x="691" y="210"/>
                    </a:lnTo>
                    <a:lnTo>
                      <a:pt x="681" y="185"/>
                    </a:lnTo>
                    <a:lnTo>
                      <a:pt x="671" y="162"/>
                    </a:lnTo>
                    <a:lnTo>
                      <a:pt x="653" y="123"/>
                    </a:lnTo>
                    <a:lnTo>
                      <a:pt x="638" y="95"/>
                    </a:lnTo>
                    <a:lnTo>
                      <a:pt x="628" y="76"/>
                    </a:lnTo>
                    <a:lnTo>
                      <a:pt x="624" y="70"/>
                    </a:lnTo>
                    <a:close/>
                  </a:path>
                </a:pathLst>
              </a:custGeom>
              <a:solidFill>
                <a:srgbClr val="0097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698" name="Freeform 263"/>
              <p:cNvSpPr>
                <a:spLocks/>
              </p:cNvSpPr>
              <p:nvPr/>
            </p:nvSpPr>
            <p:spPr bwMode="auto">
              <a:xfrm>
                <a:off x="3351213" y="5546725"/>
                <a:ext cx="101600" cy="84138"/>
              </a:xfrm>
              <a:custGeom>
                <a:avLst/>
                <a:gdLst>
                  <a:gd name="T0" fmla="*/ 109 w 255"/>
                  <a:gd name="T1" fmla="*/ 207 h 209"/>
                  <a:gd name="T2" fmla="*/ 82 w 255"/>
                  <a:gd name="T3" fmla="*/ 196 h 209"/>
                  <a:gd name="T4" fmla="*/ 62 w 255"/>
                  <a:gd name="T5" fmla="*/ 179 h 209"/>
                  <a:gd name="T6" fmla="*/ 36 w 255"/>
                  <a:gd name="T7" fmla="*/ 138 h 209"/>
                  <a:gd name="T8" fmla="*/ 14 w 255"/>
                  <a:gd name="T9" fmla="*/ 106 h 209"/>
                  <a:gd name="T10" fmla="*/ 1 w 255"/>
                  <a:gd name="T11" fmla="*/ 86 h 209"/>
                  <a:gd name="T12" fmla="*/ 3 w 255"/>
                  <a:gd name="T13" fmla="*/ 66 h 209"/>
                  <a:gd name="T14" fmla="*/ 6 w 255"/>
                  <a:gd name="T15" fmla="*/ 48 h 209"/>
                  <a:gd name="T16" fmla="*/ 4 w 255"/>
                  <a:gd name="T17" fmla="*/ 11 h 209"/>
                  <a:gd name="T18" fmla="*/ 11 w 255"/>
                  <a:gd name="T19" fmla="*/ 0 h 209"/>
                  <a:gd name="T20" fmla="*/ 21 w 255"/>
                  <a:gd name="T21" fmla="*/ 0 h 209"/>
                  <a:gd name="T22" fmla="*/ 28 w 255"/>
                  <a:gd name="T23" fmla="*/ 11 h 209"/>
                  <a:gd name="T24" fmla="*/ 32 w 255"/>
                  <a:gd name="T25" fmla="*/ 54 h 209"/>
                  <a:gd name="T26" fmla="*/ 32 w 255"/>
                  <a:gd name="T27" fmla="*/ 65 h 209"/>
                  <a:gd name="T28" fmla="*/ 25 w 255"/>
                  <a:gd name="T29" fmla="*/ 72 h 209"/>
                  <a:gd name="T30" fmla="*/ 27 w 255"/>
                  <a:gd name="T31" fmla="*/ 86 h 209"/>
                  <a:gd name="T32" fmla="*/ 42 w 255"/>
                  <a:gd name="T33" fmla="*/ 103 h 209"/>
                  <a:gd name="T34" fmla="*/ 53 w 255"/>
                  <a:gd name="T35" fmla="*/ 116 h 209"/>
                  <a:gd name="T36" fmla="*/ 63 w 255"/>
                  <a:gd name="T37" fmla="*/ 138 h 209"/>
                  <a:gd name="T38" fmla="*/ 80 w 255"/>
                  <a:gd name="T39" fmla="*/ 163 h 209"/>
                  <a:gd name="T40" fmla="*/ 101 w 255"/>
                  <a:gd name="T41" fmla="*/ 177 h 209"/>
                  <a:gd name="T42" fmla="*/ 130 w 255"/>
                  <a:gd name="T43" fmla="*/ 184 h 209"/>
                  <a:gd name="T44" fmla="*/ 158 w 255"/>
                  <a:gd name="T45" fmla="*/ 177 h 209"/>
                  <a:gd name="T46" fmla="*/ 178 w 255"/>
                  <a:gd name="T47" fmla="*/ 163 h 209"/>
                  <a:gd name="T48" fmla="*/ 195 w 255"/>
                  <a:gd name="T49" fmla="*/ 138 h 209"/>
                  <a:gd name="T50" fmla="*/ 202 w 255"/>
                  <a:gd name="T51" fmla="*/ 116 h 209"/>
                  <a:gd name="T52" fmla="*/ 215 w 255"/>
                  <a:gd name="T53" fmla="*/ 103 h 209"/>
                  <a:gd name="T54" fmla="*/ 228 w 255"/>
                  <a:gd name="T55" fmla="*/ 86 h 209"/>
                  <a:gd name="T56" fmla="*/ 231 w 255"/>
                  <a:gd name="T57" fmla="*/ 72 h 209"/>
                  <a:gd name="T58" fmla="*/ 224 w 255"/>
                  <a:gd name="T59" fmla="*/ 65 h 209"/>
                  <a:gd name="T60" fmla="*/ 224 w 255"/>
                  <a:gd name="T61" fmla="*/ 55 h 209"/>
                  <a:gd name="T62" fmla="*/ 228 w 255"/>
                  <a:gd name="T63" fmla="*/ 13 h 209"/>
                  <a:gd name="T64" fmla="*/ 235 w 255"/>
                  <a:gd name="T65" fmla="*/ 2 h 209"/>
                  <a:gd name="T66" fmla="*/ 249 w 255"/>
                  <a:gd name="T67" fmla="*/ 5 h 209"/>
                  <a:gd name="T68" fmla="*/ 251 w 255"/>
                  <a:gd name="T69" fmla="*/ 26 h 209"/>
                  <a:gd name="T70" fmla="*/ 248 w 255"/>
                  <a:gd name="T71" fmla="*/ 56 h 209"/>
                  <a:gd name="T72" fmla="*/ 255 w 255"/>
                  <a:gd name="T73" fmla="*/ 72 h 209"/>
                  <a:gd name="T74" fmla="*/ 251 w 255"/>
                  <a:gd name="T75" fmla="*/ 93 h 209"/>
                  <a:gd name="T76" fmla="*/ 233 w 255"/>
                  <a:gd name="T77" fmla="*/ 119 h 209"/>
                  <a:gd name="T78" fmla="*/ 216 w 255"/>
                  <a:gd name="T79" fmla="*/ 152 h 209"/>
                  <a:gd name="T80" fmla="*/ 191 w 255"/>
                  <a:gd name="T81" fmla="*/ 185 h 209"/>
                  <a:gd name="T82" fmla="*/ 169 w 255"/>
                  <a:gd name="T83" fmla="*/ 201 h 209"/>
                  <a:gd name="T84" fmla="*/ 141 w 255"/>
                  <a:gd name="T85" fmla="*/ 20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5" h="209">
                    <a:moveTo>
                      <a:pt x="130" y="209"/>
                    </a:moveTo>
                    <a:lnTo>
                      <a:pt x="119" y="208"/>
                    </a:lnTo>
                    <a:lnTo>
                      <a:pt x="109" y="207"/>
                    </a:lnTo>
                    <a:lnTo>
                      <a:pt x="99" y="203"/>
                    </a:lnTo>
                    <a:lnTo>
                      <a:pt x="91" y="201"/>
                    </a:lnTo>
                    <a:lnTo>
                      <a:pt x="82" y="196"/>
                    </a:lnTo>
                    <a:lnTo>
                      <a:pt x="75" y="191"/>
                    </a:lnTo>
                    <a:lnTo>
                      <a:pt x="68" y="185"/>
                    </a:lnTo>
                    <a:lnTo>
                      <a:pt x="62" y="179"/>
                    </a:lnTo>
                    <a:lnTo>
                      <a:pt x="50" y="165"/>
                    </a:lnTo>
                    <a:lnTo>
                      <a:pt x="42" y="152"/>
                    </a:lnTo>
                    <a:lnTo>
                      <a:pt x="36" y="138"/>
                    </a:lnTo>
                    <a:lnTo>
                      <a:pt x="31" y="126"/>
                    </a:lnTo>
                    <a:lnTo>
                      <a:pt x="24" y="119"/>
                    </a:lnTo>
                    <a:lnTo>
                      <a:pt x="14" y="106"/>
                    </a:lnTo>
                    <a:lnTo>
                      <a:pt x="9" y="100"/>
                    </a:lnTo>
                    <a:lnTo>
                      <a:pt x="5" y="93"/>
                    </a:lnTo>
                    <a:lnTo>
                      <a:pt x="1" y="86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3" y="66"/>
                    </a:lnTo>
                    <a:lnTo>
                      <a:pt x="5" y="61"/>
                    </a:lnTo>
                    <a:lnTo>
                      <a:pt x="8" y="56"/>
                    </a:lnTo>
                    <a:lnTo>
                      <a:pt x="6" y="48"/>
                    </a:lnTo>
                    <a:lnTo>
                      <a:pt x="5" y="38"/>
                    </a:lnTo>
                    <a:lnTo>
                      <a:pt x="4" y="26"/>
                    </a:lnTo>
                    <a:lnTo>
                      <a:pt x="4" y="11"/>
                    </a:lnTo>
                    <a:lnTo>
                      <a:pt x="5" y="6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25" y="2"/>
                    </a:lnTo>
                    <a:lnTo>
                      <a:pt x="27" y="6"/>
                    </a:lnTo>
                    <a:lnTo>
                      <a:pt x="28" y="11"/>
                    </a:lnTo>
                    <a:lnTo>
                      <a:pt x="28" y="28"/>
                    </a:lnTo>
                    <a:lnTo>
                      <a:pt x="31" y="44"/>
                    </a:lnTo>
                    <a:lnTo>
                      <a:pt x="32" y="54"/>
                    </a:lnTo>
                    <a:lnTo>
                      <a:pt x="32" y="57"/>
                    </a:lnTo>
                    <a:lnTo>
                      <a:pt x="32" y="61"/>
                    </a:lnTo>
                    <a:lnTo>
                      <a:pt x="32" y="65"/>
                    </a:lnTo>
                    <a:lnTo>
                      <a:pt x="31" y="67"/>
                    </a:lnTo>
                    <a:lnTo>
                      <a:pt x="28" y="70"/>
                    </a:lnTo>
                    <a:lnTo>
                      <a:pt x="25" y="72"/>
                    </a:lnTo>
                    <a:lnTo>
                      <a:pt x="25" y="76"/>
                    </a:lnTo>
                    <a:lnTo>
                      <a:pt x="26" y="81"/>
                    </a:lnTo>
                    <a:lnTo>
                      <a:pt x="27" y="86"/>
                    </a:lnTo>
                    <a:lnTo>
                      <a:pt x="31" y="89"/>
                    </a:lnTo>
                    <a:lnTo>
                      <a:pt x="35" y="94"/>
                    </a:lnTo>
                    <a:lnTo>
                      <a:pt x="42" y="103"/>
                    </a:lnTo>
                    <a:lnTo>
                      <a:pt x="49" y="110"/>
                    </a:lnTo>
                    <a:lnTo>
                      <a:pt x="52" y="112"/>
                    </a:lnTo>
                    <a:lnTo>
                      <a:pt x="53" y="116"/>
                    </a:lnTo>
                    <a:lnTo>
                      <a:pt x="54" y="120"/>
                    </a:lnTo>
                    <a:lnTo>
                      <a:pt x="58" y="128"/>
                    </a:lnTo>
                    <a:lnTo>
                      <a:pt x="63" y="138"/>
                    </a:lnTo>
                    <a:lnTo>
                      <a:pt x="70" y="150"/>
                    </a:lnTo>
                    <a:lnTo>
                      <a:pt x="75" y="157"/>
                    </a:lnTo>
                    <a:lnTo>
                      <a:pt x="80" y="163"/>
                    </a:lnTo>
                    <a:lnTo>
                      <a:pt x="86" y="169"/>
                    </a:lnTo>
                    <a:lnTo>
                      <a:pt x="93" y="174"/>
                    </a:lnTo>
                    <a:lnTo>
                      <a:pt x="101" y="177"/>
                    </a:lnTo>
                    <a:lnTo>
                      <a:pt x="111" y="181"/>
                    </a:lnTo>
                    <a:lnTo>
                      <a:pt x="119" y="184"/>
                    </a:lnTo>
                    <a:lnTo>
                      <a:pt x="130" y="184"/>
                    </a:lnTo>
                    <a:lnTo>
                      <a:pt x="141" y="184"/>
                    </a:lnTo>
                    <a:lnTo>
                      <a:pt x="150" y="181"/>
                    </a:lnTo>
                    <a:lnTo>
                      <a:pt x="158" y="177"/>
                    </a:lnTo>
                    <a:lnTo>
                      <a:pt x="166" y="174"/>
                    </a:lnTo>
                    <a:lnTo>
                      <a:pt x="173" y="169"/>
                    </a:lnTo>
                    <a:lnTo>
                      <a:pt x="178" y="163"/>
                    </a:lnTo>
                    <a:lnTo>
                      <a:pt x="184" y="157"/>
                    </a:lnTo>
                    <a:lnTo>
                      <a:pt x="188" y="150"/>
                    </a:lnTo>
                    <a:lnTo>
                      <a:pt x="195" y="138"/>
                    </a:lnTo>
                    <a:lnTo>
                      <a:pt x="199" y="128"/>
                    </a:lnTo>
                    <a:lnTo>
                      <a:pt x="201" y="120"/>
                    </a:lnTo>
                    <a:lnTo>
                      <a:pt x="202" y="116"/>
                    </a:lnTo>
                    <a:lnTo>
                      <a:pt x="204" y="112"/>
                    </a:lnTo>
                    <a:lnTo>
                      <a:pt x="207" y="110"/>
                    </a:lnTo>
                    <a:lnTo>
                      <a:pt x="215" y="103"/>
                    </a:lnTo>
                    <a:lnTo>
                      <a:pt x="222" y="94"/>
                    </a:lnTo>
                    <a:lnTo>
                      <a:pt x="226" y="89"/>
                    </a:lnTo>
                    <a:lnTo>
                      <a:pt x="228" y="86"/>
                    </a:lnTo>
                    <a:lnTo>
                      <a:pt x="231" y="81"/>
                    </a:lnTo>
                    <a:lnTo>
                      <a:pt x="232" y="76"/>
                    </a:lnTo>
                    <a:lnTo>
                      <a:pt x="231" y="72"/>
                    </a:lnTo>
                    <a:lnTo>
                      <a:pt x="227" y="70"/>
                    </a:lnTo>
                    <a:lnTo>
                      <a:pt x="226" y="67"/>
                    </a:lnTo>
                    <a:lnTo>
                      <a:pt x="224" y="65"/>
                    </a:lnTo>
                    <a:lnTo>
                      <a:pt x="223" y="61"/>
                    </a:lnTo>
                    <a:lnTo>
                      <a:pt x="223" y="57"/>
                    </a:lnTo>
                    <a:lnTo>
                      <a:pt x="224" y="55"/>
                    </a:lnTo>
                    <a:lnTo>
                      <a:pt x="226" y="45"/>
                    </a:lnTo>
                    <a:lnTo>
                      <a:pt x="227" y="30"/>
                    </a:lnTo>
                    <a:lnTo>
                      <a:pt x="228" y="13"/>
                    </a:lnTo>
                    <a:lnTo>
                      <a:pt x="229" y="8"/>
                    </a:lnTo>
                    <a:lnTo>
                      <a:pt x="232" y="5"/>
                    </a:lnTo>
                    <a:lnTo>
                      <a:pt x="235" y="2"/>
                    </a:lnTo>
                    <a:lnTo>
                      <a:pt x="240" y="1"/>
                    </a:lnTo>
                    <a:lnTo>
                      <a:pt x="244" y="2"/>
                    </a:lnTo>
                    <a:lnTo>
                      <a:pt x="249" y="5"/>
                    </a:lnTo>
                    <a:lnTo>
                      <a:pt x="251" y="8"/>
                    </a:lnTo>
                    <a:lnTo>
                      <a:pt x="251" y="13"/>
                    </a:lnTo>
                    <a:lnTo>
                      <a:pt x="251" y="26"/>
                    </a:lnTo>
                    <a:lnTo>
                      <a:pt x="250" y="38"/>
                    </a:lnTo>
                    <a:lnTo>
                      <a:pt x="249" y="48"/>
                    </a:lnTo>
                    <a:lnTo>
                      <a:pt x="248" y="56"/>
                    </a:lnTo>
                    <a:lnTo>
                      <a:pt x="251" y="61"/>
                    </a:lnTo>
                    <a:lnTo>
                      <a:pt x="254" y="66"/>
                    </a:lnTo>
                    <a:lnTo>
                      <a:pt x="255" y="72"/>
                    </a:lnTo>
                    <a:lnTo>
                      <a:pt x="255" y="78"/>
                    </a:lnTo>
                    <a:lnTo>
                      <a:pt x="254" y="86"/>
                    </a:lnTo>
                    <a:lnTo>
                      <a:pt x="251" y="93"/>
                    </a:lnTo>
                    <a:lnTo>
                      <a:pt x="248" y="100"/>
                    </a:lnTo>
                    <a:lnTo>
                      <a:pt x="243" y="106"/>
                    </a:lnTo>
                    <a:lnTo>
                      <a:pt x="233" y="119"/>
                    </a:lnTo>
                    <a:lnTo>
                      <a:pt x="226" y="126"/>
                    </a:lnTo>
                    <a:lnTo>
                      <a:pt x="221" y="138"/>
                    </a:lnTo>
                    <a:lnTo>
                      <a:pt x="216" y="152"/>
                    </a:lnTo>
                    <a:lnTo>
                      <a:pt x="207" y="165"/>
                    </a:lnTo>
                    <a:lnTo>
                      <a:pt x="197" y="179"/>
                    </a:lnTo>
                    <a:lnTo>
                      <a:pt x="191" y="185"/>
                    </a:lnTo>
                    <a:lnTo>
                      <a:pt x="184" y="191"/>
                    </a:lnTo>
                    <a:lnTo>
                      <a:pt x="177" y="196"/>
                    </a:lnTo>
                    <a:lnTo>
                      <a:pt x="169" y="201"/>
                    </a:lnTo>
                    <a:lnTo>
                      <a:pt x="161" y="203"/>
                    </a:lnTo>
                    <a:lnTo>
                      <a:pt x="151" y="207"/>
                    </a:lnTo>
                    <a:lnTo>
                      <a:pt x="141" y="208"/>
                    </a:lnTo>
                    <a:lnTo>
                      <a:pt x="130" y="209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699" name="Freeform 264"/>
              <p:cNvSpPr>
                <a:spLocks/>
              </p:cNvSpPr>
              <p:nvPr/>
            </p:nvSpPr>
            <p:spPr bwMode="auto">
              <a:xfrm>
                <a:off x="3365500" y="5597525"/>
                <a:ext cx="11113" cy="39688"/>
              </a:xfrm>
              <a:custGeom>
                <a:avLst/>
                <a:gdLst>
                  <a:gd name="T0" fmla="*/ 14 w 26"/>
                  <a:gd name="T1" fmla="*/ 100 h 100"/>
                  <a:gd name="T2" fmla="*/ 10 w 26"/>
                  <a:gd name="T3" fmla="*/ 100 h 100"/>
                  <a:gd name="T4" fmla="*/ 6 w 26"/>
                  <a:gd name="T5" fmla="*/ 98 h 100"/>
                  <a:gd name="T6" fmla="*/ 3 w 26"/>
                  <a:gd name="T7" fmla="*/ 94 h 100"/>
                  <a:gd name="T8" fmla="*/ 2 w 26"/>
                  <a:gd name="T9" fmla="*/ 89 h 100"/>
                  <a:gd name="T10" fmla="*/ 0 w 26"/>
                  <a:gd name="T11" fmla="*/ 11 h 100"/>
                  <a:gd name="T12" fmla="*/ 1 w 26"/>
                  <a:gd name="T13" fmla="*/ 6 h 100"/>
                  <a:gd name="T14" fmla="*/ 3 w 26"/>
                  <a:gd name="T15" fmla="*/ 2 h 100"/>
                  <a:gd name="T16" fmla="*/ 7 w 26"/>
                  <a:gd name="T17" fmla="*/ 0 h 100"/>
                  <a:gd name="T18" fmla="*/ 12 w 26"/>
                  <a:gd name="T19" fmla="*/ 0 h 100"/>
                  <a:gd name="T20" fmla="*/ 17 w 26"/>
                  <a:gd name="T21" fmla="*/ 0 h 100"/>
                  <a:gd name="T22" fmla="*/ 21 w 26"/>
                  <a:gd name="T23" fmla="*/ 2 h 100"/>
                  <a:gd name="T24" fmla="*/ 23 w 26"/>
                  <a:gd name="T25" fmla="*/ 6 h 100"/>
                  <a:gd name="T26" fmla="*/ 24 w 26"/>
                  <a:gd name="T27" fmla="*/ 11 h 100"/>
                  <a:gd name="T28" fmla="*/ 26 w 26"/>
                  <a:gd name="T29" fmla="*/ 87 h 100"/>
                  <a:gd name="T30" fmla="*/ 26 w 26"/>
                  <a:gd name="T31" fmla="*/ 92 h 100"/>
                  <a:gd name="T32" fmla="*/ 23 w 26"/>
                  <a:gd name="T33" fmla="*/ 97 h 100"/>
                  <a:gd name="T34" fmla="*/ 19 w 26"/>
                  <a:gd name="T35" fmla="*/ 99 h 100"/>
                  <a:gd name="T36" fmla="*/ 14 w 26"/>
                  <a:gd name="T37" fmla="*/ 100 h 100"/>
                  <a:gd name="T38" fmla="*/ 14 w 26"/>
                  <a:gd name="T3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6" h="100">
                    <a:moveTo>
                      <a:pt x="14" y="100"/>
                    </a:moveTo>
                    <a:lnTo>
                      <a:pt x="10" y="100"/>
                    </a:lnTo>
                    <a:lnTo>
                      <a:pt x="6" y="98"/>
                    </a:lnTo>
                    <a:lnTo>
                      <a:pt x="3" y="94"/>
                    </a:lnTo>
                    <a:lnTo>
                      <a:pt x="2" y="89"/>
                    </a:lnTo>
                    <a:lnTo>
                      <a:pt x="0" y="11"/>
                    </a:lnTo>
                    <a:lnTo>
                      <a:pt x="1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4" y="11"/>
                    </a:lnTo>
                    <a:lnTo>
                      <a:pt x="26" y="87"/>
                    </a:lnTo>
                    <a:lnTo>
                      <a:pt x="26" y="92"/>
                    </a:lnTo>
                    <a:lnTo>
                      <a:pt x="23" y="97"/>
                    </a:lnTo>
                    <a:lnTo>
                      <a:pt x="19" y="99"/>
                    </a:lnTo>
                    <a:lnTo>
                      <a:pt x="14" y="100"/>
                    </a:lnTo>
                    <a:lnTo>
                      <a:pt x="14" y="10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0" name="Freeform 265"/>
              <p:cNvSpPr>
                <a:spLocks/>
              </p:cNvSpPr>
              <p:nvPr/>
            </p:nvSpPr>
            <p:spPr bwMode="auto">
              <a:xfrm>
                <a:off x="3430588" y="5597525"/>
                <a:ext cx="9525" cy="39688"/>
              </a:xfrm>
              <a:custGeom>
                <a:avLst/>
                <a:gdLst>
                  <a:gd name="T0" fmla="*/ 13 w 26"/>
                  <a:gd name="T1" fmla="*/ 100 h 100"/>
                  <a:gd name="T2" fmla="*/ 13 w 26"/>
                  <a:gd name="T3" fmla="*/ 100 h 100"/>
                  <a:gd name="T4" fmla="*/ 8 w 26"/>
                  <a:gd name="T5" fmla="*/ 99 h 100"/>
                  <a:gd name="T6" fmla="*/ 4 w 26"/>
                  <a:gd name="T7" fmla="*/ 97 h 100"/>
                  <a:gd name="T8" fmla="*/ 2 w 26"/>
                  <a:gd name="T9" fmla="*/ 92 h 100"/>
                  <a:gd name="T10" fmla="*/ 0 w 26"/>
                  <a:gd name="T11" fmla="*/ 87 h 100"/>
                  <a:gd name="T12" fmla="*/ 3 w 26"/>
                  <a:gd name="T13" fmla="*/ 11 h 100"/>
                  <a:gd name="T14" fmla="*/ 4 w 26"/>
                  <a:gd name="T15" fmla="*/ 6 h 100"/>
                  <a:gd name="T16" fmla="*/ 7 w 26"/>
                  <a:gd name="T17" fmla="*/ 2 h 100"/>
                  <a:gd name="T18" fmla="*/ 10 w 26"/>
                  <a:gd name="T19" fmla="*/ 0 h 100"/>
                  <a:gd name="T20" fmla="*/ 15 w 26"/>
                  <a:gd name="T21" fmla="*/ 0 h 100"/>
                  <a:gd name="T22" fmla="*/ 15 w 26"/>
                  <a:gd name="T23" fmla="*/ 0 h 100"/>
                  <a:gd name="T24" fmla="*/ 19 w 26"/>
                  <a:gd name="T25" fmla="*/ 0 h 100"/>
                  <a:gd name="T26" fmla="*/ 24 w 26"/>
                  <a:gd name="T27" fmla="*/ 2 h 100"/>
                  <a:gd name="T28" fmla="*/ 26 w 26"/>
                  <a:gd name="T29" fmla="*/ 6 h 100"/>
                  <a:gd name="T30" fmla="*/ 26 w 26"/>
                  <a:gd name="T31" fmla="*/ 11 h 100"/>
                  <a:gd name="T32" fmla="*/ 25 w 26"/>
                  <a:gd name="T33" fmla="*/ 89 h 100"/>
                  <a:gd name="T34" fmla="*/ 24 w 26"/>
                  <a:gd name="T35" fmla="*/ 94 h 100"/>
                  <a:gd name="T36" fmla="*/ 21 w 26"/>
                  <a:gd name="T37" fmla="*/ 98 h 100"/>
                  <a:gd name="T38" fmla="*/ 18 w 26"/>
                  <a:gd name="T39" fmla="*/ 100 h 100"/>
                  <a:gd name="T40" fmla="*/ 13 w 26"/>
                  <a:gd name="T41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100">
                    <a:moveTo>
                      <a:pt x="13" y="100"/>
                    </a:moveTo>
                    <a:lnTo>
                      <a:pt x="13" y="100"/>
                    </a:lnTo>
                    <a:lnTo>
                      <a:pt x="8" y="99"/>
                    </a:lnTo>
                    <a:lnTo>
                      <a:pt x="4" y="97"/>
                    </a:lnTo>
                    <a:lnTo>
                      <a:pt x="2" y="92"/>
                    </a:lnTo>
                    <a:lnTo>
                      <a:pt x="0" y="87"/>
                    </a:lnTo>
                    <a:lnTo>
                      <a:pt x="3" y="11"/>
                    </a:lnTo>
                    <a:lnTo>
                      <a:pt x="4" y="6"/>
                    </a:lnTo>
                    <a:lnTo>
                      <a:pt x="7" y="2"/>
                    </a:lnTo>
                    <a:lnTo>
                      <a:pt x="1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4" y="2"/>
                    </a:lnTo>
                    <a:lnTo>
                      <a:pt x="26" y="6"/>
                    </a:lnTo>
                    <a:lnTo>
                      <a:pt x="26" y="11"/>
                    </a:lnTo>
                    <a:lnTo>
                      <a:pt x="25" y="89"/>
                    </a:lnTo>
                    <a:lnTo>
                      <a:pt x="24" y="94"/>
                    </a:lnTo>
                    <a:lnTo>
                      <a:pt x="21" y="98"/>
                    </a:lnTo>
                    <a:lnTo>
                      <a:pt x="18" y="100"/>
                    </a:lnTo>
                    <a:lnTo>
                      <a:pt x="13" y="10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1" name="Freeform 266"/>
              <p:cNvSpPr>
                <a:spLocks/>
              </p:cNvSpPr>
              <p:nvPr/>
            </p:nvSpPr>
            <p:spPr bwMode="auto">
              <a:xfrm>
                <a:off x="3321050" y="6137275"/>
                <a:ext cx="66675" cy="30163"/>
              </a:xfrm>
              <a:custGeom>
                <a:avLst/>
                <a:gdLst>
                  <a:gd name="T0" fmla="*/ 0 w 167"/>
                  <a:gd name="T1" fmla="*/ 74 h 74"/>
                  <a:gd name="T2" fmla="*/ 8 w 167"/>
                  <a:gd name="T3" fmla="*/ 62 h 74"/>
                  <a:gd name="T4" fmla="*/ 16 w 167"/>
                  <a:gd name="T5" fmla="*/ 50 h 74"/>
                  <a:gd name="T6" fmla="*/ 26 w 167"/>
                  <a:gd name="T7" fmla="*/ 40 h 74"/>
                  <a:gd name="T8" fmla="*/ 36 w 167"/>
                  <a:gd name="T9" fmla="*/ 30 h 74"/>
                  <a:gd name="T10" fmla="*/ 46 w 167"/>
                  <a:gd name="T11" fmla="*/ 22 h 74"/>
                  <a:gd name="T12" fmla="*/ 57 w 167"/>
                  <a:gd name="T13" fmla="*/ 13 h 74"/>
                  <a:gd name="T14" fmla="*/ 69 w 167"/>
                  <a:gd name="T15" fmla="*/ 6 h 74"/>
                  <a:gd name="T16" fmla="*/ 82 w 167"/>
                  <a:gd name="T17" fmla="*/ 0 h 74"/>
                  <a:gd name="T18" fmla="*/ 167 w 167"/>
                  <a:gd name="T19" fmla="*/ 0 h 74"/>
                  <a:gd name="T20" fmla="*/ 167 w 167"/>
                  <a:gd name="T21" fmla="*/ 74 h 74"/>
                  <a:gd name="T22" fmla="*/ 0 w 167"/>
                  <a:gd name="T23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7" h="74">
                    <a:moveTo>
                      <a:pt x="0" y="74"/>
                    </a:moveTo>
                    <a:lnTo>
                      <a:pt x="8" y="62"/>
                    </a:lnTo>
                    <a:lnTo>
                      <a:pt x="16" y="50"/>
                    </a:lnTo>
                    <a:lnTo>
                      <a:pt x="26" y="40"/>
                    </a:lnTo>
                    <a:lnTo>
                      <a:pt x="36" y="30"/>
                    </a:lnTo>
                    <a:lnTo>
                      <a:pt x="46" y="22"/>
                    </a:lnTo>
                    <a:lnTo>
                      <a:pt x="57" y="13"/>
                    </a:lnTo>
                    <a:lnTo>
                      <a:pt x="69" y="6"/>
                    </a:lnTo>
                    <a:lnTo>
                      <a:pt x="82" y="0"/>
                    </a:lnTo>
                    <a:lnTo>
                      <a:pt x="167" y="0"/>
                    </a:lnTo>
                    <a:lnTo>
                      <a:pt x="167" y="74"/>
                    </a:lnTo>
                    <a:lnTo>
                      <a:pt x="0" y="7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2" name="Freeform 267"/>
              <p:cNvSpPr>
                <a:spLocks noEditPoints="1"/>
              </p:cNvSpPr>
              <p:nvPr/>
            </p:nvSpPr>
            <p:spPr bwMode="auto">
              <a:xfrm>
                <a:off x="3316288" y="6134100"/>
                <a:ext cx="76200" cy="38100"/>
              </a:xfrm>
              <a:custGeom>
                <a:avLst/>
                <a:gdLst>
                  <a:gd name="T0" fmla="*/ 34 w 191"/>
                  <a:gd name="T1" fmla="*/ 73 h 99"/>
                  <a:gd name="T2" fmla="*/ 167 w 191"/>
                  <a:gd name="T3" fmla="*/ 73 h 99"/>
                  <a:gd name="T4" fmla="*/ 167 w 191"/>
                  <a:gd name="T5" fmla="*/ 22 h 99"/>
                  <a:gd name="T6" fmla="*/ 97 w 191"/>
                  <a:gd name="T7" fmla="*/ 22 h 99"/>
                  <a:gd name="T8" fmla="*/ 87 w 191"/>
                  <a:gd name="T9" fmla="*/ 27 h 99"/>
                  <a:gd name="T10" fmla="*/ 78 w 191"/>
                  <a:gd name="T11" fmla="*/ 32 h 99"/>
                  <a:gd name="T12" fmla="*/ 70 w 191"/>
                  <a:gd name="T13" fmla="*/ 38 h 99"/>
                  <a:gd name="T14" fmla="*/ 63 w 191"/>
                  <a:gd name="T15" fmla="*/ 44 h 99"/>
                  <a:gd name="T16" fmla="*/ 54 w 191"/>
                  <a:gd name="T17" fmla="*/ 50 h 99"/>
                  <a:gd name="T18" fmla="*/ 47 w 191"/>
                  <a:gd name="T19" fmla="*/ 57 h 99"/>
                  <a:gd name="T20" fmla="*/ 40 w 191"/>
                  <a:gd name="T21" fmla="*/ 66 h 99"/>
                  <a:gd name="T22" fmla="*/ 34 w 191"/>
                  <a:gd name="T23" fmla="*/ 73 h 99"/>
                  <a:gd name="T24" fmla="*/ 179 w 191"/>
                  <a:gd name="T25" fmla="*/ 99 h 99"/>
                  <a:gd name="T26" fmla="*/ 12 w 191"/>
                  <a:gd name="T27" fmla="*/ 99 h 99"/>
                  <a:gd name="T28" fmla="*/ 10 w 191"/>
                  <a:gd name="T29" fmla="*/ 98 h 99"/>
                  <a:gd name="T30" fmla="*/ 6 w 191"/>
                  <a:gd name="T31" fmla="*/ 97 h 99"/>
                  <a:gd name="T32" fmla="*/ 4 w 191"/>
                  <a:gd name="T33" fmla="*/ 95 h 99"/>
                  <a:gd name="T34" fmla="*/ 3 w 191"/>
                  <a:gd name="T35" fmla="*/ 92 h 99"/>
                  <a:gd name="T36" fmla="*/ 1 w 191"/>
                  <a:gd name="T37" fmla="*/ 89 h 99"/>
                  <a:gd name="T38" fmla="*/ 0 w 191"/>
                  <a:gd name="T39" fmla="*/ 87 h 99"/>
                  <a:gd name="T40" fmla="*/ 1 w 191"/>
                  <a:gd name="T41" fmla="*/ 84 h 99"/>
                  <a:gd name="T42" fmla="*/ 3 w 191"/>
                  <a:gd name="T43" fmla="*/ 81 h 99"/>
                  <a:gd name="T44" fmla="*/ 10 w 191"/>
                  <a:gd name="T45" fmla="*/ 67 h 99"/>
                  <a:gd name="T46" fmla="*/ 20 w 191"/>
                  <a:gd name="T47" fmla="*/ 54 h 99"/>
                  <a:gd name="T48" fmla="*/ 29 w 191"/>
                  <a:gd name="T49" fmla="*/ 43 h 99"/>
                  <a:gd name="T50" fmla="*/ 39 w 191"/>
                  <a:gd name="T51" fmla="*/ 32 h 99"/>
                  <a:gd name="T52" fmla="*/ 50 w 191"/>
                  <a:gd name="T53" fmla="*/ 22 h 99"/>
                  <a:gd name="T54" fmla="*/ 63 w 191"/>
                  <a:gd name="T55" fmla="*/ 13 h 99"/>
                  <a:gd name="T56" fmla="*/ 76 w 191"/>
                  <a:gd name="T57" fmla="*/ 6 h 99"/>
                  <a:gd name="T58" fmla="*/ 89 w 191"/>
                  <a:gd name="T59" fmla="*/ 0 h 99"/>
                  <a:gd name="T60" fmla="*/ 92 w 191"/>
                  <a:gd name="T61" fmla="*/ 0 h 99"/>
                  <a:gd name="T62" fmla="*/ 94 w 191"/>
                  <a:gd name="T63" fmla="*/ 0 h 99"/>
                  <a:gd name="T64" fmla="*/ 179 w 191"/>
                  <a:gd name="T65" fmla="*/ 0 h 99"/>
                  <a:gd name="T66" fmla="*/ 184 w 191"/>
                  <a:gd name="T67" fmla="*/ 0 h 99"/>
                  <a:gd name="T68" fmla="*/ 187 w 191"/>
                  <a:gd name="T69" fmla="*/ 2 h 99"/>
                  <a:gd name="T70" fmla="*/ 190 w 191"/>
                  <a:gd name="T71" fmla="*/ 6 h 99"/>
                  <a:gd name="T72" fmla="*/ 191 w 191"/>
                  <a:gd name="T73" fmla="*/ 11 h 99"/>
                  <a:gd name="T74" fmla="*/ 191 w 191"/>
                  <a:gd name="T75" fmla="*/ 85 h 99"/>
                  <a:gd name="T76" fmla="*/ 190 w 191"/>
                  <a:gd name="T77" fmla="*/ 90 h 99"/>
                  <a:gd name="T78" fmla="*/ 187 w 191"/>
                  <a:gd name="T79" fmla="*/ 94 h 99"/>
                  <a:gd name="T80" fmla="*/ 184 w 191"/>
                  <a:gd name="T81" fmla="*/ 98 h 99"/>
                  <a:gd name="T82" fmla="*/ 179 w 191"/>
                  <a:gd name="T83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1" h="99">
                    <a:moveTo>
                      <a:pt x="34" y="73"/>
                    </a:moveTo>
                    <a:lnTo>
                      <a:pt x="167" y="73"/>
                    </a:lnTo>
                    <a:lnTo>
                      <a:pt x="167" y="22"/>
                    </a:lnTo>
                    <a:lnTo>
                      <a:pt x="97" y="22"/>
                    </a:lnTo>
                    <a:lnTo>
                      <a:pt x="87" y="27"/>
                    </a:lnTo>
                    <a:lnTo>
                      <a:pt x="78" y="32"/>
                    </a:lnTo>
                    <a:lnTo>
                      <a:pt x="70" y="38"/>
                    </a:lnTo>
                    <a:lnTo>
                      <a:pt x="63" y="44"/>
                    </a:lnTo>
                    <a:lnTo>
                      <a:pt x="54" y="50"/>
                    </a:lnTo>
                    <a:lnTo>
                      <a:pt x="47" y="57"/>
                    </a:lnTo>
                    <a:lnTo>
                      <a:pt x="40" y="66"/>
                    </a:lnTo>
                    <a:lnTo>
                      <a:pt x="34" y="73"/>
                    </a:lnTo>
                    <a:close/>
                    <a:moveTo>
                      <a:pt x="179" y="99"/>
                    </a:moveTo>
                    <a:lnTo>
                      <a:pt x="12" y="99"/>
                    </a:lnTo>
                    <a:lnTo>
                      <a:pt x="10" y="98"/>
                    </a:lnTo>
                    <a:lnTo>
                      <a:pt x="6" y="97"/>
                    </a:lnTo>
                    <a:lnTo>
                      <a:pt x="4" y="95"/>
                    </a:lnTo>
                    <a:lnTo>
                      <a:pt x="3" y="92"/>
                    </a:lnTo>
                    <a:lnTo>
                      <a:pt x="1" y="89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1"/>
                    </a:lnTo>
                    <a:lnTo>
                      <a:pt x="10" y="67"/>
                    </a:lnTo>
                    <a:lnTo>
                      <a:pt x="20" y="54"/>
                    </a:lnTo>
                    <a:lnTo>
                      <a:pt x="29" y="43"/>
                    </a:lnTo>
                    <a:lnTo>
                      <a:pt x="39" y="32"/>
                    </a:lnTo>
                    <a:lnTo>
                      <a:pt x="50" y="22"/>
                    </a:lnTo>
                    <a:lnTo>
                      <a:pt x="63" y="13"/>
                    </a:lnTo>
                    <a:lnTo>
                      <a:pt x="76" y="6"/>
                    </a:lnTo>
                    <a:lnTo>
                      <a:pt x="89" y="0"/>
                    </a:lnTo>
                    <a:lnTo>
                      <a:pt x="92" y="0"/>
                    </a:lnTo>
                    <a:lnTo>
                      <a:pt x="94" y="0"/>
                    </a:lnTo>
                    <a:lnTo>
                      <a:pt x="179" y="0"/>
                    </a:lnTo>
                    <a:lnTo>
                      <a:pt x="184" y="0"/>
                    </a:lnTo>
                    <a:lnTo>
                      <a:pt x="187" y="2"/>
                    </a:lnTo>
                    <a:lnTo>
                      <a:pt x="190" y="6"/>
                    </a:lnTo>
                    <a:lnTo>
                      <a:pt x="191" y="11"/>
                    </a:lnTo>
                    <a:lnTo>
                      <a:pt x="191" y="85"/>
                    </a:lnTo>
                    <a:lnTo>
                      <a:pt x="190" y="90"/>
                    </a:lnTo>
                    <a:lnTo>
                      <a:pt x="187" y="94"/>
                    </a:lnTo>
                    <a:lnTo>
                      <a:pt x="184" y="98"/>
                    </a:lnTo>
                    <a:lnTo>
                      <a:pt x="179" y="99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3" name="Freeform 268"/>
              <p:cNvSpPr>
                <a:spLocks/>
              </p:cNvSpPr>
              <p:nvPr/>
            </p:nvSpPr>
            <p:spPr bwMode="auto">
              <a:xfrm>
                <a:off x="3417888" y="6137275"/>
                <a:ext cx="65088" cy="30163"/>
              </a:xfrm>
              <a:custGeom>
                <a:avLst/>
                <a:gdLst>
                  <a:gd name="T0" fmla="*/ 166 w 166"/>
                  <a:gd name="T1" fmla="*/ 74 h 74"/>
                  <a:gd name="T2" fmla="*/ 159 w 166"/>
                  <a:gd name="T3" fmla="*/ 62 h 74"/>
                  <a:gd name="T4" fmla="*/ 150 w 166"/>
                  <a:gd name="T5" fmla="*/ 50 h 74"/>
                  <a:gd name="T6" fmla="*/ 142 w 166"/>
                  <a:gd name="T7" fmla="*/ 40 h 74"/>
                  <a:gd name="T8" fmla="*/ 132 w 166"/>
                  <a:gd name="T9" fmla="*/ 30 h 74"/>
                  <a:gd name="T10" fmla="*/ 121 w 166"/>
                  <a:gd name="T11" fmla="*/ 22 h 74"/>
                  <a:gd name="T12" fmla="*/ 110 w 166"/>
                  <a:gd name="T13" fmla="*/ 13 h 74"/>
                  <a:gd name="T14" fmla="*/ 98 w 166"/>
                  <a:gd name="T15" fmla="*/ 6 h 74"/>
                  <a:gd name="T16" fmla="*/ 85 w 166"/>
                  <a:gd name="T17" fmla="*/ 0 h 74"/>
                  <a:gd name="T18" fmla="*/ 0 w 166"/>
                  <a:gd name="T19" fmla="*/ 0 h 74"/>
                  <a:gd name="T20" fmla="*/ 0 w 166"/>
                  <a:gd name="T21" fmla="*/ 74 h 74"/>
                  <a:gd name="T22" fmla="*/ 166 w 166"/>
                  <a:gd name="T23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6" h="74">
                    <a:moveTo>
                      <a:pt x="166" y="74"/>
                    </a:moveTo>
                    <a:lnTo>
                      <a:pt x="159" y="62"/>
                    </a:lnTo>
                    <a:lnTo>
                      <a:pt x="150" y="50"/>
                    </a:lnTo>
                    <a:lnTo>
                      <a:pt x="142" y="40"/>
                    </a:lnTo>
                    <a:lnTo>
                      <a:pt x="132" y="30"/>
                    </a:lnTo>
                    <a:lnTo>
                      <a:pt x="121" y="22"/>
                    </a:lnTo>
                    <a:lnTo>
                      <a:pt x="110" y="13"/>
                    </a:lnTo>
                    <a:lnTo>
                      <a:pt x="98" y="6"/>
                    </a:lnTo>
                    <a:lnTo>
                      <a:pt x="85" y="0"/>
                    </a:lnTo>
                    <a:lnTo>
                      <a:pt x="0" y="0"/>
                    </a:lnTo>
                    <a:lnTo>
                      <a:pt x="0" y="74"/>
                    </a:lnTo>
                    <a:lnTo>
                      <a:pt x="166" y="7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4" name="Freeform 269"/>
              <p:cNvSpPr>
                <a:spLocks noEditPoints="1"/>
              </p:cNvSpPr>
              <p:nvPr/>
            </p:nvSpPr>
            <p:spPr bwMode="auto">
              <a:xfrm>
                <a:off x="3413125" y="6134100"/>
                <a:ext cx="74613" cy="38100"/>
              </a:xfrm>
              <a:custGeom>
                <a:avLst/>
                <a:gdLst>
                  <a:gd name="T0" fmla="*/ 23 w 189"/>
                  <a:gd name="T1" fmla="*/ 73 h 99"/>
                  <a:gd name="T2" fmla="*/ 156 w 189"/>
                  <a:gd name="T3" fmla="*/ 73 h 99"/>
                  <a:gd name="T4" fmla="*/ 143 w 189"/>
                  <a:gd name="T5" fmla="*/ 57 h 99"/>
                  <a:gd name="T6" fmla="*/ 128 w 189"/>
                  <a:gd name="T7" fmla="*/ 44 h 99"/>
                  <a:gd name="T8" fmla="*/ 120 w 189"/>
                  <a:gd name="T9" fmla="*/ 38 h 99"/>
                  <a:gd name="T10" fmla="*/ 111 w 189"/>
                  <a:gd name="T11" fmla="*/ 32 h 99"/>
                  <a:gd name="T12" fmla="*/ 103 w 189"/>
                  <a:gd name="T13" fmla="*/ 27 h 99"/>
                  <a:gd name="T14" fmla="*/ 94 w 189"/>
                  <a:gd name="T15" fmla="*/ 22 h 99"/>
                  <a:gd name="T16" fmla="*/ 23 w 189"/>
                  <a:gd name="T17" fmla="*/ 22 h 99"/>
                  <a:gd name="T18" fmla="*/ 23 w 189"/>
                  <a:gd name="T19" fmla="*/ 73 h 99"/>
                  <a:gd name="T20" fmla="*/ 177 w 189"/>
                  <a:gd name="T21" fmla="*/ 99 h 99"/>
                  <a:gd name="T22" fmla="*/ 11 w 189"/>
                  <a:gd name="T23" fmla="*/ 99 h 99"/>
                  <a:gd name="T24" fmla="*/ 7 w 189"/>
                  <a:gd name="T25" fmla="*/ 98 h 99"/>
                  <a:gd name="T26" fmla="*/ 3 w 189"/>
                  <a:gd name="T27" fmla="*/ 94 h 99"/>
                  <a:gd name="T28" fmla="*/ 1 w 189"/>
                  <a:gd name="T29" fmla="*/ 90 h 99"/>
                  <a:gd name="T30" fmla="*/ 0 w 189"/>
                  <a:gd name="T31" fmla="*/ 85 h 99"/>
                  <a:gd name="T32" fmla="*/ 0 w 189"/>
                  <a:gd name="T33" fmla="*/ 11 h 99"/>
                  <a:gd name="T34" fmla="*/ 1 w 189"/>
                  <a:gd name="T35" fmla="*/ 6 h 99"/>
                  <a:gd name="T36" fmla="*/ 3 w 189"/>
                  <a:gd name="T37" fmla="*/ 2 h 99"/>
                  <a:gd name="T38" fmla="*/ 7 w 189"/>
                  <a:gd name="T39" fmla="*/ 0 h 99"/>
                  <a:gd name="T40" fmla="*/ 11 w 189"/>
                  <a:gd name="T41" fmla="*/ 0 h 99"/>
                  <a:gd name="T42" fmla="*/ 96 w 189"/>
                  <a:gd name="T43" fmla="*/ 0 h 99"/>
                  <a:gd name="T44" fmla="*/ 99 w 189"/>
                  <a:gd name="T45" fmla="*/ 0 h 99"/>
                  <a:gd name="T46" fmla="*/ 101 w 189"/>
                  <a:gd name="T47" fmla="*/ 0 h 99"/>
                  <a:gd name="T48" fmla="*/ 115 w 189"/>
                  <a:gd name="T49" fmla="*/ 6 h 99"/>
                  <a:gd name="T50" fmla="*/ 127 w 189"/>
                  <a:gd name="T51" fmla="*/ 13 h 99"/>
                  <a:gd name="T52" fmla="*/ 139 w 189"/>
                  <a:gd name="T53" fmla="*/ 22 h 99"/>
                  <a:gd name="T54" fmla="*/ 150 w 189"/>
                  <a:gd name="T55" fmla="*/ 32 h 99"/>
                  <a:gd name="T56" fmla="*/ 161 w 189"/>
                  <a:gd name="T57" fmla="*/ 43 h 99"/>
                  <a:gd name="T58" fmla="*/ 171 w 189"/>
                  <a:gd name="T59" fmla="*/ 54 h 99"/>
                  <a:gd name="T60" fmla="*/ 180 w 189"/>
                  <a:gd name="T61" fmla="*/ 67 h 99"/>
                  <a:gd name="T62" fmla="*/ 188 w 189"/>
                  <a:gd name="T63" fmla="*/ 81 h 99"/>
                  <a:gd name="T64" fmla="*/ 189 w 189"/>
                  <a:gd name="T65" fmla="*/ 84 h 99"/>
                  <a:gd name="T66" fmla="*/ 189 w 189"/>
                  <a:gd name="T67" fmla="*/ 87 h 99"/>
                  <a:gd name="T68" fmla="*/ 189 w 189"/>
                  <a:gd name="T69" fmla="*/ 89 h 99"/>
                  <a:gd name="T70" fmla="*/ 188 w 189"/>
                  <a:gd name="T71" fmla="*/ 92 h 99"/>
                  <a:gd name="T72" fmla="*/ 186 w 189"/>
                  <a:gd name="T73" fmla="*/ 95 h 99"/>
                  <a:gd name="T74" fmla="*/ 183 w 189"/>
                  <a:gd name="T75" fmla="*/ 97 h 99"/>
                  <a:gd name="T76" fmla="*/ 181 w 189"/>
                  <a:gd name="T77" fmla="*/ 98 h 99"/>
                  <a:gd name="T78" fmla="*/ 177 w 189"/>
                  <a:gd name="T79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9" h="99">
                    <a:moveTo>
                      <a:pt x="23" y="73"/>
                    </a:moveTo>
                    <a:lnTo>
                      <a:pt x="156" y="73"/>
                    </a:lnTo>
                    <a:lnTo>
                      <a:pt x="143" y="57"/>
                    </a:lnTo>
                    <a:lnTo>
                      <a:pt x="128" y="44"/>
                    </a:lnTo>
                    <a:lnTo>
                      <a:pt x="120" y="38"/>
                    </a:lnTo>
                    <a:lnTo>
                      <a:pt x="111" y="32"/>
                    </a:lnTo>
                    <a:lnTo>
                      <a:pt x="103" y="27"/>
                    </a:lnTo>
                    <a:lnTo>
                      <a:pt x="94" y="22"/>
                    </a:lnTo>
                    <a:lnTo>
                      <a:pt x="23" y="22"/>
                    </a:lnTo>
                    <a:lnTo>
                      <a:pt x="23" y="73"/>
                    </a:lnTo>
                    <a:close/>
                    <a:moveTo>
                      <a:pt x="177" y="99"/>
                    </a:moveTo>
                    <a:lnTo>
                      <a:pt x="11" y="99"/>
                    </a:lnTo>
                    <a:lnTo>
                      <a:pt x="7" y="98"/>
                    </a:lnTo>
                    <a:lnTo>
                      <a:pt x="3" y="94"/>
                    </a:lnTo>
                    <a:lnTo>
                      <a:pt x="1" y="90"/>
                    </a:lnTo>
                    <a:lnTo>
                      <a:pt x="0" y="85"/>
                    </a:lnTo>
                    <a:lnTo>
                      <a:pt x="0" y="11"/>
                    </a:lnTo>
                    <a:lnTo>
                      <a:pt x="1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01" y="0"/>
                    </a:lnTo>
                    <a:lnTo>
                      <a:pt x="115" y="6"/>
                    </a:lnTo>
                    <a:lnTo>
                      <a:pt x="127" y="13"/>
                    </a:lnTo>
                    <a:lnTo>
                      <a:pt x="139" y="22"/>
                    </a:lnTo>
                    <a:lnTo>
                      <a:pt x="150" y="32"/>
                    </a:lnTo>
                    <a:lnTo>
                      <a:pt x="161" y="43"/>
                    </a:lnTo>
                    <a:lnTo>
                      <a:pt x="171" y="54"/>
                    </a:lnTo>
                    <a:lnTo>
                      <a:pt x="180" y="67"/>
                    </a:lnTo>
                    <a:lnTo>
                      <a:pt x="188" y="81"/>
                    </a:lnTo>
                    <a:lnTo>
                      <a:pt x="189" y="84"/>
                    </a:lnTo>
                    <a:lnTo>
                      <a:pt x="189" y="87"/>
                    </a:lnTo>
                    <a:lnTo>
                      <a:pt x="189" y="89"/>
                    </a:lnTo>
                    <a:lnTo>
                      <a:pt x="188" y="92"/>
                    </a:lnTo>
                    <a:lnTo>
                      <a:pt x="186" y="95"/>
                    </a:lnTo>
                    <a:lnTo>
                      <a:pt x="183" y="97"/>
                    </a:lnTo>
                    <a:lnTo>
                      <a:pt x="181" y="98"/>
                    </a:lnTo>
                    <a:lnTo>
                      <a:pt x="177" y="99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5" name="Freeform 270"/>
              <p:cNvSpPr>
                <a:spLocks/>
              </p:cNvSpPr>
              <p:nvPr/>
            </p:nvSpPr>
            <p:spPr bwMode="auto">
              <a:xfrm>
                <a:off x="3302000" y="5707063"/>
                <a:ext cx="34925" cy="57150"/>
              </a:xfrm>
              <a:custGeom>
                <a:avLst/>
                <a:gdLst>
                  <a:gd name="T0" fmla="*/ 11 w 88"/>
                  <a:gd name="T1" fmla="*/ 144 h 144"/>
                  <a:gd name="T2" fmla="*/ 8 w 88"/>
                  <a:gd name="T3" fmla="*/ 144 h 144"/>
                  <a:gd name="T4" fmla="*/ 6 w 88"/>
                  <a:gd name="T5" fmla="*/ 142 h 144"/>
                  <a:gd name="T6" fmla="*/ 2 w 88"/>
                  <a:gd name="T7" fmla="*/ 140 h 144"/>
                  <a:gd name="T8" fmla="*/ 0 w 88"/>
                  <a:gd name="T9" fmla="*/ 136 h 144"/>
                  <a:gd name="T10" fmla="*/ 0 w 88"/>
                  <a:gd name="T11" fmla="*/ 131 h 144"/>
                  <a:gd name="T12" fmla="*/ 1 w 88"/>
                  <a:gd name="T13" fmla="*/ 126 h 144"/>
                  <a:gd name="T14" fmla="*/ 64 w 88"/>
                  <a:gd name="T15" fmla="*/ 7 h 144"/>
                  <a:gd name="T16" fmla="*/ 67 w 88"/>
                  <a:gd name="T17" fmla="*/ 2 h 144"/>
                  <a:gd name="T18" fmla="*/ 71 w 88"/>
                  <a:gd name="T19" fmla="*/ 0 h 144"/>
                  <a:gd name="T20" fmla="*/ 74 w 88"/>
                  <a:gd name="T21" fmla="*/ 0 h 144"/>
                  <a:gd name="T22" fmla="*/ 78 w 88"/>
                  <a:gd name="T23" fmla="*/ 0 h 144"/>
                  <a:gd name="T24" fmla="*/ 82 w 88"/>
                  <a:gd name="T25" fmla="*/ 2 h 144"/>
                  <a:gd name="T26" fmla="*/ 85 w 88"/>
                  <a:gd name="T27" fmla="*/ 5 h 144"/>
                  <a:gd name="T28" fmla="*/ 87 w 88"/>
                  <a:gd name="T29" fmla="*/ 8 h 144"/>
                  <a:gd name="T30" fmla="*/ 88 w 88"/>
                  <a:gd name="T31" fmla="*/ 12 h 144"/>
                  <a:gd name="T32" fmla="*/ 88 w 88"/>
                  <a:gd name="T33" fmla="*/ 104 h 144"/>
                  <a:gd name="T34" fmla="*/ 87 w 88"/>
                  <a:gd name="T35" fmla="*/ 108 h 144"/>
                  <a:gd name="T36" fmla="*/ 84 w 88"/>
                  <a:gd name="T37" fmla="*/ 111 h 144"/>
                  <a:gd name="T38" fmla="*/ 80 w 88"/>
                  <a:gd name="T39" fmla="*/ 114 h 144"/>
                  <a:gd name="T40" fmla="*/ 75 w 88"/>
                  <a:gd name="T41" fmla="*/ 115 h 144"/>
                  <a:gd name="T42" fmla="*/ 71 w 88"/>
                  <a:gd name="T43" fmla="*/ 114 h 144"/>
                  <a:gd name="T44" fmla="*/ 67 w 88"/>
                  <a:gd name="T45" fmla="*/ 111 h 144"/>
                  <a:gd name="T46" fmla="*/ 64 w 88"/>
                  <a:gd name="T47" fmla="*/ 108 h 144"/>
                  <a:gd name="T48" fmla="*/ 63 w 88"/>
                  <a:gd name="T49" fmla="*/ 104 h 144"/>
                  <a:gd name="T50" fmla="*/ 63 w 88"/>
                  <a:gd name="T51" fmla="*/ 59 h 144"/>
                  <a:gd name="T52" fmla="*/ 22 w 88"/>
                  <a:gd name="T53" fmla="*/ 137 h 144"/>
                  <a:gd name="T54" fmla="*/ 20 w 88"/>
                  <a:gd name="T55" fmla="*/ 141 h 144"/>
                  <a:gd name="T56" fmla="*/ 17 w 88"/>
                  <a:gd name="T57" fmla="*/ 143 h 144"/>
                  <a:gd name="T58" fmla="*/ 14 w 88"/>
                  <a:gd name="T59" fmla="*/ 144 h 144"/>
                  <a:gd name="T60" fmla="*/ 11 w 88"/>
                  <a:gd name="T6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8" h="144">
                    <a:moveTo>
                      <a:pt x="11" y="144"/>
                    </a:moveTo>
                    <a:lnTo>
                      <a:pt x="8" y="144"/>
                    </a:lnTo>
                    <a:lnTo>
                      <a:pt x="6" y="142"/>
                    </a:lnTo>
                    <a:lnTo>
                      <a:pt x="2" y="140"/>
                    </a:lnTo>
                    <a:lnTo>
                      <a:pt x="0" y="136"/>
                    </a:lnTo>
                    <a:lnTo>
                      <a:pt x="0" y="131"/>
                    </a:lnTo>
                    <a:lnTo>
                      <a:pt x="1" y="126"/>
                    </a:lnTo>
                    <a:lnTo>
                      <a:pt x="64" y="7"/>
                    </a:lnTo>
                    <a:lnTo>
                      <a:pt x="67" y="2"/>
                    </a:lnTo>
                    <a:lnTo>
                      <a:pt x="71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2"/>
                    </a:lnTo>
                    <a:lnTo>
                      <a:pt x="85" y="5"/>
                    </a:lnTo>
                    <a:lnTo>
                      <a:pt x="87" y="8"/>
                    </a:lnTo>
                    <a:lnTo>
                      <a:pt x="88" y="12"/>
                    </a:lnTo>
                    <a:lnTo>
                      <a:pt x="88" y="104"/>
                    </a:lnTo>
                    <a:lnTo>
                      <a:pt x="87" y="108"/>
                    </a:lnTo>
                    <a:lnTo>
                      <a:pt x="84" y="111"/>
                    </a:lnTo>
                    <a:lnTo>
                      <a:pt x="80" y="114"/>
                    </a:lnTo>
                    <a:lnTo>
                      <a:pt x="75" y="115"/>
                    </a:lnTo>
                    <a:lnTo>
                      <a:pt x="71" y="114"/>
                    </a:lnTo>
                    <a:lnTo>
                      <a:pt x="67" y="111"/>
                    </a:lnTo>
                    <a:lnTo>
                      <a:pt x="64" y="108"/>
                    </a:lnTo>
                    <a:lnTo>
                      <a:pt x="63" y="104"/>
                    </a:lnTo>
                    <a:lnTo>
                      <a:pt x="63" y="59"/>
                    </a:lnTo>
                    <a:lnTo>
                      <a:pt x="22" y="137"/>
                    </a:lnTo>
                    <a:lnTo>
                      <a:pt x="20" y="141"/>
                    </a:lnTo>
                    <a:lnTo>
                      <a:pt x="17" y="143"/>
                    </a:lnTo>
                    <a:lnTo>
                      <a:pt x="14" y="144"/>
                    </a:lnTo>
                    <a:lnTo>
                      <a:pt x="11" y="144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6" name="Freeform 271"/>
              <p:cNvSpPr>
                <a:spLocks/>
              </p:cNvSpPr>
              <p:nvPr/>
            </p:nvSpPr>
            <p:spPr bwMode="auto">
              <a:xfrm>
                <a:off x="3327400" y="5786438"/>
                <a:ext cx="9525" cy="41275"/>
              </a:xfrm>
              <a:custGeom>
                <a:avLst/>
                <a:gdLst>
                  <a:gd name="T0" fmla="*/ 12 w 25"/>
                  <a:gd name="T1" fmla="*/ 101 h 101"/>
                  <a:gd name="T2" fmla="*/ 8 w 25"/>
                  <a:gd name="T3" fmla="*/ 100 h 101"/>
                  <a:gd name="T4" fmla="*/ 4 w 25"/>
                  <a:gd name="T5" fmla="*/ 98 h 101"/>
                  <a:gd name="T6" fmla="*/ 1 w 25"/>
                  <a:gd name="T7" fmla="*/ 94 h 101"/>
                  <a:gd name="T8" fmla="*/ 0 w 25"/>
                  <a:gd name="T9" fmla="*/ 89 h 101"/>
                  <a:gd name="T10" fmla="*/ 0 w 25"/>
                  <a:gd name="T11" fmla="*/ 13 h 101"/>
                  <a:gd name="T12" fmla="*/ 1 w 25"/>
                  <a:gd name="T13" fmla="*/ 8 h 101"/>
                  <a:gd name="T14" fmla="*/ 4 w 25"/>
                  <a:gd name="T15" fmla="*/ 3 h 101"/>
                  <a:gd name="T16" fmla="*/ 8 w 25"/>
                  <a:gd name="T17" fmla="*/ 1 h 101"/>
                  <a:gd name="T18" fmla="*/ 12 w 25"/>
                  <a:gd name="T19" fmla="*/ 0 h 101"/>
                  <a:gd name="T20" fmla="*/ 17 w 25"/>
                  <a:gd name="T21" fmla="*/ 1 h 101"/>
                  <a:gd name="T22" fmla="*/ 21 w 25"/>
                  <a:gd name="T23" fmla="*/ 3 h 101"/>
                  <a:gd name="T24" fmla="*/ 24 w 25"/>
                  <a:gd name="T25" fmla="*/ 8 h 101"/>
                  <a:gd name="T26" fmla="*/ 25 w 25"/>
                  <a:gd name="T27" fmla="*/ 13 h 101"/>
                  <a:gd name="T28" fmla="*/ 25 w 25"/>
                  <a:gd name="T29" fmla="*/ 89 h 101"/>
                  <a:gd name="T30" fmla="*/ 24 w 25"/>
                  <a:gd name="T31" fmla="*/ 94 h 101"/>
                  <a:gd name="T32" fmla="*/ 21 w 25"/>
                  <a:gd name="T33" fmla="*/ 98 h 101"/>
                  <a:gd name="T34" fmla="*/ 17 w 25"/>
                  <a:gd name="T35" fmla="*/ 100 h 101"/>
                  <a:gd name="T36" fmla="*/ 12 w 25"/>
                  <a:gd name="T37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101">
                    <a:moveTo>
                      <a:pt x="12" y="101"/>
                    </a:moveTo>
                    <a:lnTo>
                      <a:pt x="8" y="100"/>
                    </a:lnTo>
                    <a:lnTo>
                      <a:pt x="4" y="98"/>
                    </a:lnTo>
                    <a:lnTo>
                      <a:pt x="1" y="94"/>
                    </a:lnTo>
                    <a:lnTo>
                      <a:pt x="0" y="8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4" y="3"/>
                    </a:lnTo>
                    <a:lnTo>
                      <a:pt x="8" y="1"/>
                    </a:lnTo>
                    <a:lnTo>
                      <a:pt x="12" y="0"/>
                    </a:lnTo>
                    <a:lnTo>
                      <a:pt x="17" y="1"/>
                    </a:lnTo>
                    <a:lnTo>
                      <a:pt x="21" y="3"/>
                    </a:lnTo>
                    <a:lnTo>
                      <a:pt x="24" y="8"/>
                    </a:lnTo>
                    <a:lnTo>
                      <a:pt x="25" y="13"/>
                    </a:lnTo>
                    <a:lnTo>
                      <a:pt x="25" y="89"/>
                    </a:lnTo>
                    <a:lnTo>
                      <a:pt x="24" y="94"/>
                    </a:lnTo>
                    <a:lnTo>
                      <a:pt x="21" y="98"/>
                    </a:lnTo>
                    <a:lnTo>
                      <a:pt x="17" y="100"/>
                    </a:lnTo>
                    <a:lnTo>
                      <a:pt x="12" y="101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7" name="Freeform 272"/>
              <p:cNvSpPr>
                <a:spLocks/>
              </p:cNvSpPr>
              <p:nvPr/>
            </p:nvSpPr>
            <p:spPr bwMode="auto">
              <a:xfrm>
                <a:off x="3470275" y="5786438"/>
                <a:ext cx="9525" cy="41275"/>
              </a:xfrm>
              <a:custGeom>
                <a:avLst/>
                <a:gdLst>
                  <a:gd name="T0" fmla="*/ 11 w 24"/>
                  <a:gd name="T1" fmla="*/ 101 h 101"/>
                  <a:gd name="T2" fmla="*/ 8 w 24"/>
                  <a:gd name="T3" fmla="*/ 100 h 101"/>
                  <a:gd name="T4" fmla="*/ 4 w 24"/>
                  <a:gd name="T5" fmla="*/ 98 h 101"/>
                  <a:gd name="T6" fmla="*/ 2 w 24"/>
                  <a:gd name="T7" fmla="*/ 94 h 101"/>
                  <a:gd name="T8" fmla="*/ 0 w 24"/>
                  <a:gd name="T9" fmla="*/ 89 h 101"/>
                  <a:gd name="T10" fmla="*/ 0 w 24"/>
                  <a:gd name="T11" fmla="*/ 13 h 101"/>
                  <a:gd name="T12" fmla="*/ 2 w 24"/>
                  <a:gd name="T13" fmla="*/ 8 h 101"/>
                  <a:gd name="T14" fmla="*/ 4 w 24"/>
                  <a:gd name="T15" fmla="*/ 3 h 101"/>
                  <a:gd name="T16" fmla="*/ 8 w 24"/>
                  <a:gd name="T17" fmla="*/ 1 h 101"/>
                  <a:gd name="T18" fmla="*/ 11 w 24"/>
                  <a:gd name="T19" fmla="*/ 0 h 101"/>
                  <a:gd name="T20" fmla="*/ 16 w 24"/>
                  <a:gd name="T21" fmla="*/ 1 h 101"/>
                  <a:gd name="T22" fmla="*/ 20 w 24"/>
                  <a:gd name="T23" fmla="*/ 3 h 101"/>
                  <a:gd name="T24" fmla="*/ 24 w 24"/>
                  <a:gd name="T25" fmla="*/ 8 h 101"/>
                  <a:gd name="T26" fmla="*/ 24 w 24"/>
                  <a:gd name="T27" fmla="*/ 13 h 101"/>
                  <a:gd name="T28" fmla="*/ 24 w 24"/>
                  <a:gd name="T29" fmla="*/ 89 h 101"/>
                  <a:gd name="T30" fmla="*/ 24 w 24"/>
                  <a:gd name="T31" fmla="*/ 94 h 101"/>
                  <a:gd name="T32" fmla="*/ 20 w 24"/>
                  <a:gd name="T33" fmla="*/ 98 h 101"/>
                  <a:gd name="T34" fmla="*/ 16 w 24"/>
                  <a:gd name="T35" fmla="*/ 100 h 101"/>
                  <a:gd name="T36" fmla="*/ 11 w 24"/>
                  <a:gd name="T37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101">
                    <a:moveTo>
                      <a:pt x="11" y="101"/>
                    </a:moveTo>
                    <a:lnTo>
                      <a:pt x="8" y="100"/>
                    </a:lnTo>
                    <a:lnTo>
                      <a:pt x="4" y="98"/>
                    </a:lnTo>
                    <a:lnTo>
                      <a:pt x="2" y="94"/>
                    </a:lnTo>
                    <a:lnTo>
                      <a:pt x="0" y="89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3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6" y="1"/>
                    </a:lnTo>
                    <a:lnTo>
                      <a:pt x="20" y="3"/>
                    </a:lnTo>
                    <a:lnTo>
                      <a:pt x="24" y="8"/>
                    </a:lnTo>
                    <a:lnTo>
                      <a:pt x="24" y="13"/>
                    </a:lnTo>
                    <a:lnTo>
                      <a:pt x="24" y="89"/>
                    </a:lnTo>
                    <a:lnTo>
                      <a:pt x="24" y="94"/>
                    </a:lnTo>
                    <a:lnTo>
                      <a:pt x="20" y="98"/>
                    </a:lnTo>
                    <a:lnTo>
                      <a:pt x="16" y="100"/>
                    </a:lnTo>
                    <a:lnTo>
                      <a:pt x="11" y="101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8" name="Freeform 273"/>
              <p:cNvSpPr>
                <a:spLocks/>
              </p:cNvSpPr>
              <p:nvPr/>
            </p:nvSpPr>
            <p:spPr bwMode="auto">
              <a:xfrm>
                <a:off x="3354388" y="5492750"/>
                <a:ext cx="96838" cy="58738"/>
              </a:xfrm>
              <a:custGeom>
                <a:avLst/>
                <a:gdLst>
                  <a:gd name="T0" fmla="*/ 101 w 246"/>
                  <a:gd name="T1" fmla="*/ 0 h 147"/>
                  <a:gd name="T2" fmla="*/ 92 w 246"/>
                  <a:gd name="T3" fmla="*/ 2 h 147"/>
                  <a:gd name="T4" fmla="*/ 83 w 246"/>
                  <a:gd name="T5" fmla="*/ 5 h 147"/>
                  <a:gd name="T6" fmla="*/ 75 w 246"/>
                  <a:gd name="T7" fmla="*/ 8 h 147"/>
                  <a:gd name="T8" fmla="*/ 68 w 246"/>
                  <a:gd name="T9" fmla="*/ 12 h 147"/>
                  <a:gd name="T10" fmla="*/ 53 w 246"/>
                  <a:gd name="T11" fmla="*/ 21 h 147"/>
                  <a:gd name="T12" fmla="*/ 41 w 246"/>
                  <a:gd name="T13" fmla="*/ 31 h 147"/>
                  <a:gd name="T14" fmla="*/ 28 w 246"/>
                  <a:gd name="T15" fmla="*/ 44 h 147"/>
                  <a:gd name="T16" fmla="*/ 19 w 246"/>
                  <a:gd name="T17" fmla="*/ 57 h 147"/>
                  <a:gd name="T18" fmla="*/ 11 w 246"/>
                  <a:gd name="T19" fmla="*/ 73 h 147"/>
                  <a:gd name="T20" fmla="*/ 5 w 246"/>
                  <a:gd name="T21" fmla="*/ 91 h 147"/>
                  <a:gd name="T22" fmla="*/ 3 w 246"/>
                  <a:gd name="T23" fmla="*/ 104 h 147"/>
                  <a:gd name="T24" fmla="*/ 0 w 246"/>
                  <a:gd name="T25" fmla="*/ 119 h 147"/>
                  <a:gd name="T26" fmla="*/ 0 w 246"/>
                  <a:gd name="T27" fmla="*/ 133 h 147"/>
                  <a:gd name="T28" fmla="*/ 0 w 246"/>
                  <a:gd name="T29" fmla="*/ 147 h 147"/>
                  <a:gd name="T30" fmla="*/ 125 w 246"/>
                  <a:gd name="T31" fmla="*/ 147 h 147"/>
                  <a:gd name="T32" fmla="*/ 143 w 246"/>
                  <a:gd name="T33" fmla="*/ 147 h 147"/>
                  <a:gd name="T34" fmla="*/ 185 w 246"/>
                  <a:gd name="T35" fmla="*/ 147 h 147"/>
                  <a:gd name="T36" fmla="*/ 227 w 246"/>
                  <a:gd name="T37" fmla="*/ 147 h 147"/>
                  <a:gd name="T38" fmla="*/ 245 w 246"/>
                  <a:gd name="T39" fmla="*/ 147 h 147"/>
                  <a:gd name="T40" fmla="*/ 246 w 246"/>
                  <a:gd name="T41" fmla="*/ 141 h 147"/>
                  <a:gd name="T42" fmla="*/ 245 w 246"/>
                  <a:gd name="T43" fmla="*/ 126 h 147"/>
                  <a:gd name="T44" fmla="*/ 243 w 246"/>
                  <a:gd name="T45" fmla="*/ 110 h 147"/>
                  <a:gd name="T46" fmla="*/ 240 w 246"/>
                  <a:gd name="T47" fmla="*/ 102 h 147"/>
                  <a:gd name="T48" fmla="*/ 238 w 246"/>
                  <a:gd name="T49" fmla="*/ 86 h 147"/>
                  <a:gd name="T50" fmla="*/ 233 w 246"/>
                  <a:gd name="T51" fmla="*/ 70 h 147"/>
                  <a:gd name="T52" fmla="*/ 226 w 246"/>
                  <a:gd name="T53" fmla="*/ 56 h 147"/>
                  <a:gd name="T54" fmla="*/ 217 w 246"/>
                  <a:gd name="T55" fmla="*/ 43 h 147"/>
                  <a:gd name="T56" fmla="*/ 210 w 246"/>
                  <a:gd name="T57" fmla="*/ 35 h 147"/>
                  <a:gd name="T58" fmla="*/ 202 w 246"/>
                  <a:gd name="T59" fmla="*/ 28 h 147"/>
                  <a:gd name="T60" fmla="*/ 195 w 246"/>
                  <a:gd name="T61" fmla="*/ 22 h 147"/>
                  <a:gd name="T62" fmla="*/ 186 w 246"/>
                  <a:gd name="T63" fmla="*/ 16 h 147"/>
                  <a:gd name="T64" fmla="*/ 177 w 246"/>
                  <a:gd name="T65" fmla="*/ 11 h 147"/>
                  <a:gd name="T66" fmla="*/ 168 w 246"/>
                  <a:gd name="T67" fmla="*/ 7 h 147"/>
                  <a:gd name="T68" fmla="*/ 158 w 246"/>
                  <a:gd name="T69" fmla="*/ 4 h 147"/>
                  <a:gd name="T70" fmla="*/ 148 w 246"/>
                  <a:gd name="T71" fmla="*/ 0 h 147"/>
                  <a:gd name="T72" fmla="*/ 101 w 246"/>
                  <a:gd name="T73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6" h="147">
                    <a:moveTo>
                      <a:pt x="101" y="0"/>
                    </a:moveTo>
                    <a:lnTo>
                      <a:pt x="92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2"/>
                    </a:lnTo>
                    <a:lnTo>
                      <a:pt x="53" y="21"/>
                    </a:lnTo>
                    <a:lnTo>
                      <a:pt x="41" y="31"/>
                    </a:lnTo>
                    <a:lnTo>
                      <a:pt x="28" y="44"/>
                    </a:lnTo>
                    <a:lnTo>
                      <a:pt x="19" y="57"/>
                    </a:lnTo>
                    <a:lnTo>
                      <a:pt x="11" y="73"/>
                    </a:lnTo>
                    <a:lnTo>
                      <a:pt x="5" y="91"/>
                    </a:lnTo>
                    <a:lnTo>
                      <a:pt x="3" y="104"/>
                    </a:lnTo>
                    <a:lnTo>
                      <a:pt x="0" y="119"/>
                    </a:lnTo>
                    <a:lnTo>
                      <a:pt x="0" y="133"/>
                    </a:lnTo>
                    <a:lnTo>
                      <a:pt x="0" y="147"/>
                    </a:lnTo>
                    <a:lnTo>
                      <a:pt x="125" y="147"/>
                    </a:lnTo>
                    <a:lnTo>
                      <a:pt x="143" y="147"/>
                    </a:lnTo>
                    <a:lnTo>
                      <a:pt x="185" y="147"/>
                    </a:lnTo>
                    <a:lnTo>
                      <a:pt x="227" y="147"/>
                    </a:lnTo>
                    <a:lnTo>
                      <a:pt x="245" y="147"/>
                    </a:lnTo>
                    <a:lnTo>
                      <a:pt x="246" y="141"/>
                    </a:lnTo>
                    <a:lnTo>
                      <a:pt x="245" y="126"/>
                    </a:lnTo>
                    <a:lnTo>
                      <a:pt x="243" y="110"/>
                    </a:lnTo>
                    <a:lnTo>
                      <a:pt x="240" y="102"/>
                    </a:lnTo>
                    <a:lnTo>
                      <a:pt x="238" y="86"/>
                    </a:lnTo>
                    <a:lnTo>
                      <a:pt x="233" y="70"/>
                    </a:lnTo>
                    <a:lnTo>
                      <a:pt x="226" y="56"/>
                    </a:lnTo>
                    <a:lnTo>
                      <a:pt x="217" y="43"/>
                    </a:lnTo>
                    <a:lnTo>
                      <a:pt x="210" y="35"/>
                    </a:lnTo>
                    <a:lnTo>
                      <a:pt x="202" y="28"/>
                    </a:lnTo>
                    <a:lnTo>
                      <a:pt x="195" y="22"/>
                    </a:lnTo>
                    <a:lnTo>
                      <a:pt x="186" y="16"/>
                    </a:lnTo>
                    <a:lnTo>
                      <a:pt x="177" y="11"/>
                    </a:lnTo>
                    <a:lnTo>
                      <a:pt x="168" y="7"/>
                    </a:lnTo>
                    <a:lnTo>
                      <a:pt x="158" y="4"/>
                    </a:lnTo>
                    <a:lnTo>
                      <a:pt x="148" y="0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2FB4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09" name="Freeform 274"/>
              <p:cNvSpPr>
                <a:spLocks/>
              </p:cNvSpPr>
              <p:nvPr/>
            </p:nvSpPr>
            <p:spPr bwMode="auto">
              <a:xfrm>
                <a:off x="3348038" y="5487988"/>
                <a:ext cx="107950" cy="68263"/>
              </a:xfrm>
              <a:custGeom>
                <a:avLst/>
                <a:gdLst>
                  <a:gd name="T0" fmla="*/ 12 w 271"/>
                  <a:gd name="T1" fmla="*/ 171 h 171"/>
                  <a:gd name="T2" fmla="*/ 4 w 271"/>
                  <a:gd name="T3" fmla="*/ 168 h 171"/>
                  <a:gd name="T4" fmla="*/ 0 w 271"/>
                  <a:gd name="T5" fmla="*/ 160 h 171"/>
                  <a:gd name="T6" fmla="*/ 1 w 271"/>
                  <a:gd name="T7" fmla="*/ 128 h 171"/>
                  <a:gd name="T8" fmla="*/ 6 w 271"/>
                  <a:gd name="T9" fmla="*/ 99 h 171"/>
                  <a:gd name="T10" fmla="*/ 12 w 271"/>
                  <a:gd name="T11" fmla="*/ 79 h 171"/>
                  <a:gd name="T12" fmla="*/ 21 w 271"/>
                  <a:gd name="T13" fmla="*/ 62 h 171"/>
                  <a:gd name="T14" fmla="*/ 32 w 271"/>
                  <a:gd name="T15" fmla="*/ 46 h 171"/>
                  <a:gd name="T16" fmla="*/ 44 w 271"/>
                  <a:gd name="T17" fmla="*/ 33 h 171"/>
                  <a:gd name="T18" fmla="*/ 59 w 271"/>
                  <a:gd name="T19" fmla="*/ 21 h 171"/>
                  <a:gd name="T20" fmla="*/ 75 w 271"/>
                  <a:gd name="T21" fmla="*/ 12 h 171"/>
                  <a:gd name="T22" fmla="*/ 92 w 271"/>
                  <a:gd name="T23" fmla="*/ 5 h 171"/>
                  <a:gd name="T24" fmla="*/ 110 w 271"/>
                  <a:gd name="T25" fmla="*/ 0 h 171"/>
                  <a:gd name="T26" fmla="*/ 119 w 271"/>
                  <a:gd name="T27" fmla="*/ 1 h 171"/>
                  <a:gd name="T28" fmla="*/ 124 w 271"/>
                  <a:gd name="T29" fmla="*/ 10 h 171"/>
                  <a:gd name="T30" fmla="*/ 122 w 271"/>
                  <a:gd name="T31" fmla="*/ 18 h 171"/>
                  <a:gd name="T32" fmla="*/ 114 w 271"/>
                  <a:gd name="T33" fmla="*/ 23 h 171"/>
                  <a:gd name="T34" fmla="*/ 86 w 271"/>
                  <a:gd name="T35" fmla="*/ 33 h 171"/>
                  <a:gd name="T36" fmla="*/ 60 w 271"/>
                  <a:gd name="T37" fmla="*/ 51 h 171"/>
                  <a:gd name="T38" fmla="*/ 42 w 271"/>
                  <a:gd name="T39" fmla="*/ 75 h 171"/>
                  <a:gd name="T40" fmla="*/ 29 w 271"/>
                  <a:gd name="T41" fmla="*/ 106 h 171"/>
                  <a:gd name="T42" fmla="*/ 24 w 271"/>
                  <a:gd name="T43" fmla="*/ 126 h 171"/>
                  <a:gd name="T44" fmla="*/ 23 w 271"/>
                  <a:gd name="T45" fmla="*/ 147 h 171"/>
                  <a:gd name="T46" fmla="*/ 245 w 271"/>
                  <a:gd name="T47" fmla="*/ 135 h 171"/>
                  <a:gd name="T48" fmla="*/ 241 w 271"/>
                  <a:gd name="T49" fmla="*/ 113 h 171"/>
                  <a:gd name="T50" fmla="*/ 234 w 271"/>
                  <a:gd name="T51" fmla="*/ 86 h 171"/>
                  <a:gd name="T52" fmla="*/ 219 w 271"/>
                  <a:gd name="T53" fmla="*/ 61 h 171"/>
                  <a:gd name="T54" fmla="*/ 207 w 271"/>
                  <a:gd name="T55" fmla="*/ 49 h 171"/>
                  <a:gd name="T56" fmla="*/ 192 w 271"/>
                  <a:gd name="T57" fmla="*/ 38 h 171"/>
                  <a:gd name="T58" fmla="*/ 175 w 271"/>
                  <a:gd name="T59" fmla="*/ 31 h 171"/>
                  <a:gd name="T60" fmla="*/ 158 w 271"/>
                  <a:gd name="T61" fmla="*/ 24 h 171"/>
                  <a:gd name="T62" fmla="*/ 151 w 271"/>
                  <a:gd name="T63" fmla="*/ 18 h 171"/>
                  <a:gd name="T64" fmla="*/ 148 w 271"/>
                  <a:gd name="T65" fmla="*/ 10 h 171"/>
                  <a:gd name="T66" fmla="*/ 153 w 271"/>
                  <a:gd name="T67" fmla="*/ 4 h 171"/>
                  <a:gd name="T68" fmla="*/ 163 w 271"/>
                  <a:gd name="T69" fmla="*/ 0 h 171"/>
                  <a:gd name="T70" fmla="*/ 185 w 271"/>
                  <a:gd name="T71" fmla="*/ 7 h 171"/>
                  <a:gd name="T72" fmla="*/ 204 w 271"/>
                  <a:gd name="T73" fmla="*/ 17 h 171"/>
                  <a:gd name="T74" fmla="*/ 223 w 271"/>
                  <a:gd name="T75" fmla="*/ 31 h 171"/>
                  <a:gd name="T76" fmla="*/ 239 w 271"/>
                  <a:gd name="T77" fmla="*/ 48 h 171"/>
                  <a:gd name="T78" fmla="*/ 256 w 271"/>
                  <a:gd name="T79" fmla="*/ 76 h 171"/>
                  <a:gd name="T80" fmla="*/ 266 w 271"/>
                  <a:gd name="T81" fmla="*/ 110 h 171"/>
                  <a:gd name="T82" fmla="*/ 269 w 271"/>
                  <a:gd name="T83" fmla="*/ 139 h 171"/>
                  <a:gd name="T84" fmla="*/ 269 w 271"/>
                  <a:gd name="T85" fmla="*/ 162 h 171"/>
                  <a:gd name="T86" fmla="*/ 262 w 271"/>
                  <a:gd name="T87" fmla="*/ 17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71" h="171">
                    <a:moveTo>
                      <a:pt x="257" y="171"/>
                    </a:moveTo>
                    <a:lnTo>
                      <a:pt x="12" y="171"/>
                    </a:lnTo>
                    <a:lnTo>
                      <a:pt x="7" y="170"/>
                    </a:lnTo>
                    <a:lnTo>
                      <a:pt x="4" y="168"/>
                    </a:lnTo>
                    <a:lnTo>
                      <a:pt x="1" y="164"/>
                    </a:lnTo>
                    <a:lnTo>
                      <a:pt x="0" y="160"/>
                    </a:lnTo>
                    <a:lnTo>
                      <a:pt x="0" y="143"/>
                    </a:lnTo>
                    <a:lnTo>
                      <a:pt x="1" y="128"/>
                    </a:lnTo>
                    <a:lnTo>
                      <a:pt x="2" y="113"/>
                    </a:lnTo>
                    <a:lnTo>
                      <a:pt x="6" y="99"/>
                    </a:lnTo>
                    <a:lnTo>
                      <a:pt x="8" y="89"/>
                    </a:lnTo>
                    <a:lnTo>
                      <a:pt x="12" y="79"/>
                    </a:lnTo>
                    <a:lnTo>
                      <a:pt x="16" y="71"/>
                    </a:lnTo>
                    <a:lnTo>
                      <a:pt x="21" y="62"/>
                    </a:lnTo>
                    <a:lnTo>
                      <a:pt x="26" y="54"/>
                    </a:lnTo>
                    <a:lnTo>
                      <a:pt x="32" y="46"/>
                    </a:lnTo>
                    <a:lnTo>
                      <a:pt x="38" y="39"/>
                    </a:lnTo>
                    <a:lnTo>
                      <a:pt x="44" y="33"/>
                    </a:lnTo>
                    <a:lnTo>
                      <a:pt x="51" y="27"/>
                    </a:lnTo>
                    <a:lnTo>
                      <a:pt x="59" y="21"/>
                    </a:lnTo>
                    <a:lnTo>
                      <a:pt x="66" y="16"/>
                    </a:lnTo>
                    <a:lnTo>
                      <a:pt x="75" y="12"/>
                    </a:lnTo>
                    <a:lnTo>
                      <a:pt x="83" y="8"/>
                    </a:lnTo>
                    <a:lnTo>
                      <a:pt x="92" y="5"/>
                    </a:lnTo>
                    <a:lnTo>
                      <a:pt x="100" y="2"/>
                    </a:lnTo>
                    <a:lnTo>
                      <a:pt x="110" y="0"/>
                    </a:lnTo>
                    <a:lnTo>
                      <a:pt x="115" y="0"/>
                    </a:lnTo>
                    <a:lnTo>
                      <a:pt x="119" y="1"/>
                    </a:lnTo>
                    <a:lnTo>
                      <a:pt x="122" y="5"/>
                    </a:lnTo>
                    <a:lnTo>
                      <a:pt x="124" y="10"/>
                    </a:lnTo>
                    <a:lnTo>
                      <a:pt x="124" y="15"/>
                    </a:lnTo>
                    <a:lnTo>
                      <a:pt x="122" y="18"/>
                    </a:lnTo>
                    <a:lnTo>
                      <a:pt x="119" y="22"/>
                    </a:lnTo>
                    <a:lnTo>
                      <a:pt x="114" y="23"/>
                    </a:lnTo>
                    <a:lnTo>
                      <a:pt x="99" y="27"/>
                    </a:lnTo>
                    <a:lnTo>
                      <a:pt x="86" y="33"/>
                    </a:lnTo>
                    <a:lnTo>
                      <a:pt x="72" y="42"/>
                    </a:lnTo>
                    <a:lnTo>
                      <a:pt x="60" y="51"/>
                    </a:lnTo>
                    <a:lnTo>
                      <a:pt x="50" y="62"/>
                    </a:lnTo>
                    <a:lnTo>
                      <a:pt x="42" y="75"/>
                    </a:lnTo>
                    <a:lnTo>
                      <a:pt x="34" y="89"/>
                    </a:lnTo>
                    <a:lnTo>
                      <a:pt x="29" y="106"/>
                    </a:lnTo>
                    <a:lnTo>
                      <a:pt x="27" y="116"/>
                    </a:lnTo>
                    <a:lnTo>
                      <a:pt x="24" y="126"/>
                    </a:lnTo>
                    <a:lnTo>
                      <a:pt x="24" y="136"/>
                    </a:lnTo>
                    <a:lnTo>
                      <a:pt x="23" y="147"/>
                    </a:lnTo>
                    <a:lnTo>
                      <a:pt x="246" y="147"/>
                    </a:lnTo>
                    <a:lnTo>
                      <a:pt x="245" y="135"/>
                    </a:lnTo>
                    <a:lnTo>
                      <a:pt x="241" y="117"/>
                    </a:lnTo>
                    <a:lnTo>
                      <a:pt x="241" y="113"/>
                    </a:lnTo>
                    <a:lnTo>
                      <a:pt x="239" y="99"/>
                    </a:lnTo>
                    <a:lnTo>
                      <a:pt x="234" y="86"/>
                    </a:lnTo>
                    <a:lnTo>
                      <a:pt x="228" y="73"/>
                    </a:lnTo>
                    <a:lnTo>
                      <a:pt x="219" y="61"/>
                    </a:lnTo>
                    <a:lnTo>
                      <a:pt x="213" y="55"/>
                    </a:lnTo>
                    <a:lnTo>
                      <a:pt x="207" y="49"/>
                    </a:lnTo>
                    <a:lnTo>
                      <a:pt x="200" y="43"/>
                    </a:lnTo>
                    <a:lnTo>
                      <a:pt x="192" y="38"/>
                    </a:lnTo>
                    <a:lnTo>
                      <a:pt x="184" y="33"/>
                    </a:lnTo>
                    <a:lnTo>
                      <a:pt x="175" y="31"/>
                    </a:lnTo>
                    <a:lnTo>
                      <a:pt x="167" y="27"/>
                    </a:lnTo>
                    <a:lnTo>
                      <a:pt x="158" y="24"/>
                    </a:lnTo>
                    <a:lnTo>
                      <a:pt x="153" y="22"/>
                    </a:lnTo>
                    <a:lnTo>
                      <a:pt x="151" y="18"/>
                    </a:lnTo>
                    <a:lnTo>
                      <a:pt x="148" y="15"/>
                    </a:lnTo>
                    <a:lnTo>
                      <a:pt x="148" y="10"/>
                    </a:lnTo>
                    <a:lnTo>
                      <a:pt x="151" y="6"/>
                    </a:lnTo>
                    <a:lnTo>
                      <a:pt x="153" y="4"/>
                    </a:lnTo>
                    <a:lnTo>
                      <a:pt x="158" y="1"/>
                    </a:lnTo>
                    <a:lnTo>
                      <a:pt x="163" y="0"/>
                    </a:lnTo>
                    <a:lnTo>
                      <a:pt x="174" y="4"/>
                    </a:lnTo>
                    <a:lnTo>
                      <a:pt x="185" y="7"/>
                    </a:lnTo>
                    <a:lnTo>
                      <a:pt x="195" y="12"/>
                    </a:lnTo>
                    <a:lnTo>
                      <a:pt x="204" y="17"/>
                    </a:lnTo>
                    <a:lnTo>
                      <a:pt x="214" y="23"/>
                    </a:lnTo>
                    <a:lnTo>
                      <a:pt x="223" y="31"/>
                    </a:lnTo>
                    <a:lnTo>
                      <a:pt x="231" y="39"/>
                    </a:lnTo>
                    <a:lnTo>
                      <a:pt x="239" y="48"/>
                    </a:lnTo>
                    <a:lnTo>
                      <a:pt x="249" y="61"/>
                    </a:lnTo>
                    <a:lnTo>
                      <a:pt x="256" y="76"/>
                    </a:lnTo>
                    <a:lnTo>
                      <a:pt x="262" y="93"/>
                    </a:lnTo>
                    <a:lnTo>
                      <a:pt x="266" y="110"/>
                    </a:lnTo>
                    <a:lnTo>
                      <a:pt x="266" y="115"/>
                    </a:lnTo>
                    <a:lnTo>
                      <a:pt x="269" y="139"/>
                    </a:lnTo>
                    <a:lnTo>
                      <a:pt x="271" y="154"/>
                    </a:lnTo>
                    <a:lnTo>
                      <a:pt x="269" y="162"/>
                    </a:lnTo>
                    <a:lnTo>
                      <a:pt x="267" y="166"/>
                    </a:lnTo>
                    <a:lnTo>
                      <a:pt x="262" y="170"/>
                    </a:lnTo>
                    <a:lnTo>
                      <a:pt x="257" y="171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0" name="Freeform 275"/>
              <p:cNvSpPr>
                <a:spLocks/>
              </p:cNvSpPr>
              <p:nvPr/>
            </p:nvSpPr>
            <p:spPr bwMode="auto">
              <a:xfrm>
                <a:off x="3392488" y="5481638"/>
                <a:ext cx="20638" cy="34925"/>
              </a:xfrm>
              <a:custGeom>
                <a:avLst/>
                <a:gdLst>
                  <a:gd name="T0" fmla="*/ 43 w 50"/>
                  <a:gd name="T1" fmla="*/ 87 h 87"/>
                  <a:gd name="T2" fmla="*/ 8 w 50"/>
                  <a:gd name="T3" fmla="*/ 87 h 87"/>
                  <a:gd name="T4" fmla="*/ 0 w 50"/>
                  <a:gd name="T5" fmla="*/ 0 h 87"/>
                  <a:gd name="T6" fmla="*/ 50 w 50"/>
                  <a:gd name="T7" fmla="*/ 0 h 87"/>
                  <a:gd name="T8" fmla="*/ 43 w 50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87">
                    <a:moveTo>
                      <a:pt x="43" y="87"/>
                    </a:moveTo>
                    <a:lnTo>
                      <a:pt x="8" y="87"/>
                    </a:lnTo>
                    <a:lnTo>
                      <a:pt x="0" y="0"/>
                    </a:lnTo>
                    <a:lnTo>
                      <a:pt x="50" y="0"/>
                    </a:lnTo>
                    <a:lnTo>
                      <a:pt x="43" y="87"/>
                    </a:lnTo>
                    <a:close/>
                  </a:path>
                </a:pathLst>
              </a:custGeom>
              <a:solidFill>
                <a:srgbClr val="2FB4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1" name="Freeform 276"/>
              <p:cNvSpPr>
                <a:spLocks noEditPoints="1"/>
              </p:cNvSpPr>
              <p:nvPr/>
            </p:nvSpPr>
            <p:spPr bwMode="auto">
              <a:xfrm>
                <a:off x="3387725" y="5476875"/>
                <a:ext cx="30163" cy="44450"/>
              </a:xfrm>
              <a:custGeom>
                <a:avLst/>
                <a:gdLst>
                  <a:gd name="T0" fmla="*/ 31 w 75"/>
                  <a:gd name="T1" fmla="*/ 88 h 110"/>
                  <a:gd name="T2" fmla="*/ 44 w 75"/>
                  <a:gd name="T3" fmla="*/ 88 h 110"/>
                  <a:gd name="T4" fmla="*/ 49 w 75"/>
                  <a:gd name="T5" fmla="*/ 25 h 110"/>
                  <a:gd name="T6" fmla="*/ 24 w 75"/>
                  <a:gd name="T7" fmla="*/ 25 h 110"/>
                  <a:gd name="T8" fmla="*/ 31 w 75"/>
                  <a:gd name="T9" fmla="*/ 88 h 110"/>
                  <a:gd name="T10" fmla="*/ 55 w 75"/>
                  <a:gd name="T11" fmla="*/ 110 h 110"/>
                  <a:gd name="T12" fmla="*/ 20 w 75"/>
                  <a:gd name="T13" fmla="*/ 110 h 110"/>
                  <a:gd name="T14" fmla="*/ 15 w 75"/>
                  <a:gd name="T15" fmla="*/ 110 h 110"/>
                  <a:gd name="T16" fmla="*/ 11 w 75"/>
                  <a:gd name="T17" fmla="*/ 107 h 110"/>
                  <a:gd name="T18" fmla="*/ 8 w 75"/>
                  <a:gd name="T19" fmla="*/ 104 h 110"/>
                  <a:gd name="T20" fmla="*/ 7 w 75"/>
                  <a:gd name="T21" fmla="*/ 99 h 110"/>
                  <a:gd name="T22" fmla="*/ 0 w 75"/>
                  <a:gd name="T23" fmla="*/ 13 h 110"/>
                  <a:gd name="T24" fmla="*/ 0 w 75"/>
                  <a:gd name="T25" fmla="*/ 11 h 110"/>
                  <a:gd name="T26" fmla="*/ 1 w 75"/>
                  <a:gd name="T27" fmla="*/ 8 h 110"/>
                  <a:gd name="T28" fmla="*/ 2 w 75"/>
                  <a:gd name="T29" fmla="*/ 6 h 110"/>
                  <a:gd name="T30" fmla="*/ 4 w 75"/>
                  <a:gd name="T31" fmla="*/ 4 h 110"/>
                  <a:gd name="T32" fmla="*/ 7 w 75"/>
                  <a:gd name="T33" fmla="*/ 1 h 110"/>
                  <a:gd name="T34" fmla="*/ 12 w 75"/>
                  <a:gd name="T35" fmla="*/ 0 h 110"/>
                  <a:gd name="T36" fmla="*/ 62 w 75"/>
                  <a:gd name="T37" fmla="*/ 0 h 110"/>
                  <a:gd name="T38" fmla="*/ 67 w 75"/>
                  <a:gd name="T39" fmla="*/ 1 h 110"/>
                  <a:gd name="T40" fmla="*/ 71 w 75"/>
                  <a:gd name="T41" fmla="*/ 4 h 110"/>
                  <a:gd name="T42" fmla="*/ 73 w 75"/>
                  <a:gd name="T43" fmla="*/ 8 h 110"/>
                  <a:gd name="T44" fmla="*/ 75 w 75"/>
                  <a:gd name="T45" fmla="*/ 13 h 110"/>
                  <a:gd name="T46" fmla="*/ 67 w 75"/>
                  <a:gd name="T47" fmla="*/ 99 h 110"/>
                  <a:gd name="T48" fmla="*/ 66 w 75"/>
                  <a:gd name="T49" fmla="*/ 104 h 110"/>
                  <a:gd name="T50" fmla="*/ 64 w 75"/>
                  <a:gd name="T51" fmla="*/ 107 h 110"/>
                  <a:gd name="T52" fmla="*/ 60 w 75"/>
                  <a:gd name="T53" fmla="*/ 110 h 110"/>
                  <a:gd name="T54" fmla="*/ 55 w 75"/>
                  <a:gd name="T55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5" h="110">
                    <a:moveTo>
                      <a:pt x="31" y="88"/>
                    </a:moveTo>
                    <a:lnTo>
                      <a:pt x="44" y="88"/>
                    </a:lnTo>
                    <a:lnTo>
                      <a:pt x="49" y="25"/>
                    </a:lnTo>
                    <a:lnTo>
                      <a:pt x="24" y="25"/>
                    </a:lnTo>
                    <a:lnTo>
                      <a:pt x="31" y="88"/>
                    </a:lnTo>
                    <a:close/>
                    <a:moveTo>
                      <a:pt x="55" y="110"/>
                    </a:moveTo>
                    <a:lnTo>
                      <a:pt x="20" y="110"/>
                    </a:lnTo>
                    <a:lnTo>
                      <a:pt x="15" y="110"/>
                    </a:lnTo>
                    <a:lnTo>
                      <a:pt x="11" y="107"/>
                    </a:lnTo>
                    <a:lnTo>
                      <a:pt x="8" y="104"/>
                    </a:lnTo>
                    <a:lnTo>
                      <a:pt x="7" y="99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2" y="0"/>
                    </a:lnTo>
                    <a:lnTo>
                      <a:pt x="62" y="0"/>
                    </a:lnTo>
                    <a:lnTo>
                      <a:pt x="67" y="1"/>
                    </a:lnTo>
                    <a:lnTo>
                      <a:pt x="71" y="4"/>
                    </a:lnTo>
                    <a:lnTo>
                      <a:pt x="73" y="8"/>
                    </a:lnTo>
                    <a:lnTo>
                      <a:pt x="75" y="13"/>
                    </a:lnTo>
                    <a:lnTo>
                      <a:pt x="67" y="99"/>
                    </a:lnTo>
                    <a:lnTo>
                      <a:pt x="66" y="104"/>
                    </a:lnTo>
                    <a:lnTo>
                      <a:pt x="64" y="107"/>
                    </a:lnTo>
                    <a:lnTo>
                      <a:pt x="60" y="110"/>
                    </a:lnTo>
                    <a:lnTo>
                      <a:pt x="55" y="11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2" name="Freeform 277"/>
              <p:cNvSpPr>
                <a:spLocks/>
              </p:cNvSpPr>
              <p:nvPr/>
            </p:nvSpPr>
            <p:spPr bwMode="auto">
              <a:xfrm>
                <a:off x="3341688" y="5546725"/>
                <a:ext cx="120650" cy="9525"/>
              </a:xfrm>
              <a:custGeom>
                <a:avLst/>
                <a:gdLst>
                  <a:gd name="T0" fmla="*/ 290 w 303"/>
                  <a:gd name="T1" fmla="*/ 24 h 24"/>
                  <a:gd name="T2" fmla="*/ 11 w 303"/>
                  <a:gd name="T3" fmla="*/ 24 h 24"/>
                  <a:gd name="T4" fmla="*/ 6 w 303"/>
                  <a:gd name="T5" fmla="*/ 23 h 24"/>
                  <a:gd name="T6" fmla="*/ 2 w 303"/>
                  <a:gd name="T7" fmla="*/ 19 h 24"/>
                  <a:gd name="T8" fmla="*/ 0 w 303"/>
                  <a:gd name="T9" fmla="*/ 16 h 24"/>
                  <a:gd name="T10" fmla="*/ 0 w 303"/>
                  <a:gd name="T11" fmla="*/ 11 h 24"/>
                  <a:gd name="T12" fmla="*/ 0 w 303"/>
                  <a:gd name="T13" fmla="*/ 6 h 24"/>
                  <a:gd name="T14" fmla="*/ 2 w 303"/>
                  <a:gd name="T15" fmla="*/ 2 h 24"/>
                  <a:gd name="T16" fmla="*/ 6 w 303"/>
                  <a:gd name="T17" fmla="*/ 0 h 24"/>
                  <a:gd name="T18" fmla="*/ 11 w 303"/>
                  <a:gd name="T19" fmla="*/ 0 h 24"/>
                  <a:gd name="T20" fmla="*/ 290 w 303"/>
                  <a:gd name="T21" fmla="*/ 0 h 24"/>
                  <a:gd name="T22" fmla="*/ 295 w 303"/>
                  <a:gd name="T23" fmla="*/ 0 h 24"/>
                  <a:gd name="T24" fmla="*/ 299 w 303"/>
                  <a:gd name="T25" fmla="*/ 2 h 24"/>
                  <a:gd name="T26" fmla="*/ 301 w 303"/>
                  <a:gd name="T27" fmla="*/ 6 h 24"/>
                  <a:gd name="T28" fmla="*/ 303 w 303"/>
                  <a:gd name="T29" fmla="*/ 11 h 24"/>
                  <a:gd name="T30" fmla="*/ 301 w 303"/>
                  <a:gd name="T31" fmla="*/ 16 h 24"/>
                  <a:gd name="T32" fmla="*/ 299 w 303"/>
                  <a:gd name="T33" fmla="*/ 19 h 24"/>
                  <a:gd name="T34" fmla="*/ 295 w 303"/>
                  <a:gd name="T35" fmla="*/ 23 h 24"/>
                  <a:gd name="T36" fmla="*/ 290 w 303"/>
                  <a:gd name="T3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3" h="24">
                    <a:moveTo>
                      <a:pt x="290" y="24"/>
                    </a:moveTo>
                    <a:lnTo>
                      <a:pt x="11" y="24"/>
                    </a:lnTo>
                    <a:lnTo>
                      <a:pt x="6" y="23"/>
                    </a:lnTo>
                    <a:lnTo>
                      <a:pt x="2" y="19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290" y="0"/>
                    </a:lnTo>
                    <a:lnTo>
                      <a:pt x="295" y="0"/>
                    </a:lnTo>
                    <a:lnTo>
                      <a:pt x="299" y="2"/>
                    </a:lnTo>
                    <a:lnTo>
                      <a:pt x="301" y="6"/>
                    </a:lnTo>
                    <a:lnTo>
                      <a:pt x="303" y="11"/>
                    </a:lnTo>
                    <a:lnTo>
                      <a:pt x="301" y="16"/>
                    </a:lnTo>
                    <a:lnTo>
                      <a:pt x="299" y="19"/>
                    </a:lnTo>
                    <a:lnTo>
                      <a:pt x="295" y="23"/>
                    </a:lnTo>
                    <a:lnTo>
                      <a:pt x="290" y="2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3" name="Freeform 278"/>
              <p:cNvSpPr>
                <a:spLocks noEditPoints="1"/>
              </p:cNvSpPr>
              <p:nvPr/>
            </p:nvSpPr>
            <p:spPr bwMode="auto">
              <a:xfrm>
                <a:off x="3365500" y="5559425"/>
                <a:ext cx="34925" cy="28575"/>
              </a:xfrm>
              <a:custGeom>
                <a:avLst/>
                <a:gdLst>
                  <a:gd name="T0" fmla="*/ 34 w 88"/>
                  <a:gd name="T1" fmla="*/ 24 h 70"/>
                  <a:gd name="T2" fmla="*/ 30 w 88"/>
                  <a:gd name="T3" fmla="*/ 26 h 70"/>
                  <a:gd name="T4" fmla="*/ 27 w 88"/>
                  <a:gd name="T5" fmla="*/ 28 h 70"/>
                  <a:gd name="T6" fmla="*/ 24 w 88"/>
                  <a:gd name="T7" fmla="*/ 31 h 70"/>
                  <a:gd name="T8" fmla="*/ 23 w 88"/>
                  <a:gd name="T9" fmla="*/ 34 h 70"/>
                  <a:gd name="T10" fmla="*/ 24 w 88"/>
                  <a:gd name="T11" fmla="*/ 39 h 70"/>
                  <a:gd name="T12" fmla="*/ 27 w 88"/>
                  <a:gd name="T13" fmla="*/ 42 h 70"/>
                  <a:gd name="T14" fmla="*/ 30 w 88"/>
                  <a:gd name="T15" fmla="*/ 44 h 70"/>
                  <a:gd name="T16" fmla="*/ 34 w 88"/>
                  <a:gd name="T17" fmla="*/ 45 h 70"/>
                  <a:gd name="T18" fmla="*/ 53 w 88"/>
                  <a:gd name="T19" fmla="*/ 45 h 70"/>
                  <a:gd name="T20" fmla="*/ 57 w 88"/>
                  <a:gd name="T21" fmla="*/ 44 h 70"/>
                  <a:gd name="T22" fmla="*/ 61 w 88"/>
                  <a:gd name="T23" fmla="*/ 42 h 70"/>
                  <a:gd name="T24" fmla="*/ 63 w 88"/>
                  <a:gd name="T25" fmla="*/ 39 h 70"/>
                  <a:gd name="T26" fmla="*/ 63 w 88"/>
                  <a:gd name="T27" fmla="*/ 34 h 70"/>
                  <a:gd name="T28" fmla="*/ 63 w 88"/>
                  <a:gd name="T29" fmla="*/ 31 h 70"/>
                  <a:gd name="T30" fmla="*/ 61 w 88"/>
                  <a:gd name="T31" fmla="*/ 28 h 70"/>
                  <a:gd name="T32" fmla="*/ 57 w 88"/>
                  <a:gd name="T33" fmla="*/ 26 h 70"/>
                  <a:gd name="T34" fmla="*/ 53 w 88"/>
                  <a:gd name="T35" fmla="*/ 24 h 70"/>
                  <a:gd name="T36" fmla="*/ 34 w 88"/>
                  <a:gd name="T37" fmla="*/ 24 h 70"/>
                  <a:gd name="T38" fmla="*/ 53 w 88"/>
                  <a:gd name="T39" fmla="*/ 70 h 70"/>
                  <a:gd name="T40" fmla="*/ 34 w 88"/>
                  <a:gd name="T41" fmla="*/ 70 h 70"/>
                  <a:gd name="T42" fmla="*/ 27 w 88"/>
                  <a:gd name="T43" fmla="*/ 70 h 70"/>
                  <a:gd name="T44" fmla="*/ 20 w 88"/>
                  <a:gd name="T45" fmla="*/ 67 h 70"/>
                  <a:gd name="T46" fmla="*/ 14 w 88"/>
                  <a:gd name="T47" fmla="*/ 64 h 70"/>
                  <a:gd name="T48" fmla="*/ 9 w 88"/>
                  <a:gd name="T49" fmla="*/ 60 h 70"/>
                  <a:gd name="T50" fmla="*/ 4 w 88"/>
                  <a:gd name="T51" fmla="*/ 54 h 70"/>
                  <a:gd name="T52" fmla="*/ 2 w 88"/>
                  <a:gd name="T53" fmla="*/ 48 h 70"/>
                  <a:gd name="T54" fmla="*/ 0 w 88"/>
                  <a:gd name="T55" fmla="*/ 42 h 70"/>
                  <a:gd name="T56" fmla="*/ 0 w 88"/>
                  <a:gd name="T57" fmla="*/ 34 h 70"/>
                  <a:gd name="T58" fmla="*/ 0 w 88"/>
                  <a:gd name="T59" fmla="*/ 27 h 70"/>
                  <a:gd name="T60" fmla="*/ 2 w 88"/>
                  <a:gd name="T61" fmla="*/ 21 h 70"/>
                  <a:gd name="T62" fmla="*/ 4 w 88"/>
                  <a:gd name="T63" fmla="*/ 16 h 70"/>
                  <a:gd name="T64" fmla="*/ 9 w 88"/>
                  <a:gd name="T65" fmla="*/ 10 h 70"/>
                  <a:gd name="T66" fmla="*/ 14 w 88"/>
                  <a:gd name="T67" fmla="*/ 6 h 70"/>
                  <a:gd name="T68" fmla="*/ 20 w 88"/>
                  <a:gd name="T69" fmla="*/ 2 h 70"/>
                  <a:gd name="T70" fmla="*/ 27 w 88"/>
                  <a:gd name="T71" fmla="*/ 1 h 70"/>
                  <a:gd name="T72" fmla="*/ 34 w 88"/>
                  <a:gd name="T73" fmla="*/ 0 h 70"/>
                  <a:gd name="T74" fmla="*/ 53 w 88"/>
                  <a:gd name="T75" fmla="*/ 0 h 70"/>
                  <a:gd name="T76" fmla="*/ 60 w 88"/>
                  <a:gd name="T77" fmla="*/ 1 h 70"/>
                  <a:gd name="T78" fmla="*/ 67 w 88"/>
                  <a:gd name="T79" fmla="*/ 2 h 70"/>
                  <a:gd name="T80" fmla="*/ 72 w 88"/>
                  <a:gd name="T81" fmla="*/ 6 h 70"/>
                  <a:gd name="T82" fmla="*/ 78 w 88"/>
                  <a:gd name="T83" fmla="*/ 10 h 70"/>
                  <a:gd name="T84" fmla="*/ 82 w 88"/>
                  <a:gd name="T85" fmla="*/ 16 h 70"/>
                  <a:gd name="T86" fmla="*/ 85 w 88"/>
                  <a:gd name="T87" fmla="*/ 21 h 70"/>
                  <a:gd name="T88" fmla="*/ 87 w 88"/>
                  <a:gd name="T89" fmla="*/ 27 h 70"/>
                  <a:gd name="T90" fmla="*/ 88 w 88"/>
                  <a:gd name="T91" fmla="*/ 34 h 70"/>
                  <a:gd name="T92" fmla="*/ 87 w 88"/>
                  <a:gd name="T93" fmla="*/ 42 h 70"/>
                  <a:gd name="T94" fmla="*/ 85 w 88"/>
                  <a:gd name="T95" fmla="*/ 48 h 70"/>
                  <a:gd name="T96" fmla="*/ 82 w 88"/>
                  <a:gd name="T97" fmla="*/ 54 h 70"/>
                  <a:gd name="T98" fmla="*/ 78 w 88"/>
                  <a:gd name="T99" fmla="*/ 60 h 70"/>
                  <a:gd name="T100" fmla="*/ 72 w 88"/>
                  <a:gd name="T101" fmla="*/ 64 h 70"/>
                  <a:gd name="T102" fmla="*/ 67 w 88"/>
                  <a:gd name="T103" fmla="*/ 67 h 70"/>
                  <a:gd name="T104" fmla="*/ 60 w 88"/>
                  <a:gd name="T105" fmla="*/ 70 h 70"/>
                  <a:gd name="T106" fmla="*/ 53 w 88"/>
                  <a:gd name="T10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" h="70">
                    <a:moveTo>
                      <a:pt x="34" y="24"/>
                    </a:moveTo>
                    <a:lnTo>
                      <a:pt x="30" y="26"/>
                    </a:lnTo>
                    <a:lnTo>
                      <a:pt x="27" y="28"/>
                    </a:lnTo>
                    <a:lnTo>
                      <a:pt x="24" y="31"/>
                    </a:lnTo>
                    <a:lnTo>
                      <a:pt x="23" y="34"/>
                    </a:lnTo>
                    <a:lnTo>
                      <a:pt x="24" y="39"/>
                    </a:lnTo>
                    <a:lnTo>
                      <a:pt x="27" y="42"/>
                    </a:lnTo>
                    <a:lnTo>
                      <a:pt x="30" y="44"/>
                    </a:lnTo>
                    <a:lnTo>
                      <a:pt x="34" y="45"/>
                    </a:lnTo>
                    <a:lnTo>
                      <a:pt x="53" y="45"/>
                    </a:lnTo>
                    <a:lnTo>
                      <a:pt x="57" y="44"/>
                    </a:lnTo>
                    <a:lnTo>
                      <a:pt x="61" y="42"/>
                    </a:lnTo>
                    <a:lnTo>
                      <a:pt x="63" y="39"/>
                    </a:lnTo>
                    <a:lnTo>
                      <a:pt x="63" y="34"/>
                    </a:lnTo>
                    <a:lnTo>
                      <a:pt x="63" y="31"/>
                    </a:lnTo>
                    <a:lnTo>
                      <a:pt x="61" y="28"/>
                    </a:lnTo>
                    <a:lnTo>
                      <a:pt x="57" y="26"/>
                    </a:lnTo>
                    <a:lnTo>
                      <a:pt x="53" y="24"/>
                    </a:lnTo>
                    <a:lnTo>
                      <a:pt x="34" y="24"/>
                    </a:lnTo>
                    <a:close/>
                    <a:moveTo>
                      <a:pt x="53" y="70"/>
                    </a:moveTo>
                    <a:lnTo>
                      <a:pt x="34" y="70"/>
                    </a:lnTo>
                    <a:lnTo>
                      <a:pt x="27" y="70"/>
                    </a:lnTo>
                    <a:lnTo>
                      <a:pt x="20" y="67"/>
                    </a:lnTo>
                    <a:lnTo>
                      <a:pt x="14" y="64"/>
                    </a:lnTo>
                    <a:lnTo>
                      <a:pt x="9" y="60"/>
                    </a:lnTo>
                    <a:lnTo>
                      <a:pt x="4" y="54"/>
                    </a:lnTo>
                    <a:lnTo>
                      <a:pt x="2" y="48"/>
                    </a:lnTo>
                    <a:lnTo>
                      <a:pt x="0" y="42"/>
                    </a:lnTo>
                    <a:lnTo>
                      <a:pt x="0" y="34"/>
                    </a:lnTo>
                    <a:lnTo>
                      <a:pt x="0" y="27"/>
                    </a:lnTo>
                    <a:lnTo>
                      <a:pt x="2" y="21"/>
                    </a:lnTo>
                    <a:lnTo>
                      <a:pt x="4" y="16"/>
                    </a:lnTo>
                    <a:lnTo>
                      <a:pt x="9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7" y="1"/>
                    </a:lnTo>
                    <a:lnTo>
                      <a:pt x="34" y="0"/>
                    </a:lnTo>
                    <a:lnTo>
                      <a:pt x="53" y="0"/>
                    </a:lnTo>
                    <a:lnTo>
                      <a:pt x="60" y="1"/>
                    </a:lnTo>
                    <a:lnTo>
                      <a:pt x="67" y="2"/>
                    </a:lnTo>
                    <a:lnTo>
                      <a:pt x="72" y="6"/>
                    </a:lnTo>
                    <a:lnTo>
                      <a:pt x="78" y="10"/>
                    </a:lnTo>
                    <a:lnTo>
                      <a:pt x="82" y="16"/>
                    </a:lnTo>
                    <a:lnTo>
                      <a:pt x="85" y="21"/>
                    </a:lnTo>
                    <a:lnTo>
                      <a:pt x="87" y="27"/>
                    </a:lnTo>
                    <a:lnTo>
                      <a:pt x="88" y="34"/>
                    </a:lnTo>
                    <a:lnTo>
                      <a:pt x="87" y="42"/>
                    </a:lnTo>
                    <a:lnTo>
                      <a:pt x="85" y="48"/>
                    </a:lnTo>
                    <a:lnTo>
                      <a:pt x="82" y="54"/>
                    </a:lnTo>
                    <a:lnTo>
                      <a:pt x="78" y="60"/>
                    </a:lnTo>
                    <a:lnTo>
                      <a:pt x="72" y="64"/>
                    </a:lnTo>
                    <a:lnTo>
                      <a:pt x="67" y="67"/>
                    </a:lnTo>
                    <a:lnTo>
                      <a:pt x="60" y="70"/>
                    </a:lnTo>
                    <a:lnTo>
                      <a:pt x="53" y="7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4" name="Freeform 279"/>
              <p:cNvSpPr>
                <a:spLocks noEditPoints="1"/>
              </p:cNvSpPr>
              <p:nvPr/>
            </p:nvSpPr>
            <p:spPr bwMode="auto">
              <a:xfrm>
                <a:off x="3405188" y="5559425"/>
                <a:ext cx="34925" cy="28575"/>
              </a:xfrm>
              <a:custGeom>
                <a:avLst/>
                <a:gdLst>
                  <a:gd name="T0" fmla="*/ 34 w 88"/>
                  <a:gd name="T1" fmla="*/ 24 h 70"/>
                  <a:gd name="T2" fmla="*/ 29 w 88"/>
                  <a:gd name="T3" fmla="*/ 26 h 70"/>
                  <a:gd name="T4" fmla="*/ 27 w 88"/>
                  <a:gd name="T5" fmla="*/ 28 h 70"/>
                  <a:gd name="T6" fmla="*/ 24 w 88"/>
                  <a:gd name="T7" fmla="*/ 31 h 70"/>
                  <a:gd name="T8" fmla="*/ 23 w 88"/>
                  <a:gd name="T9" fmla="*/ 34 h 70"/>
                  <a:gd name="T10" fmla="*/ 24 w 88"/>
                  <a:gd name="T11" fmla="*/ 39 h 70"/>
                  <a:gd name="T12" fmla="*/ 27 w 88"/>
                  <a:gd name="T13" fmla="*/ 42 h 70"/>
                  <a:gd name="T14" fmla="*/ 29 w 88"/>
                  <a:gd name="T15" fmla="*/ 44 h 70"/>
                  <a:gd name="T16" fmla="*/ 34 w 88"/>
                  <a:gd name="T17" fmla="*/ 45 h 70"/>
                  <a:gd name="T18" fmla="*/ 54 w 88"/>
                  <a:gd name="T19" fmla="*/ 45 h 70"/>
                  <a:gd name="T20" fmla="*/ 57 w 88"/>
                  <a:gd name="T21" fmla="*/ 44 h 70"/>
                  <a:gd name="T22" fmla="*/ 61 w 88"/>
                  <a:gd name="T23" fmla="*/ 42 h 70"/>
                  <a:gd name="T24" fmla="*/ 63 w 88"/>
                  <a:gd name="T25" fmla="*/ 39 h 70"/>
                  <a:gd name="T26" fmla="*/ 63 w 88"/>
                  <a:gd name="T27" fmla="*/ 34 h 70"/>
                  <a:gd name="T28" fmla="*/ 63 w 88"/>
                  <a:gd name="T29" fmla="*/ 31 h 70"/>
                  <a:gd name="T30" fmla="*/ 61 w 88"/>
                  <a:gd name="T31" fmla="*/ 28 h 70"/>
                  <a:gd name="T32" fmla="*/ 57 w 88"/>
                  <a:gd name="T33" fmla="*/ 26 h 70"/>
                  <a:gd name="T34" fmla="*/ 54 w 88"/>
                  <a:gd name="T35" fmla="*/ 24 h 70"/>
                  <a:gd name="T36" fmla="*/ 34 w 88"/>
                  <a:gd name="T37" fmla="*/ 24 h 70"/>
                  <a:gd name="T38" fmla="*/ 54 w 88"/>
                  <a:gd name="T39" fmla="*/ 70 h 70"/>
                  <a:gd name="T40" fmla="*/ 34 w 88"/>
                  <a:gd name="T41" fmla="*/ 70 h 70"/>
                  <a:gd name="T42" fmla="*/ 27 w 88"/>
                  <a:gd name="T43" fmla="*/ 70 h 70"/>
                  <a:gd name="T44" fmla="*/ 21 w 88"/>
                  <a:gd name="T45" fmla="*/ 67 h 70"/>
                  <a:gd name="T46" fmla="*/ 14 w 88"/>
                  <a:gd name="T47" fmla="*/ 64 h 70"/>
                  <a:gd name="T48" fmla="*/ 10 w 88"/>
                  <a:gd name="T49" fmla="*/ 60 h 70"/>
                  <a:gd name="T50" fmla="*/ 5 w 88"/>
                  <a:gd name="T51" fmla="*/ 54 h 70"/>
                  <a:gd name="T52" fmla="*/ 2 w 88"/>
                  <a:gd name="T53" fmla="*/ 48 h 70"/>
                  <a:gd name="T54" fmla="*/ 0 w 88"/>
                  <a:gd name="T55" fmla="*/ 42 h 70"/>
                  <a:gd name="T56" fmla="*/ 0 w 88"/>
                  <a:gd name="T57" fmla="*/ 34 h 70"/>
                  <a:gd name="T58" fmla="*/ 0 w 88"/>
                  <a:gd name="T59" fmla="*/ 27 h 70"/>
                  <a:gd name="T60" fmla="*/ 2 w 88"/>
                  <a:gd name="T61" fmla="*/ 21 h 70"/>
                  <a:gd name="T62" fmla="*/ 5 w 88"/>
                  <a:gd name="T63" fmla="*/ 16 h 70"/>
                  <a:gd name="T64" fmla="*/ 10 w 88"/>
                  <a:gd name="T65" fmla="*/ 10 h 70"/>
                  <a:gd name="T66" fmla="*/ 14 w 88"/>
                  <a:gd name="T67" fmla="*/ 6 h 70"/>
                  <a:gd name="T68" fmla="*/ 21 w 88"/>
                  <a:gd name="T69" fmla="*/ 2 h 70"/>
                  <a:gd name="T70" fmla="*/ 27 w 88"/>
                  <a:gd name="T71" fmla="*/ 1 h 70"/>
                  <a:gd name="T72" fmla="*/ 34 w 88"/>
                  <a:gd name="T73" fmla="*/ 0 h 70"/>
                  <a:gd name="T74" fmla="*/ 54 w 88"/>
                  <a:gd name="T75" fmla="*/ 0 h 70"/>
                  <a:gd name="T76" fmla="*/ 60 w 88"/>
                  <a:gd name="T77" fmla="*/ 1 h 70"/>
                  <a:gd name="T78" fmla="*/ 67 w 88"/>
                  <a:gd name="T79" fmla="*/ 2 h 70"/>
                  <a:gd name="T80" fmla="*/ 72 w 88"/>
                  <a:gd name="T81" fmla="*/ 6 h 70"/>
                  <a:gd name="T82" fmla="*/ 78 w 88"/>
                  <a:gd name="T83" fmla="*/ 10 h 70"/>
                  <a:gd name="T84" fmla="*/ 82 w 88"/>
                  <a:gd name="T85" fmla="*/ 16 h 70"/>
                  <a:gd name="T86" fmla="*/ 86 w 88"/>
                  <a:gd name="T87" fmla="*/ 21 h 70"/>
                  <a:gd name="T88" fmla="*/ 87 w 88"/>
                  <a:gd name="T89" fmla="*/ 27 h 70"/>
                  <a:gd name="T90" fmla="*/ 88 w 88"/>
                  <a:gd name="T91" fmla="*/ 34 h 70"/>
                  <a:gd name="T92" fmla="*/ 87 w 88"/>
                  <a:gd name="T93" fmla="*/ 42 h 70"/>
                  <a:gd name="T94" fmla="*/ 86 w 88"/>
                  <a:gd name="T95" fmla="*/ 48 h 70"/>
                  <a:gd name="T96" fmla="*/ 82 w 88"/>
                  <a:gd name="T97" fmla="*/ 54 h 70"/>
                  <a:gd name="T98" fmla="*/ 78 w 88"/>
                  <a:gd name="T99" fmla="*/ 60 h 70"/>
                  <a:gd name="T100" fmla="*/ 72 w 88"/>
                  <a:gd name="T101" fmla="*/ 64 h 70"/>
                  <a:gd name="T102" fmla="*/ 67 w 88"/>
                  <a:gd name="T103" fmla="*/ 67 h 70"/>
                  <a:gd name="T104" fmla="*/ 60 w 88"/>
                  <a:gd name="T105" fmla="*/ 70 h 70"/>
                  <a:gd name="T106" fmla="*/ 54 w 88"/>
                  <a:gd name="T10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" h="70">
                    <a:moveTo>
                      <a:pt x="34" y="24"/>
                    </a:moveTo>
                    <a:lnTo>
                      <a:pt x="29" y="26"/>
                    </a:lnTo>
                    <a:lnTo>
                      <a:pt x="27" y="28"/>
                    </a:lnTo>
                    <a:lnTo>
                      <a:pt x="24" y="31"/>
                    </a:lnTo>
                    <a:lnTo>
                      <a:pt x="23" y="34"/>
                    </a:lnTo>
                    <a:lnTo>
                      <a:pt x="24" y="39"/>
                    </a:lnTo>
                    <a:lnTo>
                      <a:pt x="27" y="42"/>
                    </a:lnTo>
                    <a:lnTo>
                      <a:pt x="29" y="44"/>
                    </a:lnTo>
                    <a:lnTo>
                      <a:pt x="34" y="45"/>
                    </a:lnTo>
                    <a:lnTo>
                      <a:pt x="54" y="45"/>
                    </a:lnTo>
                    <a:lnTo>
                      <a:pt x="57" y="44"/>
                    </a:lnTo>
                    <a:lnTo>
                      <a:pt x="61" y="42"/>
                    </a:lnTo>
                    <a:lnTo>
                      <a:pt x="63" y="39"/>
                    </a:lnTo>
                    <a:lnTo>
                      <a:pt x="63" y="34"/>
                    </a:lnTo>
                    <a:lnTo>
                      <a:pt x="63" y="31"/>
                    </a:lnTo>
                    <a:lnTo>
                      <a:pt x="61" y="28"/>
                    </a:lnTo>
                    <a:lnTo>
                      <a:pt x="57" y="26"/>
                    </a:lnTo>
                    <a:lnTo>
                      <a:pt x="54" y="24"/>
                    </a:lnTo>
                    <a:lnTo>
                      <a:pt x="34" y="24"/>
                    </a:lnTo>
                    <a:close/>
                    <a:moveTo>
                      <a:pt x="54" y="70"/>
                    </a:moveTo>
                    <a:lnTo>
                      <a:pt x="34" y="70"/>
                    </a:lnTo>
                    <a:lnTo>
                      <a:pt x="27" y="70"/>
                    </a:lnTo>
                    <a:lnTo>
                      <a:pt x="21" y="67"/>
                    </a:lnTo>
                    <a:lnTo>
                      <a:pt x="14" y="64"/>
                    </a:lnTo>
                    <a:lnTo>
                      <a:pt x="10" y="60"/>
                    </a:lnTo>
                    <a:lnTo>
                      <a:pt x="5" y="54"/>
                    </a:lnTo>
                    <a:lnTo>
                      <a:pt x="2" y="48"/>
                    </a:lnTo>
                    <a:lnTo>
                      <a:pt x="0" y="42"/>
                    </a:lnTo>
                    <a:lnTo>
                      <a:pt x="0" y="34"/>
                    </a:lnTo>
                    <a:lnTo>
                      <a:pt x="0" y="27"/>
                    </a:lnTo>
                    <a:lnTo>
                      <a:pt x="2" y="21"/>
                    </a:lnTo>
                    <a:lnTo>
                      <a:pt x="5" y="16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1" y="2"/>
                    </a:lnTo>
                    <a:lnTo>
                      <a:pt x="27" y="1"/>
                    </a:lnTo>
                    <a:lnTo>
                      <a:pt x="34" y="0"/>
                    </a:lnTo>
                    <a:lnTo>
                      <a:pt x="54" y="0"/>
                    </a:lnTo>
                    <a:lnTo>
                      <a:pt x="60" y="1"/>
                    </a:lnTo>
                    <a:lnTo>
                      <a:pt x="67" y="2"/>
                    </a:lnTo>
                    <a:lnTo>
                      <a:pt x="72" y="6"/>
                    </a:lnTo>
                    <a:lnTo>
                      <a:pt x="78" y="10"/>
                    </a:lnTo>
                    <a:lnTo>
                      <a:pt x="82" y="16"/>
                    </a:lnTo>
                    <a:lnTo>
                      <a:pt x="86" y="21"/>
                    </a:lnTo>
                    <a:lnTo>
                      <a:pt x="87" y="27"/>
                    </a:lnTo>
                    <a:lnTo>
                      <a:pt x="88" y="34"/>
                    </a:lnTo>
                    <a:lnTo>
                      <a:pt x="87" y="42"/>
                    </a:lnTo>
                    <a:lnTo>
                      <a:pt x="86" y="48"/>
                    </a:lnTo>
                    <a:lnTo>
                      <a:pt x="82" y="54"/>
                    </a:lnTo>
                    <a:lnTo>
                      <a:pt x="78" y="60"/>
                    </a:lnTo>
                    <a:lnTo>
                      <a:pt x="72" y="64"/>
                    </a:lnTo>
                    <a:lnTo>
                      <a:pt x="67" y="67"/>
                    </a:lnTo>
                    <a:lnTo>
                      <a:pt x="60" y="70"/>
                    </a:lnTo>
                    <a:lnTo>
                      <a:pt x="54" y="7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5" name="Freeform 280"/>
              <p:cNvSpPr>
                <a:spLocks/>
              </p:cNvSpPr>
              <p:nvPr/>
            </p:nvSpPr>
            <p:spPr bwMode="auto">
              <a:xfrm>
                <a:off x="3390900" y="5568950"/>
                <a:ext cx="23813" cy="9525"/>
              </a:xfrm>
              <a:custGeom>
                <a:avLst/>
                <a:gdLst>
                  <a:gd name="T0" fmla="*/ 47 w 59"/>
                  <a:gd name="T1" fmla="*/ 25 h 25"/>
                  <a:gd name="T2" fmla="*/ 13 w 59"/>
                  <a:gd name="T3" fmla="*/ 25 h 25"/>
                  <a:gd name="T4" fmla="*/ 8 w 59"/>
                  <a:gd name="T5" fmla="*/ 23 h 25"/>
                  <a:gd name="T6" fmla="*/ 4 w 59"/>
                  <a:gd name="T7" fmla="*/ 20 h 25"/>
                  <a:gd name="T8" fmla="*/ 1 w 59"/>
                  <a:gd name="T9" fmla="*/ 16 h 25"/>
                  <a:gd name="T10" fmla="*/ 0 w 59"/>
                  <a:gd name="T11" fmla="*/ 11 h 25"/>
                  <a:gd name="T12" fmla="*/ 1 w 59"/>
                  <a:gd name="T13" fmla="*/ 6 h 25"/>
                  <a:gd name="T14" fmla="*/ 4 w 59"/>
                  <a:gd name="T15" fmla="*/ 3 h 25"/>
                  <a:gd name="T16" fmla="*/ 8 w 59"/>
                  <a:gd name="T17" fmla="*/ 0 h 25"/>
                  <a:gd name="T18" fmla="*/ 13 w 59"/>
                  <a:gd name="T19" fmla="*/ 0 h 25"/>
                  <a:gd name="T20" fmla="*/ 47 w 59"/>
                  <a:gd name="T21" fmla="*/ 0 h 25"/>
                  <a:gd name="T22" fmla="*/ 52 w 59"/>
                  <a:gd name="T23" fmla="*/ 0 h 25"/>
                  <a:gd name="T24" fmla="*/ 55 w 59"/>
                  <a:gd name="T25" fmla="*/ 3 h 25"/>
                  <a:gd name="T26" fmla="*/ 58 w 59"/>
                  <a:gd name="T27" fmla="*/ 6 h 25"/>
                  <a:gd name="T28" fmla="*/ 59 w 59"/>
                  <a:gd name="T29" fmla="*/ 11 h 25"/>
                  <a:gd name="T30" fmla="*/ 58 w 59"/>
                  <a:gd name="T31" fmla="*/ 16 h 25"/>
                  <a:gd name="T32" fmla="*/ 55 w 59"/>
                  <a:gd name="T33" fmla="*/ 20 h 25"/>
                  <a:gd name="T34" fmla="*/ 52 w 59"/>
                  <a:gd name="T35" fmla="*/ 23 h 25"/>
                  <a:gd name="T36" fmla="*/ 47 w 59"/>
                  <a:gd name="T3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" h="25">
                    <a:moveTo>
                      <a:pt x="47" y="25"/>
                    </a:moveTo>
                    <a:lnTo>
                      <a:pt x="13" y="25"/>
                    </a:lnTo>
                    <a:lnTo>
                      <a:pt x="8" y="23"/>
                    </a:lnTo>
                    <a:lnTo>
                      <a:pt x="4" y="20"/>
                    </a:lnTo>
                    <a:lnTo>
                      <a:pt x="1" y="16"/>
                    </a:lnTo>
                    <a:lnTo>
                      <a:pt x="0" y="11"/>
                    </a:lnTo>
                    <a:lnTo>
                      <a:pt x="1" y="6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5" y="3"/>
                    </a:lnTo>
                    <a:lnTo>
                      <a:pt x="58" y="6"/>
                    </a:lnTo>
                    <a:lnTo>
                      <a:pt x="59" y="11"/>
                    </a:lnTo>
                    <a:lnTo>
                      <a:pt x="58" y="16"/>
                    </a:lnTo>
                    <a:lnTo>
                      <a:pt x="55" y="20"/>
                    </a:lnTo>
                    <a:lnTo>
                      <a:pt x="52" y="23"/>
                    </a:lnTo>
                    <a:lnTo>
                      <a:pt x="47" y="25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6" name="Freeform 281"/>
              <p:cNvSpPr>
                <a:spLocks/>
              </p:cNvSpPr>
              <p:nvPr/>
            </p:nvSpPr>
            <p:spPr bwMode="auto">
              <a:xfrm>
                <a:off x="3332163" y="5822950"/>
                <a:ext cx="142875" cy="314325"/>
              </a:xfrm>
              <a:custGeom>
                <a:avLst/>
                <a:gdLst>
                  <a:gd name="T0" fmla="*/ 0 w 359"/>
                  <a:gd name="T1" fmla="*/ 0 h 795"/>
                  <a:gd name="T2" fmla="*/ 5 w 359"/>
                  <a:gd name="T3" fmla="*/ 795 h 795"/>
                  <a:gd name="T4" fmla="*/ 154 w 359"/>
                  <a:gd name="T5" fmla="*/ 795 h 795"/>
                  <a:gd name="T6" fmla="*/ 149 w 359"/>
                  <a:gd name="T7" fmla="*/ 203 h 795"/>
                  <a:gd name="T8" fmla="*/ 212 w 359"/>
                  <a:gd name="T9" fmla="*/ 203 h 795"/>
                  <a:gd name="T10" fmla="*/ 206 w 359"/>
                  <a:gd name="T11" fmla="*/ 795 h 795"/>
                  <a:gd name="T12" fmla="*/ 355 w 359"/>
                  <a:gd name="T13" fmla="*/ 795 h 795"/>
                  <a:gd name="T14" fmla="*/ 359 w 359"/>
                  <a:gd name="T15" fmla="*/ 3 h 795"/>
                  <a:gd name="T16" fmla="*/ 0 w 359"/>
                  <a:gd name="T17" fmla="*/ 0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795">
                    <a:moveTo>
                      <a:pt x="0" y="0"/>
                    </a:moveTo>
                    <a:lnTo>
                      <a:pt x="5" y="795"/>
                    </a:lnTo>
                    <a:lnTo>
                      <a:pt x="154" y="795"/>
                    </a:lnTo>
                    <a:lnTo>
                      <a:pt x="149" y="203"/>
                    </a:lnTo>
                    <a:lnTo>
                      <a:pt x="212" y="203"/>
                    </a:lnTo>
                    <a:lnTo>
                      <a:pt x="206" y="795"/>
                    </a:lnTo>
                    <a:lnTo>
                      <a:pt x="355" y="795"/>
                    </a:lnTo>
                    <a:lnTo>
                      <a:pt x="359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FB4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7" name="Freeform 282"/>
              <p:cNvSpPr>
                <a:spLocks noEditPoints="1"/>
              </p:cNvSpPr>
              <p:nvPr/>
            </p:nvSpPr>
            <p:spPr bwMode="auto">
              <a:xfrm>
                <a:off x="3327400" y="5818188"/>
                <a:ext cx="152400" cy="323850"/>
              </a:xfrm>
              <a:custGeom>
                <a:avLst/>
                <a:gdLst>
                  <a:gd name="T0" fmla="*/ 231 w 384"/>
                  <a:gd name="T1" fmla="*/ 795 h 817"/>
                  <a:gd name="T2" fmla="*/ 355 w 384"/>
                  <a:gd name="T3" fmla="*/ 795 h 817"/>
                  <a:gd name="T4" fmla="*/ 360 w 384"/>
                  <a:gd name="T5" fmla="*/ 25 h 817"/>
                  <a:gd name="T6" fmla="*/ 25 w 384"/>
                  <a:gd name="T7" fmla="*/ 23 h 817"/>
                  <a:gd name="T8" fmla="*/ 30 w 384"/>
                  <a:gd name="T9" fmla="*/ 795 h 817"/>
                  <a:gd name="T10" fmla="*/ 153 w 384"/>
                  <a:gd name="T11" fmla="*/ 795 h 817"/>
                  <a:gd name="T12" fmla="*/ 148 w 384"/>
                  <a:gd name="T13" fmla="*/ 214 h 817"/>
                  <a:gd name="T14" fmla="*/ 150 w 384"/>
                  <a:gd name="T15" fmla="*/ 211 h 817"/>
                  <a:gd name="T16" fmla="*/ 152 w 384"/>
                  <a:gd name="T17" fmla="*/ 207 h 817"/>
                  <a:gd name="T18" fmla="*/ 156 w 384"/>
                  <a:gd name="T19" fmla="*/ 205 h 817"/>
                  <a:gd name="T20" fmla="*/ 161 w 384"/>
                  <a:gd name="T21" fmla="*/ 203 h 817"/>
                  <a:gd name="T22" fmla="*/ 161 w 384"/>
                  <a:gd name="T23" fmla="*/ 203 h 817"/>
                  <a:gd name="T24" fmla="*/ 224 w 384"/>
                  <a:gd name="T25" fmla="*/ 203 h 817"/>
                  <a:gd name="T26" fmla="*/ 229 w 384"/>
                  <a:gd name="T27" fmla="*/ 205 h 817"/>
                  <a:gd name="T28" fmla="*/ 233 w 384"/>
                  <a:gd name="T29" fmla="*/ 207 h 817"/>
                  <a:gd name="T30" fmla="*/ 234 w 384"/>
                  <a:gd name="T31" fmla="*/ 209 h 817"/>
                  <a:gd name="T32" fmla="*/ 235 w 384"/>
                  <a:gd name="T33" fmla="*/ 211 h 817"/>
                  <a:gd name="T34" fmla="*/ 235 w 384"/>
                  <a:gd name="T35" fmla="*/ 213 h 817"/>
                  <a:gd name="T36" fmla="*/ 235 w 384"/>
                  <a:gd name="T37" fmla="*/ 217 h 817"/>
                  <a:gd name="T38" fmla="*/ 231 w 384"/>
                  <a:gd name="T39" fmla="*/ 795 h 817"/>
                  <a:gd name="T40" fmla="*/ 367 w 384"/>
                  <a:gd name="T41" fmla="*/ 817 h 817"/>
                  <a:gd name="T42" fmla="*/ 218 w 384"/>
                  <a:gd name="T43" fmla="*/ 817 h 817"/>
                  <a:gd name="T44" fmla="*/ 213 w 384"/>
                  <a:gd name="T45" fmla="*/ 817 h 817"/>
                  <a:gd name="T46" fmla="*/ 210 w 384"/>
                  <a:gd name="T47" fmla="*/ 814 h 817"/>
                  <a:gd name="T48" fmla="*/ 207 w 384"/>
                  <a:gd name="T49" fmla="*/ 811 h 817"/>
                  <a:gd name="T50" fmla="*/ 206 w 384"/>
                  <a:gd name="T51" fmla="*/ 806 h 817"/>
                  <a:gd name="T52" fmla="*/ 212 w 384"/>
                  <a:gd name="T53" fmla="*/ 228 h 817"/>
                  <a:gd name="T54" fmla="*/ 173 w 384"/>
                  <a:gd name="T55" fmla="*/ 228 h 817"/>
                  <a:gd name="T56" fmla="*/ 178 w 384"/>
                  <a:gd name="T57" fmla="*/ 806 h 817"/>
                  <a:gd name="T58" fmla="*/ 177 w 384"/>
                  <a:gd name="T59" fmla="*/ 811 h 817"/>
                  <a:gd name="T60" fmla="*/ 174 w 384"/>
                  <a:gd name="T61" fmla="*/ 814 h 817"/>
                  <a:gd name="T62" fmla="*/ 171 w 384"/>
                  <a:gd name="T63" fmla="*/ 817 h 817"/>
                  <a:gd name="T64" fmla="*/ 166 w 384"/>
                  <a:gd name="T65" fmla="*/ 817 h 817"/>
                  <a:gd name="T66" fmla="*/ 17 w 384"/>
                  <a:gd name="T67" fmla="*/ 817 h 817"/>
                  <a:gd name="T68" fmla="*/ 12 w 384"/>
                  <a:gd name="T69" fmla="*/ 817 h 817"/>
                  <a:gd name="T70" fmla="*/ 9 w 384"/>
                  <a:gd name="T71" fmla="*/ 814 h 817"/>
                  <a:gd name="T72" fmla="*/ 6 w 384"/>
                  <a:gd name="T73" fmla="*/ 811 h 817"/>
                  <a:gd name="T74" fmla="*/ 5 w 384"/>
                  <a:gd name="T75" fmla="*/ 806 h 817"/>
                  <a:gd name="T76" fmla="*/ 0 w 384"/>
                  <a:gd name="T77" fmla="*/ 11 h 817"/>
                  <a:gd name="T78" fmla="*/ 1 w 384"/>
                  <a:gd name="T79" fmla="*/ 7 h 817"/>
                  <a:gd name="T80" fmla="*/ 4 w 384"/>
                  <a:gd name="T81" fmla="*/ 3 h 817"/>
                  <a:gd name="T82" fmla="*/ 8 w 384"/>
                  <a:gd name="T83" fmla="*/ 0 h 817"/>
                  <a:gd name="T84" fmla="*/ 12 w 384"/>
                  <a:gd name="T85" fmla="*/ 0 h 817"/>
                  <a:gd name="T86" fmla="*/ 12 w 384"/>
                  <a:gd name="T87" fmla="*/ 0 h 817"/>
                  <a:gd name="T88" fmla="*/ 373 w 384"/>
                  <a:gd name="T89" fmla="*/ 0 h 817"/>
                  <a:gd name="T90" fmla="*/ 376 w 384"/>
                  <a:gd name="T91" fmla="*/ 1 h 817"/>
                  <a:gd name="T92" fmla="*/ 380 w 384"/>
                  <a:gd name="T93" fmla="*/ 5 h 817"/>
                  <a:gd name="T94" fmla="*/ 384 w 384"/>
                  <a:gd name="T95" fmla="*/ 9 h 817"/>
                  <a:gd name="T96" fmla="*/ 384 w 384"/>
                  <a:gd name="T97" fmla="*/ 14 h 817"/>
                  <a:gd name="T98" fmla="*/ 379 w 384"/>
                  <a:gd name="T99" fmla="*/ 806 h 817"/>
                  <a:gd name="T100" fmla="*/ 378 w 384"/>
                  <a:gd name="T101" fmla="*/ 811 h 817"/>
                  <a:gd name="T102" fmla="*/ 375 w 384"/>
                  <a:gd name="T103" fmla="*/ 814 h 817"/>
                  <a:gd name="T104" fmla="*/ 371 w 384"/>
                  <a:gd name="T105" fmla="*/ 817 h 817"/>
                  <a:gd name="T106" fmla="*/ 367 w 384"/>
                  <a:gd name="T107" fmla="*/ 817 h 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84" h="817">
                    <a:moveTo>
                      <a:pt x="231" y="795"/>
                    </a:moveTo>
                    <a:lnTo>
                      <a:pt x="355" y="795"/>
                    </a:lnTo>
                    <a:lnTo>
                      <a:pt x="360" y="25"/>
                    </a:lnTo>
                    <a:lnTo>
                      <a:pt x="25" y="23"/>
                    </a:lnTo>
                    <a:lnTo>
                      <a:pt x="30" y="795"/>
                    </a:lnTo>
                    <a:lnTo>
                      <a:pt x="153" y="795"/>
                    </a:lnTo>
                    <a:lnTo>
                      <a:pt x="148" y="214"/>
                    </a:lnTo>
                    <a:lnTo>
                      <a:pt x="150" y="211"/>
                    </a:lnTo>
                    <a:lnTo>
                      <a:pt x="152" y="207"/>
                    </a:lnTo>
                    <a:lnTo>
                      <a:pt x="156" y="205"/>
                    </a:lnTo>
                    <a:lnTo>
                      <a:pt x="161" y="203"/>
                    </a:lnTo>
                    <a:lnTo>
                      <a:pt x="161" y="203"/>
                    </a:lnTo>
                    <a:lnTo>
                      <a:pt x="224" y="203"/>
                    </a:lnTo>
                    <a:lnTo>
                      <a:pt x="229" y="205"/>
                    </a:lnTo>
                    <a:lnTo>
                      <a:pt x="233" y="207"/>
                    </a:lnTo>
                    <a:lnTo>
                      <a:pt x="234" y="209"/>
                    </a:lnTo>
                    <a:lnTo>
                      <a:pt x="235" y="211"/>
                    </a:lnTo>
                    <a:lnTo>
                      <a:pt x="235" y="213"/>
                    </a:lnTo>
                    <a:lnTo>
                      <a:pt x="235" y="217"/>
                    </a:lnTo>
                    <a:lnTo>
                      <a:pt x="231" y="795"/>
                    </a:lnTo>
                    <a:close/>
                    <a:moveTo>
                      <a:pt x="367" y="817"/>
                    </a:moveTo>
                    <a:lnTo>
                      <a:pt x="218" y="817"/>
                    </a:lnTo>
                    <a:lnTo>
                      <a:pt x="213" y="817"/>
                    </a:lnTo>
                    <a:lnTo>
                      <a:pt x="210" y="814"/>
                    </a:lnTo>
                    <a:lnTo>
                      <a:pt x="207" y="811"/>
                    </a:lnTo>
                    <a:lnTo>
                      <a:pt x="206" y="806"/>
                    </a:lnTo>
                    <a:lnTo>
                      <a:pt x="212" y="228"/>
                    </a:lnTo>
                    <a:lnTo>
                      <a:pt x="173" y="228"/>
                    </a:lnTo>
                    <a:lnTo>
                      <a:pt x="178" y="806"/>
                    </a:lnTo>
                    <a:lnTo>
                      <a:pt x="177" y="811"/>
                    </a:lnTo>
                    <a:lnTo>
                      <a:pt x="174" y="814"/>
                    </a:lnTo>
                    <a:lnTo>
                      <a:pt x="171" y="817"/>
                    </a:lnTo>
                    <a:lnTo>
                      <a:pt x="166" y="817"/>
                    </a:lnTo>
                    <a:lnTo>
                      <a:pt x="17" y="817"/>
                    </a:lnTo>
                    <a:lnTo>
                      <a:pt x="12" y="817"/>
                    </a:lnTo>
                    <a:lnTo>
                      <a:pt x="9" y="814"/>
                    </a:lnTo>
                    <a:lnTo>
                      <a:pt x="6" y="811"/>
                    </a:lnTo>
                    <a:lnTo>
                      <a:pt x="5" y="806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373" y="0"/>
                    </a:lnTo>
                    <a:lnTo>
                      <a:pt x="376" y="1"/>
                    </a:lnTo>
                    <a:lnTo>
                      <a:pt x="380" y="5"/>
                    </a:lnTo>
                    <a:lnTo>
                      <a:pt x="384" y="9"/>
                    </a:lnTo>
                    <a:lnTo>
                      <a:pt x="384" y="14"/>
                    </a:lnTo>
                    <a:lnTo>
                      <a:pt x="379" y="806"/>
                    </a:lnTo>
                    <a:lnTo>
                      <a:pt x="378" y="811"/>
                    </a:lnTo>
                    <a:lnTo>
                      <a:pt x="375" y="814"/>
                    </a:lnTo>
                    <a:lnTo>
                      <a:pt x="371" y="817"/>
                    </a:lnTo>
                    <a:lnTo>
                      <a:pt x="367" y="817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8" name="Freeform 283"/>
              <p:cNvSpPr>
                <a:spLocks/>
              </p:cNvSpPr>
              <p:nvPr/>
            </p:nvSpPr>
            <p:spPr bwMode="auto">
              <a:xfrm>
                <a:off x="3363913" y="5756275"/>
                <a:ext cx="80963" cy="52388"/>
              </a:xfrm>
              <a:custGeom>
                <a:avLst/>
                <a:gdLst>
                  <a:gd name="T0" fmla="*/ 190 w 202"/>
                  <a:gd name="T1" fmla="*/ 133 h 133"/>
                  <a:gd name="T2" fmla="*/ 12 w 202"/>
                  <a:gd name="T3" fmla="*/ 133 h 133"/>
                  <a:gd name="T4" fmla="*/ 7 w 202"/>
                  <a:gd name="T5" fmla="*/ 131 h 133"/>
                  <a:gd name="T6" fmla="*/ 4 w 202"/>
                  <a:gd name="T7" fmla="*/ 129 h 133"/>
                  <a:gd name="T8" fmla="*/ 1 w 202"/>
                  <a:gd name="T9" fmla="*/ 126 h 133"/>
                  <a:gd name="T10" fmla="*/ 0 w 202"/>
                  <a:gd name="T11" fmla="*/ 122 h 133"/>
                  <a:gd name="T12" fmla="*/ 0 w 202"/>
                  <a:gd name="T13" fmla="*/ 14 h 133"/>
                  <a:gd name="T14" fmla="*/ 1 w 202"/>
                  <a:gd name="T15" fmla="*/ 10 h 133"/>
                  <a:gd name="T16" fmla="*/ 4 w 202"/>
                  <a:gd name="T17" fmla="*/ 6 h 133"/>
                  <a:gd name="T18" fmla="*/ 7 w 202"/>
                  <a:gd name="T19" fmla="*/ 3 h 133"/>
                  <a:gd name="T20" fmla="*/ 12 w 202"/>
                  <a:gd name="T21" fmla="*/ 2 h 133"/>
                  <a:gd name="T22" fmla="*/ 17 w 202"/>
                  <a:gd name="T23" fmla="*/ 3 h 133"/>
                  <a:gd name="T24" fmla="*/ 21 w 202"/>
                  <a:gd name="T25" fmla="*/ 6 h 133"/>
                  <a:gd name="T26" fmla="*/ 23 w 202"/>
                  <a:gd name="T27" fmla="*/ 10 h 133"/>
                  <a:gd name="T28" fmla="*/ 24 w 202"/>
                  <a:gd name="T29" fmla="*/ 14 h 133"/>
                  <a:gd name="T30" fmla="*/ 24 w 202"/>
                  <a:gd name="T31" fmla="*/ 111 h 133"/>
                  <a:gd name="T32" fmla="*/ 179 w 202"/>
                  <a:gd name="T33" fmla="*/ 111 h 133"/>
                  <a:gd name="T34" fmla="*/ 179 w 202"/>
                  <a:gd name="T35" fmla="*/ 14 h 133"/>
                  <a:gd name="T36" fmla="*/ 179 w 202"/>
                  <a:gd name="T37" fmla="*/ 9 h 133"/>
                  <a:gd name="T38" fmla="*/ 181 w 202"/>
                  <a:gd name="T39" fmla="*/ 4 h 133"/>
                  <a:gd name="T40" fmla="*/ 186 w 202"/>
                  <a:gd name="T41" fmla="*/ 2 h 133"/>
                  <a:gd name="T42" fmla="*/ 190 w 202"/>
                  <a:gd name="T43" fmla="*/ 0 h 133"/>
                  <a:gd name="T44" fmla="*/ 195 w 202"/>
                  <a:gd name="T45" fmla="*/ 2 h 133"/>
                  <a:gd name="T46" fmla="*/ 198 w 202"/>
                  <a:gd name="T47" fmla="*/ 4 h 133"/>
                  <a:gd name="T48" fmla="*/ 201 w 202"/>
                  <a:gd name="T49" fmla="*/ 9 h 133"/>
                  <a:gd name="T50" fmla="*/ 202 w 202"/>
                  <a:gd name="T51" fmla="*/ 14 h 133"/>
                  <a:gd name="T52" fmla="*/ 202 w 202"/>
                  <a:gd name="T53" fmla="*/ 122 h 133"/>
                  <a:gd name="T54" fmla="*/ 201 w 202"/>
                  <a:gd name="T55" fmla="*/ 126 h 133"/>
                  <a:gd name="T56" fmla="*/ 198 w 202"/>
                  <a:gd name="T57" fmla="*/ 129 h 133"/>
                  <a:gd name="T58" fmla="*/ 195 w 202"/>
                  <a:gd name="T59" fmla="*/ 131 h 133"/>
                  <a:gd name="T60" fmla="*/ 190 w 202"/>
                  <a:gd name="T6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02" h="133">
                    <a:moveTo>
                      <a:pt x="190" y="133"/>
                    </a:moveTo>
                    <a:lnTo>
                      <a:pt x="12" y="133"/>
                    </a:lnTo>
                    <a:lnTo>
                      <a:pt x="7" y="131"/>
                    </a:lnTo>
                    <a:lnTo>
                      <a:pt x="4" y="129"/>
                    </a:lnTo>
                    <a:lnTo>
                      <a:pt x="1" y="126"/>
                    </a:lnTo>
                    <a:lnTo>
                      <a:pt x="0" y="122"/>
                    </a:lnTo>
                    <a:lnTo>
                      <a:pt x="0" y="14"/>
                    </a:lnTo>
                    <a:lnTo>
                      <a:pt x="1" y="10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12" y="2"/>
                    </a:lnTo>
                    <a:lnTo>
                      <a:pt x="17" y="3"/>
                    </a:lnTo>
                    <a:lnTo>
                      <a:pt x="21" y="6"/>
                    </a:lnTo>
                    <a:lnTo>
                      <a:pt x="23" y="10"/>
                    </a:lnTo>
                    <a:lnTo>
                      <a:pt x="24" y="14"/>
                    </a:lnTo>
                    <a:lnTo>
                      <a:pt x="24" y="111"/>
                    </a:lnTo>
                    <a:lnTo>
                      <a:pt x="179" y="111"/>
                    </a:lnTo>
                    <a:lnTo>
                      <a:pt x="179" y="14"/>
                    </a:lnTo>
                    <a:lnTo>
                      <a:pt x="179" y="9"/>
                    </a:lnTo>
                    <a:lnTo>
                      <a:pt x="181" y="4"/>
                    </a:lnTo>
                    <a:lnTo>
                      <a:pt x="186" y="2"/>
                    </a:lnTo>
                    <a:lnTo>
                      <a:pt x="190" y="0"/>
                    </a:lnTo>
                    <a:lnTo>
                      <a:pt x="195" y="2"/>
                    </a:lnTo>
                    <a:lnTo>
                      <a:pt x="198" y="4"/>
                    </a:lnTo>
                    <a:lnTo>
                      <a:pt x="201" y="9"/>
                    </a:lnTo>
                    <a:lnTo>
                      <a:pt x="202" y="14"/>
                    </a:lnTo>
                    <a:lnTo>
                      <a:pt x="202" y="122"/>
                    </a:lnTo>
                    <a:lnTo>
                      <a:pt x="201" y="126"/>
                    </a:lnTo>
                    <a:lnTo>
                      <a:pt x="198" y="129"/>
                    </a:lnTo>
                    <a:lnTo>
                      <a:pt x="195" y="131"/>
                    </a:lnTo>
                    <a:lnTo>
                      <a:pt x="190" y="133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19" name="Freeform 284"/>
              <p:cNvSpPr>
                <a:spLocks/>
              </p:cNvSpPr>
              <p:nvPr/>
            </p:nvSpPr>
            <p:spPr bwMode="auto">
              <a:xfrm>
                <a:off x="3363913" y="5689600"/>
                <a:ext cx="80963" cy="46038"/>
              </a:xfrm>
              <a:custGeom>
                <a:avLst/>
                <a:gdLst>
                  <a:gd name="T0" fmla="*/ 12 w 202"/>
                  <a:gd name="T1" fmla="*/ 116 h 116"/>
                  <a:gd name="T2" fmla="*/ 7 w 202"/>
                  <a:gd name="T3" fmla="*/ 115 h 116"/>
                  <a:gd name="T4" fmla="*/ 4 w 202"/>
                  <a:gd name="T5" fmla="*/ 112 h 116"/>
                  <a:gd name="T6" fmla="*/ 1 w 202"/>
                  <a:gd name="T7" fmla="*/ 108 h 116"/>
                  <a:gd name="T8" fmla="*/ 0 w 202"/>
                  <a:gd name="T9" fmla="*/ 103 h 116"/>
                  <a:gd name="T10" fmla="*/ 0 w 202"/>
                  <a:gd name="T11" fmla="*/ 13 h 116"/>
                  <a:gd name="T12" fmla="*/ 1 w 202"/>
                  <a:gd name="T13" fmla="*/ 8 h 116"/>
                  <a:gd name="T14" fmla="*/ 4 w 202"/>
                  <a:gd name="T15" fmla="*/ 4 h 116"/>
                  <a:gd name="T16" fmla="*/ 7 w 202"/>
                  <a:gd name="T17" fmla="*/ 1 h 116"/>
                  <a:gd name="T18" fmla="*/ 12 w 202"/>
                  <a:gd name="T19" fmla="*/ 0 h 116"/>
                  <a:gd name="T20" fmla="*/ 190 w 202"/>
                  <a:gd name="T21" fmla="*/ 0 h 116"/>
                  <a:gd name="T22" fmla="*/ 195 w 202"/>
                  <a:gd name="T23" fmla="*/ 1 h 116"/>
                  <a:gd name="T24" fmla="*/ 198 w 202"/>
                  <a:gd name="T25" fmla="*/ 4 h 116"/>
                  <a:gd name="T26" fmla="*/ 201 w 202"/>
                  <a:gd name="T27" fmla="*/ 8 h 116"/>
                  <a:gd name="T28" fmla="*/ 202 w 202"/>
                  <a:gd name="T29" fmla="*/ 13 h 116"/>
                  <a:gd name="T30" fmla="*/ 202 w 202"/>
                  <a:gd name="T31" fmla="*/ 103 h 116"/>
                  <a:gd name="T32" fmla="*/ 201 w 202"/>
                  <a:gd name="T33" fmla="*/ 106 h 116"/>
                  <a:gd name="T34" fmla="*/ 198 w 202"/>
                  <a:gd name="T35" fmla="*/ 110 h 116"/>
                  <a:gd name="T36" fmla="*/ 195 w 202"/>
                  <a:gd name="T37" fmla="*/ 112 h 116"/>
                  <a:gd name="T38" fmla="*/ 190 w 202"/>
                  <a:gd name="T39" fmla="*/ 114 h 116"/>
                  <a:gd name="T40" fmla="*/ 186 w 202"/>
                  <a:gd name="T41" fmla="*/ 112 h 116"/>
                  <a:gd name="T42" fmla="*/ 181 w 202"/>
                  <a:gd name="T43" fmla="*/ 110 h 116"/>
                  <a:gd name="T44" fmla="*/ 179 w 202"/>
                  <a:gd name="T45" fmla="*/ 106 h 116"/>
                  <a:gd name="T46" fmla="*/ 179 w 202"/>
                  <a:gd name="T47" fmla="*/ 103 h 116"/>
                  <a:gd name="T48" fmla="*/ 179 w 202"/>
                  <a:gd name="T49" fmla="*/ 24 h 116"/>
                  <a:gd name="T50" fmla="*/ 24 w 202"/>
                  <a:gd name="T51" fmla="*/ 24 h 116"/>
                  <a:gd name="T52" fmla="*/ 24 w 202"/>
                  <a:gd name="T53" fmla="*/ 103 h 116"/>
                  <a:gd name="T54" fmla="*/ 23 w 202"/>
                  <a:gd name="T55" fmla="*/ 108 h 116"/>
                  <a:gd name="T56" fmla="*/ 21 w 202"/>
                  <a:gd name="T57" fmla="*/ 112 h 116"/>
                  <a:gd name="T58" fmla="*/ 17 w 202"/>
                  <a:gd name="T59" fmla="*/ 115 h 116"/>
                  <a:gd name="T60" fmla="*/ 12 w 202"/>
                  <a:gd name="T61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02" h="116">
                    <a:moveTo>
                      <a:pt x="12" y="116"/>
                    </a:moveTo>
                    <a:lnTo>
                      <a:pt x="7" y="115"/>
                    </a:lnTo>
                    <a:lnTo>
                      <a:pt x="4" y="112"/>
                    </a:lnTo>
                    <a:lnTo>
                      <a:pt x="1" y="108"/>
                    </a:lnTo>
                    <a:lnTo>
                      <a:pt x="0" y="103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2" y="0"/>
                    </a:lnTo>
                    <a:lnTo>
                      <a:pt x="190" y="0"/>
                    </a:lnTo>
                    <a:lnTo>
                      <a:pt x="195" y="1"/>
                    </a:lnTo>
                    <a:lnTo>
                      <a:pt x="198" y="4"/>
                    </a:lnTo>
                    <a:lnTo>
                      <a:pt x="201" y="8"/>
                    </a:lnTo>
                    <a:lnTo>
                      <a:pt x="202" y="13"/>
                    </a:lnTo>
                    <a:lnTo>
                      <a:pt x="202" y="103"/>
                    </a:lnTo>
                    <a:lnTo>
                      <a:pt x="201" y="106"/>
                    </a:lnTo>
                    <a:lnTo>
                      <a:pt x="198" y="110"/>
                    </a:lnTo>
                    <a:lnTo>
                      <a:pt x="195" y="112"/>
                    </a:lnTo>
                    <a:lnTo>
                      <a:pt x="190" y="114"/>
                    </a:lnTo>
                    <a:lnTo>
                      <a:pt x="186" y="112"/>
                    </a:lnTo>
                    <a:lnTo>
                      <a:pt x="181" y="110"/>
                    </a:lnTo>
                    <a:lnTo>
                      <a:pt x="179" y="106"/>
                    </a:lnTo>
                    <a:lnTo>
                      <a:pt x="179" y="103"/>
                    </a:lnTo>
                    <a:lnTo>
                      <a:pt x="179" y="24"/>
                    </a:lnTo>
                    <a:lnTo>
                      <a:pt x="24" y="24"/>
                    </a:lnTo>
                    <a:lnTo>
                      <a:pt x="24" y="103"/>
                    </a:lnTo>
                    <a:lnTo>
                      <a:pt x="23" y="108"/>
                    </a:lnTo>
                    <a:lnTo>
                      <a:pt x="21" y="112"/>
                    </a:lnTo>
                    <a:lnTo>
                      <a:pt x="17" y="115"/>
                    </a:lnTo>
                    <a:lnTo>
                      <a:pt x="12" y="116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0" name="Freeform 285"/>
              <p:cNvSpPr>
                <a:spLocks/>
              </p:cNvSpPr>
              <p:nvPr/>
            </p:nvSpPr>
            <p:spPr bwMode="auto">
              <a:xfrm>
                <a:off x="3354388" y="5729288"/>
                <a:ext cx="36513" cy="31750"/>
              </a:xfrm>
              <a:custGeom>
                <a:avLst/>
                <a:gdLst>
                  <a:gd name="T0" fmla="*/ 22 w 95"/>
                  <a:gd name="T1" fmla="*/ 82 h 82"/>
                  <a:gd name="T2" fmla="*/ 31 w 95"/>
                  <a:gd name="T3" fmla="*/ 81 h 82"/>
                  <a:gd name="T4" fmla="*/ 52 w 95"/>
                  <a:gd name="T5" fmla="*/ 79 h 82"/>
                  <a:gd name="T6" fmla="*/ 64 w 95"/>
                  <a:gd name="T7" fmla="*/ 77 h 82"/>
                  <a:gd name="T8" fmla="*/ 75 w 95"/>
                  <a:gd name="T9" fmla="*/ 73 h 82"/>
                  <a:gd name="T10" fmla="*/ 81 w 95"/>
                  <a:gd name="T11" fmla="*/ 72 h 82"/>
                  <a:gd name="T12" fmla="*/ 85 w 95"/>
                  <a:gd name="T13" fmla="*/ 70 h 82"/>
                  <a:gd name="T14" fmla="*/ 89 w 95"/>
                  <a:gd name="T15" fmla="*/ 67 h 82"/>
                  <a:gd name="T16" fmla="*/ 91 w 95"/>
                  <a:gd name="T17" fmla="*/ 63 h 82"/>
                  <a:gd name="T18" fmla="*/ 93 w 95"/>
                  <a:gd name="T19" fmla="*/ 59 h 82"/>
                  <a:gd name="T20" fmla="*/ 95 w 95"/>
                  <a:gd name="T21" fmla="*/ 54 h 82"/>
                  <a:gd name="T22" fmla="*/ 95 w 95"/>
                  <a:gd name="T23" fmla="*/ 49 h 82"/>
                  <a:gd name="T24" fmla="*/ 95 w 95"/>
                  <a:gd name="T25" fmla="*/ 43 h 82"/>
                  <a:gd name="T26" fmla="*/ 90 w 95"/>
                  <a:gd name="T27" fmla="*/ 33 h 82"/>
                  <a:gd name="T28" fmla="*/ 84 w 95"/>
                  <a:gd name="T29" fmla="*/ 23 h 82"/>
                  <a:gd name="T30" fmla="*/ 76 w 95"/>
                  <a:gd name="T31" fmla="*/ 13 h 82"/>
                  <a:gd name="T32" fmla="*/ 68 w 95"/>
                  <a:gd name="T33" fmla="*/ 7 h 82"/>
                  <a:gd name="T34" fmla="*/ 64 w 95"/>
                  <a:gd name="T35" fmla="*/ 3 h 82"/>
                  <a:gd name="T36" fmla="*/ 59 w 95"/>
                  <a:gd name="T37" fmla="*/ 2 h 82"/>
                  <a:gd name="T38" fmla="*/ 56 w 95"/>
                  <a:gd name="T39" fmla="*/ 1 h 82"/>
                  <a:gd name="T40" fmla="*/ 52 w 95"/>
                  <a:gd name="T41" fmla="*/ 0 h 82"/>
                  <a:gd name="T42" fmla="*/ 44 w 95"/>
                  <a:gd name="T43" fmla="*/ 2 h 82"/>
                  <a:gd name="T44" fmla="*/ 36 w 95"/>
                  <a:gd name="T45" fmla="*/ 6 h 82"/>
                  <a:gd name="T46" fmla="*/ 27 w 95"/>
                  <a:gd name="T47" fmla="*/ 12 h 82"/>
                  <a:gd name="T48" fmla="*/ 19 w 95"/>
                  <a:gd name="T49" fmla="*/ 18 h 82"/>
                  <a:gd name="T50" fmla="*/ 5 w 95"/>
                  <a:gd name="T51" fmla="*/ 30 h 82"/>
                  <a:gd name="T52" fmla="*/ 0 w 95"/>
                  <a:gd name="T53" fmla="*/ 37 h 82"/>
                  <a:gd name="T54" fmla="*/ 22 w 95"/>
                  <a:gd name="T55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5" h="82">
                    <a:moveTo>
                      <a:pt x="22" y="82"/>
                    </a:moveTo>
                    <a:lnTo>
                      <a:pt x="31" y="81"/>
                    </a:lnTo>
                    <a:lnTo>
                      <a:pt x="52" y="79"/>
                    </a:lnTo>
                    <a:lnTo>
                      <a:pt x="64" y="77"/>
                    </a:lnTo>
                    <a:lnTo>
                      <a:pt x="75" y="73"/>
                    </a:lnTo>
                    <a:lnTo>
                      <a:pt x="81" y="72"/>
                    </a:lnTo>
                    <a:lnTo>
                      <a:pt x="85" y="70"/>
                    </a:lnTo>
                    <a:lnTo>
                      <a:pt x="89" y="67"/>
                    </a:lnTo>
                    <a:lnTo>
                      <a:pt x="91" y="63"/>
                    </a:lnTo>
                    <a:lnTo>
                      <a:pt x="93" y="59"/>
                    </a:lnTo>
                    <a:lnTo>
                      <a:pt x="95" y="54"/>
                    </a:lnTo>
                    <a:lnTo>
                      <a:pt x="95" y="49"/>
                    </a:lnTo>
                    <a:lnTo>
                      <a:pt x="95" y="43"/>
                    </a:lnTo>
                    <a:lnTo>
                      <a:pt x="90" y="33"/>
                    </a:lnTo>
                    <a:lnTo>
                      <a:pt x="84" y="23"/>
                    </a:lnTo>
                    <a:lnTo>
                      <a:pt x="76" y="13"/>
                    </a:lnTo>
                    <a:lnTo>
                      <a:pt x="68" y="7"/>
                    </a:lnTo>
                    <a:lnTo>
                      <a:pt x="64" y="3"/>
                    </a:lnTo>
                    <a:lnTo>
                      <a:pt x="59" y="2"/>
                    </a:lnTo>
                    <a:lnTo>
                      <a:pt x="56" y="1"/>
                    </a:lnTo>
                    <a:lnTo>
                      <a:pt x="52" y="0"/>
                    </a:lnTo>
                    <a:lnTo>
                      <a:pt x="44" y="2"/>
                    </a:lnTo>
                    <a:lnTo>
                      <a:pt x="36" y="6"/>
                    </a:lnTo>
                    <a:lnTo>
                      <a:pt x="27" y="12"/>
                    </a:lnTo>
                    <a:lnTo>
                      <a:pt x="19" y="18"/>
                    </a:lnTo>
                    <a:lnTo>
                      <a:pt x="5" y="30"/>
                    </a:lnTo>
                    <a:lnTo>
                      <a:pt x="0" y="37"/>
                    </a:lnTo>
                    <a:lnTo>
                      <a:pt x="22" y="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1" name="Freeform 286"/>
              <p:cNvSpPr>
                <a:spLocks/>
              </p:cNvSpPr>
              <p:nvPr/>
            </p:nvSpPr>
            <p:spPr bwMode="auto">
              <a:xfrm>
                <a:off x="3349625" y="5724525"/>
                <a:ext cx="46038" cy="41275"/>
              </a:xfrm>
              <a:custGeom>
                <a:avLst/>
                <a:gdLst>
                  <a:gd name="T0" fmla="*/ 37 w 119"/>
                  <a:gd name="T1" fmla="*/ 104 h 104"/>
                  <a:gd name="T2" fmla="*/ 30 w 119"/>
                  <a:gd name="T3" fmla="*/ 103 h 104"/>
                  <a:gd name="T4" fmla="*/ 22 w 119"/>
                  <a:gd name="T5" fmla="*/ 97 h 104"/>
                  <a:gd name="T6" fmla="*/ 23 w 119"/>
                  <a:gd name="T7" fmla="*/ 88 h 104"/>
                  <a:gd name="T8" fmla="*/ 30 w 119"/>
                  <a:gd name="T9" fmla="*/ 81 h 104"/>
                  <a:gd name="T10" fmla="*/ 34 w 119"/>
                  <a:gd name="T11" fmla="*/ 79 h 104"/>
                  <a:gd name="T12" fmla="*/ 54 w 119"/>
                  <a:gd name="T13" fmla="*/ 79 h 104"/>
                  <a:gd name="T14" fmla="*/ 86 w 119"/>
                  <a:gd name="T15" fmla="*/ 73 h 104"/>
                  <a:gd name="T16" fmla="*/ 94 w 119"/>
                  <a:gd name="T17" fmla="*/ 63 h 104"/>
                  <a:gd name="T18" fmla="*/ 92 w 119"/>
                  <a:gd name="T19" fmla="*/ 51 h 104"/>
                  <a:gd name="T20" fmla="*/ 83 w 119"/>
                  <a:gd name="T21" fmla="*/ 38 h 104"/>
                  <a:gd name="T22" fmla="*/ 69 w 119"/>
                  <a:gd name="T23" fmla="*/ 27 h 104"/>
                  <a:gd name="T24" fmla="*/ 64 w 119"/>
                  <a:gd name="T25" fmla="*/ 24 h 104"/>
                  <a:gd name="T26" fmla="*/ 55 w 119"/>
                  <a:gd name="T27" fmla="*/ 28 h 104"/>
                  <a:gd name="T28" fmla="*/ 44 w 119"/>
                  <a:gd name="T29" fmla="*/ 35 h 104"/>
                  <a:gd name="T30" fmla="*/ 21 w 119"/>
                  <a:gd name="T31" fmla="*/ 56 h 104"/>
                  <a:gd name="T32" fmla="*/ 12 w 119"/>
                  <a:gd name="T33" fmla="*/ 60 h 104"/>
                  <a:gd name="T34" fmla="*/ 4 w 119"/>
                  <a:gd name="T35" fmla="*/ 56 h 104"/>
                  <a:gd name="T36" fmla="*/ 0 w 119"/>
                  <a:gd name="T37" fmla="*/ 49 h 104"/>
                  <a:gd name="T38" fmla="*/ 3 w 119"/>
                  <a:gd name="T39" fmla="*/ 40 h 104"/>
                  <a:gd name="T40" fmla="*/ 28 w 119"/>
                  <a:gd name="T41" fmla="*/ 17 h 104"/>
                  <a:gd name="T42" fmla="*/ 47 w 119"/>
                  <a:gd name="T43" fmla="*/ 5 h 104"/>
                  <a:gd name="T44" fmla="*/ 64 w 119"/>
                  <a:gd name="T45" fmla="*/ 0 h 104"/>
                  <a:gd name="T46" fmla="*/ 70 w 119"/>
                  <a:gd name="T47" fmla="*/ 1 h 104"/>
                  <a:gd name="T48" fmla="*/ 83 w 119"/>
                  <a:gd name="T49" fmla="*/ 7 h 104"/>
                  <a:gd name="T50" fmla="*/ 97 w 119"/>
                  <a:gd name="T51" fmla="*/ 17 h 104"/>
                  <a:gd name="T52" fmla="*/ 107 w 119"/>
                  <a:gd name="T53" fmla="*/ 29 h 104"/>
                  <a:gd name="T54" fmla="*/ 114 w 119"/>
                  <a:gd name="T55" fmla="*/ 43 h 104"/>
                  <a:gd name="T56" fmla="*/ 118 w 119"/>
                  <a:gd name="T57" fmla="*/ 54 h 104"/>
                  <a:gd name="T58" fmla="*/ 119 w 119"/>
                  <a:gd name="T59" fmla="*/ 65 h 104"/>
                  <a:gd name="T60" fmla="*/ 117 w 119"/>
                  <a:gd name="T61" fmla="*/ 76 h 104"/>
                  <a:gd name="T62" fmla="*/ 110 w 119"/>
                  <a:gd name="T63" fmla="*/ 84 h 104"/>
                  <a:gd name="T64" fmla="*/ 104 w 119"/>
                  <a:gd name="T65" fmla="*/ 90 h 104"/>
                  <a:gd name="T66" fmla="*/ 90 w 119"/>
                  <a:gd name="T67" fmla="*/ 98 h 104"/>
                  <a:gd name="T68" fmla="*/ 58 w 119"/>
                  <a:gd name="T69" fmla="*/ 10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9" h="104">
                    <a:moveTo>
                      <a:pt x="39" y="104"/>
                    </a:moveTo>
                    <a:lnTo>
                      <a:pt x="37" y="104"/>
                    </a:lnTo>
                    <a:lnTo>
                      <a:pt x="33" y="104"/>
                    </a:lnTo>
                    <a:lnTo>
                      <a:pt x="30" y="103"/>
                    </a:lnTo>
                    <a:lnTo>
                      <a:pt x="26" y="100"/>
                    </a:lnTo>
                    <a:lnTo>
                      <a:pt x="22" y="97"/>
                    </a:lnTo>
                    <a:lnTo>
                      <a:pt x="22" y="93"/>
                    </a:lnTo>
                    <a:lnTo>
                      <a:pt x="23" y="88"/>
                    </a:lnTo>
                    <a:lnTo>
                      <a:pt x="26" y="83"/>
                    </a:lnTo>
                    <a:lnTo>
                      <a:pt x="30" y="81"/>
                    </a:lnTo>
                    <a:lnTo>
                      <a:pt x="34" y="79"/>
                    </a:lnTo>
                    <a:lnTo>
                      <a:pt x="34" y="79"/>
                    </a:lnTo>
                    <a:lnTo>
                      <a:pt x="34" y="79"/>
                    </a:lnTo>
                    <a:lnTo>
                      <a:pt x="54" y="79"/>
                    </a:lnTo>
                    <a:lnTo>
                      <a:pt x="72" y="77"/>
                    </a:lnTo>
                    <a:lnTo>
                      <a:pt x="86" y="73"/>
                    </a:lnTo>
                    <a:lnTo>
                      <a:pt x="93" y="70"/>
                    </a:lnTo>
                    <a:lnTo>
                      <a:pt x="94" y="63"/>
                    </a:lnTo>
                    <a:lnTo>
                      <a:pt x="94" y="57"/>
                    </a:lnTo>
                    <a:lnTo>
                      <a:pt x="92" y="51"/>
                    </a:lnTo>
                    <a:lnTo>
                      <a:pt x="90" y="48"/>
                    </a:lnTo>
                    <a:lnTo>
                      <a:pt x="83" y="38"/>
                    </a:lnTo>
                    <a:lnTo>
                      <a:pt x="76" y="32"/>
                    </a:lnTo>
                    <a:lnTo>
                      <a:pt x="69" y="27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0" y="25"/>
                    </a:lnTo>
                    <a:lnTo>
                      <a:pt x="55" y="28"/>
                    </a:lnTo>
                    <a:lnTo>
                      <a:pt x="50" y="30"/>
                    </a:lnTo>
                    <a:lnTo>
                      <a:pt x="44" y="35"/>
                    </a:lnTo>
                    <a:lnTo>
                      <a:pt x="32" y="45"/>
                    </a:lnTo>
                    <a:lnTo>
                      <a:pt x="21" y="56"/>
                    </a:lnTo>
                    <a:lnTo>
                      <a:pt x="17" y="59"/>
                    </a:lnTo>
                    <a:lnTo>
                      <a:pt x="12" y="60"/>
                    </a:lnTo>
                    <a:lnTo>
                      <a:pt x="7" y="59"/>
                    </a:lnTo>
                    <a:lnTo>
                      <a:pt x="4" y="56"/>
                    </a:lnTo>
                    <a:lnTo>
                      <a:pt x="1" y="52"/>
                    </a:lnTo>
                    <a:lnTo>
                      <a:pt x="0" y="49"/>
                    </a:lnTo>
                    <a:lnTo>
                      <a:pt x="0" y="44"/>
                    </a:lnTo>
                    <a:lnTo>
                      <a:pt x="3" y="40"/>
                    </a:lnTo>
                    <a:lnTo>
                      <a:pt x="14" y="30"/>
                    </a:lnTo>
                    <a:lnTo>
                      <a:pt x="28" y="17"/>
                    </a:lnTo>
                    <a:lnTo>
                      <a:pt x="37" y="11"/>
                    </a:lnTo>
                    <a:lnTo>
                      <a:pt x="47" y="5"/>
                    </a:lnTo>
                    <a:lnTo>
                      <a:pt x="55" y="1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0" y="1"/>
                    </a:lnTo>
                    <a:lnTo>
                      <a:pt x="77" y="3"/>
                    </a:lnTo>
                    <a:lnTo>
                      <a:pt x="83" y="7"/>
                    </a:lnTo>
                    <a:lnTo>
                      <a:pt x="91" y="11"/>
                    </a:lnTo>
                    <a:lnTo>
                      <a:pt x="97" y="17"/>
                    </a:lnTo>
                    <a:lnTo>
                      <a:pt x="102" y="23"/>
                    </a:lnTo>
                    <a:lnTo>
                      <a:pt x="107" y="29"/>
                    </a:lnTo>
                    <a:lnTo>
                      <a:pt x="110" y="37"/>
                    </a:lnTo>
                    <a:lnTo>
                      <a:pt x="114" y="43"/>
                    </a:lnTo>
                    <a:lnTo>
                      <a:pt x="117" y="48"/>
                    </a:lnTo>
                    <a:lnTo>
                      <a:pt x="118" y="54"/>
                    </a:lnTo>
                    <a:lnTo>
                      <a:pt x="119" y="60"/>
                    </a:lnTo>
                    <a:lnTo>
                      <a:pt x="119" y="65"/>
                    </a:lnTo>
                    <a:lnTo>
                      <a:pt x="118" y="71"/>
                    </a:lnTo>
                    <a:lnTo>
                      <a:pt x="117" y="76"/>
                    </a:lnTo>
                    <a:lnTo>
                      <a:pt x="114" y="81"/>
                    </a:lnTo>
                    <a:lnTo>
                      <a:pt x="110" y="84"/>
                    </a:lnTo>
                    <a:lnTo>
                      <a:pt x="108" y="88"/>
                    </a:lnTo>
                    <a:lnTo>
                      <a:pt x="104" y="90"/>
                    </a:lnTo>
                    <a:lnTo>
                      <a:pt x="99" y="93"/>
                    </a:lnTo>
                    <a:lnTo>
                      <a:pt x="90" y="98"/>
                    </a:lnTo>
                    <a:lnTo>
                      <a:pt x="80" y="100"/>
                    </a:lnTo>
                    <a:lnTo>
                      <a:pt x="58" y="103"/>
                    </a:lnTo>
                    <a:lnTo>
                      <a:pt x="39" y="104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2" name="Freeform 287"/>
              <p:cNvSpPr>
                <a:spLocks/>
              </p:cNvSpPr>
              <p:nvPr/>
            </p:nvSpPr>
            <p:spPr bwMode="auto">
              <a:xfrm>
                <a:off x="3257550" y="5740400"/>
                <a:ext cx="107950" cy="80963"/>
              </a:xfrm>
              <a:custGeom>
                <a:avLst/>
                <a:gdLst>
                  <a:gd name="T0" fmla="*/ 239 w 274"/>
                  <a:gd name="T1" fmla="*/ 0 h 206"/>
                  <a:gd name="T2" fmla="*/ 116 w 274"/>
                  <a:gd name="T3" fmla="*/ 60 h 206"/>
                  <a:gd name="T4" fmla="*/ 24 w 274"/>
                  <a:gd name="T5" fmla="*/ 103 h 206"/>
                  <a:gd name="T6" fmla="*/ 15 w 274"/>
                  <a:gd name="T7" fmla="*/ 109 h 206"/>
                  <a:gd name="T8" fmla="*/ 9 w 274"/>
                  <a:gd name="T9" fmla="*/ 116 h 206"/>
                  <a:gd name="T10" fmla="*/ 4 w 274"/>
                  <a:gd name="T11" fmla="*/ 126 h 206"/>
                  <a:gd name="T12" fmla="*/ 2 w 274"/>
                  <a:gd name="T13" fmla="*/ 136 h 206"/>
                  <a:gd name="T14" fmla="*/ 0 w 274"/>
                  <a:gd name="T15" fmla="*/ 147 h 206"/>
                  <a:gd name="T16" fmla="*/ 0 w 274"/>
                  <a:gd name="T17" fmla="*/ 157 h 206"/>
                  <a:gd name="T18" fmla="*/ 3 w 274"/>
                  <a:gd name="T19" fmla="*/ 168 h 206"/>
                  <a:gd name="T20" fmla="*/ 7 w 274"/>
                  <a:gd name="T21" fmla="*/ 178 h 206"/>
                  <a:gd name="T22" fmla="*/ 9 w 274"/>
                  <a:gd name="T23" fmla="*/ 182 h 206"/>
                  <a:gd name="T24" fmla="*/ 13 w 274"/>
                  <a:gd name="T25" fmla="*/ 187 h 206"/>
                  <a:gd name="T26" fmla="*/ 15 w 274"/>
                  <a:gd name="T27" fmla="*/ 192 h 206"/>
                  <a:gd name="T28" fmla="*/ 19 w 274"/>
                  <a:gd name="T29" fmla="*/ 196 h 206"/>
                  <a:gd name="T30" fmla="*/ 27 w 274"/>
                  <a:gd name="T31" fmla="*/ 201 h 206"/>
                  <a:gd name="T32" fmla="*/ 36 w 274"/>
                  <a:gd name="T33" fmla="*/ 204 h 206"/>
                  <a:gd name="T34" fmla="*/ 46 w 274"/>
                  <a:gd name="T35" fmla="*/ 206 h 206"/>
                  <a:gd name="T36" fmla="*/ 56 w 274"/>
                  <a:gd name="T37" fmla="*/ 206 h 206"/>
                  <a:gd name="T38" fmla="*/ 64 w 274"/>
                  <a:gd name="T39" fmla="*/ 203 h 206"/>
                  <a:gd name="T40" fmla="*/ 74 w 274"/>
                  <a:gd name="T41" fmla="*/ 200 h 206"/>
                  <a:gd name="T42" fmla="*/ 274 w 274"/>
                  <a:gd name="T43" fmla="*/ 67 h 206"/>
                  <a:gd name="T44" fmla="*/ 239 w 274"/>
                  <a:gd name="T45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4" h="206">
                    <a:moveTo>
                      <a:pt x="239" y="0"/>
                    </a:moveTo>
                    <a:lnTo>
                      <a:pt x="116" y="60"/>
                    </a:lnTo>
                    <a:lnTo>
                      <a:pt x="24" y="103"/>
                    </a:lnTo>
                    <a:lnTo>
                      <a:pt x="15" y="109"/>
                    </a:lnTo>
                    <a:lnTo>
                      <a:pt x="9" y="116"/>
                    </a:lnTo>
                    <a:lnTo>
                      <a:pt x="4" y="126"/>
                    </a:lnTo>
                    <a:lnTo>
                      <a:pt x="2" y="136"/>
                    </a:lnTo>
                    <a:lnTo>
                      <a:pt x="0" y="147"/>
                    </a:lnTo>
                    <a:lnTo>
                      <a:pt x="0" y="157"/>
                    </a:lnTo>
                    <a:lnTo>
                      <a:pt x="3" y="168"/>
                    </a:lnTo>
                    <a:lnTo>
                      <a:pt x="7" y="178"/>
                    </a:lnTo>
                    <a:lnTo>
                      <a:pt x="9" y="182"/>
                    </a:lnTo>
                    <a:lnTo>
                      <a:pt x="13" y="187"/>
                    </a:lnTo>
                    <a:lnTo>
                      <a:pt x="15" y="192"/>
                    </a:lnTo>
                    <a:lnTo>
                      <a:pt x="19" y="196"/>
                    </a:lnTo>
                    <a:lnTo>
                      <a:pt x="27" y="201"/>
                    </a:lnTo>
                    <a:lnTo>
                      <a:pt x="36" y="204"/>
                    </a:lnTo>
                    <a:lnTo>
                      <a:pt x="46" y="206"/>
                    </a:lnTo>
                    <a:lnTo>
                      <a:pt x="56" y="206"/>
                    </a:lnTo>
                    <a:lnTo>
                      <a:pt x="64" y="203"/>
                    </a:lnTo>
                    <a:lnTo>
                      <a:pt x="74" y="200"/>
                    </a:lnTo>
                    <a:lnTo>
                      <a:pt x="274" y="67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0097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3" name="Freeform 288"/>
              <p:cNvSpPr>
                <a:spLocks noEditPoints="1"/>
              </p:cNvSpPr>
              <p:nvPr/>
            </p:nvSpPr>
            <p:spPr bwMode="auto">
              <a:xfrm>
                <a:off x="3252788" y="5735638"/>
                <a:ext cx="117475" cy="90488"/>
              </a:xfrm>
              <a:custGeom>
                <a:avLst/>
                <a:gdLst>
                  <a:gd name="T0" fmla="*/ 246 w 298"/>
                  <a:gd name="T1" fmla="*/ 27 h 230"/>
                  <a:gd name="T2" fmla="*/ 41 w 298"/>
                  <a:gd name="T3" fmla="*/ 126 h 230"/>
                  <a:gd name="T4" fmla="*/ 34 w 298"/>
                  <a:gd name="T5" fmla="*/ 131 h 230"/>
                  <a:gd name="T6" fmla="*/ 31 w 298"/>
                  <a:gd name="T7" fmla="*/ 136 h 230"/>
                  <a:gd name="T8" fmla="*/ 27 w 298"/>
                  <a:gd name="T9" fmla="*/ 143 h 230"/>
                  <a:gd name="T10" fmla="*/ 25 w 298"/>
                  <a:gd name="T11" fmla="*/ 150 h 230"/>
                  <a:gd name="T12" fmla="*/ 23 w 298"/>
                  <a:gd name="T13" fmla="*/ 159 h 230"/>
                  <a:gd name="T14" fmla="*/ 25 w 298"/>
                  <a:gd name="T15" fmla="*/ 167 h 230"/>
                  <a:gd name="T16" fmla="*/ 26 w 298"/>
                  <a:gd name="T17" fmla="*/ 176 h 230"/>
                  <a:gd name="T18" fmla="*/ 28 w 298"/>
                  <a:gd name="T19" fmla="*/ 185 h 230"/>
                  <a:gd name="T20" fmla="*/ 33 w 298"/>
                  <a:gd name="T21" fmla="*/ 191 h 230"/>
                  <a:gd name="T22" fmla="*/ 37 w 298"/>
                  <a:gd name="T23" fmla="*/ 197 h 230"/>
                  <a:gd name="T24" fmla="*/ 43 w 298"/>
                  <a:gd name="T25" fmla="*/ 201 h 230"/>
                  <a:gd name="T26" fmla="*/ 48 w 298"/>
                  <a:gd name="T27" fmla="*/ 205 h 230"/>
                  <a:gd name="T28" fmla="*/ 55 w 298"/>
                  <a:gd name="T29" fmla="*/ 207 h 230"/>
                  <a:gd name="T30" fmla="*/ 64 w 298"/>
                  <a:gd name="T31" fmla="*/ 205 h 230"/>
                  <a:gd name="T32" fmla="*/ 71 w 298"/>
                  <a:gd name="T33" fmla="*/ 204 h 230"/>
                  <a:gd name="T34" fmla="*/ 80 w 298"/>
                  <a:gd name="T35" fmla="*/ 201 h 230"/>
                  <a:gd name="T36" fmla="*/ 271 w 298"/>
                  <a:gd name="T37" fmla="*/ 74 h 230"/>
                  <a:gd name="T38" fmla="*/ 246 w 298"/>
                  <a:gd name="T39" fmla="*/ 27 h 230"/>
                  <a:gd name="T40" fmla="*/ 59 w 298"/>
                  <a:gd name="T41" fmla="*/ 230 h 230"/>
                  <a:gd name="T42" fmla="*/ 49 w 298"/>
                  <a:gd name="T43" fmla="*/ 230 h 230"/>
                  <a:gd name="T44" fmla="*/ 41 w 298"/>
                  <a:gd name="T45" fmla="*/ 227 h 230"/>
                  <a:gd name="T46" fmla="*/ 36 w 298"/>
                  <a:gd name="T47" fmla="*/ 225 h 230"/>
                  <a:gd name="T48" fmla="*/ 31 w 298"/>
                  <a:gd name="T49" fmla="*/ 223 h 230"/>
                  <a:gd name="T50" fmla="*/ 26 w 298"/>
                  <a:gd name="T51" fmla="*/ 219 h 230"/>
                  <a:gd name="T52" fmla="*/ 21 w 298"/>
                  <a:gd name="T53" fmla="*/ 215 h 230"/>
                  <a:gd name="T54" fmla="*/ 14 w 298"/>
                  <a:gd name="T55" fmla="*/ 205 h 230"/>
                  <a:gd name="T56" fmla="*/ 7 w 298"/>
                  <a:gd name="T57" fmla="*/ 193 h 230"/>
                  <a:gd name="T58" fmla="*/ 3 w 298"/>
                  <a:gd name="T59" fmla="*/ 182 h 230"/>
                  <a:gd name="T60" fmla="*/ 0 w 298"/>
                  <a:gd name="T61" fmla="*/ 171 h 230"/>
                  <a:gd name="T62" fmla="*/ 0 w 298"/>
                  <a:gd name="T63" fmla="*/ 158 h 230"/>
                  <a:gd name="T64" fmla="*/ 1 w 298"/>
                  <a:gd name="T65" fmla="*/ 145 h 230"/>
                  <a:gd name="T66" fmla="*/ 5 w 298"/>
                  <a:gd name="T67" fmla="*/ 133 h 230"/>
                  <a:gd name="T68" fmla="*/ 11 w 298"/>
                  <a:gd name="T69" fmla="*/ 121 h 230"/>
                  <a:gd name="T70" fmla="*/ 15 w 298"/>
                  <a:gd name="T71" fmla="*/ 116 h 230"/>
                  <a:gd name="T72" fmla="*/ 20 w 298"/>
                  <a:gd name="T73" fmla="*/ 111 h 230"/>
                  <a:gd name="T74" fmla="*/ 23 w 298"/>
                  <a:gd name="T75" fmla="*/ 107 h 230"/>
                  <a:gd name="T76" fmla="*/ 30 w 298"/>
                  <a:gd name="T77" fmla="*/ 104 h 230"/>
                  <a:gd name="T78" fmla="*/ 246 w 298"/>
                  <a:gd name="T79" fmla="*/ 0 h 230"/>
                  <a:gd name="T80" fmla="*/ 251 w 298"/>
                  <a:gd name="T81" fmla="*/ 0 h 230"/>
                  <a:gd name="T82" fmla="*/ 256 w 298"/>
                  <a:gd name="T83" fmla="*/ 0 h 230"/>
                  <a:gd name="T84" fmla="*/ 260 w 298"/>
                  <a:gd name="T85" fmla="*/ 2 h 230"/>
                  <a:gd name="T86" fmla="*/ 262 w 298"/>
                  <a:gd name="T87" fmla="*/ 7 h 230"/>
                  <a:gd name="T88" fmla="*/ 297 w 298"/>
                  <a:gd name="T89" fmla="*/ 74 h 230"/>
                  <a:gd name="T90" fmla="*/ 298 w 298"/>
                  <a:gd name="T91" fmla="*/ 78 h 230"/>
                  <a:gd name="T92" fmla="*/ 298 w 298"/>
                  <a:gd name="T93" fmla="*/ 82 h 230"/>
                  <a:gd name="T94" fmla="*/ 295 w 298"/>
                  <a:gd name="T95" fmla="*/ 85 h 230"/>
                  <a:gd name="T96" fmla="*/ 293 w 298"/>
                  <a:gd name="T97" fmla="*/ 88 h 230"/>
                  <a:gd name="T98" fmla="*/ 92 w 298"/>
                  <a:gd name="T99" fmla="*/ 220 h 230"/>
                  <a:gd name="T100" fmla="*/ 83 w 298"/>
                  <a:gd name="T101" fmla="*/ 225 h 230"/>
                  <a:gd name="T102" fmla="*/ 75 w 298"/>
                  <a:gd name="T103" fmla="*/ 227 h 230"/>
                  <a:gd name="T104" fmla="*/ 66 w 298"/>
                  <a:gd name="T105" fmla="*/ 229 h 230"/>
                  <a:gd name="T106" fmla="*/ 59 w 298"/>
                  <a:gd name="T10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98" h="230">
                    <a:moveTo>
                      <a:pt x="246" y="27"/>
                    </a:moveTo>
                    <a:lnTo>
                      <a:pt x="41" y="126"/>
                    </a:lnTo>
                    <a:lnTo>
                      <a:pt x="34" y="131"/>
                    </a:lnTo>
                    <a:lnTo>
                      <a:pt x="31" y="136"/>
                    </a:lnTo>
                    <a:lnTo>
                      <a:pt x="27" y="143"/>
                    </a:lnTo>
                    <a:lnTo>
                      <a:pt x="25" y="150"/>
                    </a:lnTo>
                    <a:lnTo>
                      <a:pt x="23" y="159"/>
                    </a:lnTo>
                    <a:lnTo>
                      <a:pt x="25" y="167"/>
                    </a:lnTo>
                    <a:lnTo>
                      <a:pt x="26" y="176"/>
                    </a:lnTo>
                    <a:lnTo>
                      <a:pt x="28" y="185"/>
                    </a:lnTo>
                    <a:lnTo>
                      <a:pt x="33" y="191"/>
                    </a:lnTo>
                    <a:lnTo>
                      <a:pt x="37" y="197"/>
                    </a:lnTo>
                    <a:lnTo>
                      <a:pt x="43" y="201"/>
                    </a:lnTo>
                    <a:lnTo>
                      <a:pt x="48" y="205"/>
                    </a:lnTo>
                    <a:lnTo>
                      <a:pt x="55" y="207"/>
                    </a:lnTo>
                    <a:lnTo>
                      <a:pt x="64" y="205"/>
                    </a:lnTo>
                    <a:lnTo>
                      <a:pt x="71" y="204"/>
                    </a:lnTo>
                    <a:lnTo>
                      <a:pt x="80" y="201"/>
                    </a:lnTo>
                    <a:lnTo>
                      <a:pt x="271" y="74"/>
                    </a:lnTo>
                    <a:lnTo>
                      <a:pt x="246" y="27"/>
                    </a:lnTo>
                    <a:close/>
                    <a:moveTo>
                      <a:pt x="59" y="230"/>
                    </a:moveTo>
                    <a:lnTo>
                      <a:pt x="49" y="230"/>
                    </a:lnTo>
                    <a:lnTo>
                      <a:pt x="41" y="227"/>
                    </a:lnTo>
                    <a:lnTo>
                      <a:pt x="36" y="225"/>
                    </a:lnTo>
                    <a:lnTo>
                      <a:pt x="31" y="223"/>
                    </a:lnTo>
                    <a:lnTo>
                      <a:pt x="26" y="219"/>
                    </a:lnTo>
                    <a:lnTo>
                      <a:pt x="21" y="215"/>
                    </a:lnTo>
                    <a:lnTo>
                      <a:pt x="14" y="205"/>
                    </a:lnTo>
                    <a:lnTo>
                      <a:pt x="7" y="193"/>
                    </a:lnTo>
                    <a:lnTo>
                      <a:pt x="3" y="182"/>
                    </a:lnTo>
                    <a:lnTo>
                      <a:pt x="0" y="171"/>
                    </a:lnTo>
                    <a:lnTo>
                      <a:pt x="0" y="158"/>
                    </a:lnTo>
                    <a:lnTo>
                      <a:pt x="1" y="145"/>
                    </a:lnTo>
                    <a:lnTo>
                      <a:pt x="5" y="133"/>
                    </a:lnTo>
                    <a:lnTo>
                      <a:pt x="11" y="121"/>
                    </a:lnTo>
                    <a:lnTo>
                      <a:pt x="15" y="116"/>
                    </a:lnTo>
                    <a:lnTo>
                      <a:pt x="20" y="111"/>
                    </a:lnTo>
                    <a:lnTo>
                      <a:pt x="23" y="107"/>
                    </a:lnTo>
                    <a:lnTo>
                      <a:pt x="30" y="104"/>
                    </a:lnTo>
                    <a:lnTo>
                      <a:pt x="246" y="0"/>
                    </a:lnTo>
                    <a:lnTo>
                      <a:pt x="251" y="0"/>
                    </a:lnTo>
                    <a:lnTo>
                      <a:pt x="256" y="0"/>
                    </a:lnTo>
                    <a:lnTo>
                      <a:pt x="260" y="2"/>
                    </a:lnTo>
                    <a:lnTo>
                      <a:pt x="262" y="7"/>
                    </a:lnTo>
                    <a:lnTo>
                      <a:pt x="297" y="74"/>
                    </a:lnTo>
                    <a:lnTo>
                      <a:pt x="298" y="78"/>
                    </a:lnTo>
                    <a:lnTo>
                      <a:pt x="298" y="82"/>
                    </a:lnTo>
                    <a:lnTo>
                      <a:pt x="295" y="85"/>
                    </a:lnTo>
                    <a:lnTo>
                      <a:pt x="293" y="88"/>
                    </a:lnTo>
                    <a:lnTo>
                      <a:pt x="92" y="220"/>
                    </a:lnTo>
                    <a:lnTo>
                      <a:pt x="83" y="225"/>
                    </a:lnTo>
                    <a:lnTo>
                      <a:pt x="75" y="227"/>
                    </a:lnTo>
                    <a:lnTo>
                      <a:pt x="66" y="229"/>
                    </a:lnTo>
                    <a:lnTo>
                      <a:pt x="59" y="23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4" name="Freeform 289"/>
              <p:cNvSpPr>
                <a:spLocks/>
              </p:cNvSpPr>
              <p:nvPr/>
            </p:nvSpPr>
            <p:spPr bwMode="auto">
              <a:xfrm>
                <a:off x="3252788" y="5627688"/>
                <a:ext cx="303213" cy="169863"/>
              </a:xfrm>
              <a:custGeom>
                <a:avLst/>
                <a:gdLst>
                  <a:gd name="T0" fmla="*/ 750 w 766"/>
                  <a:gd name="T1" fmla="*/ 426 h 427"/>
                  <a:gd name="T2" fmla="*/ 743 w 766"/>
                  <a:gd name="T3" fmla="*/ 421 h 427"/>
                  <a:gd name="T4" fmla="*/ 735 w 766"/>
                  <a:gd name="T5" fmla="*/ 383 h 427"/>
                  <a:gd name="T6" fmla="*/ 721 w 766"/>
                  <a:gd name="T7" fmla="*/ 319 h 427"/>
                  <a:gd name="T8" fmla="*/ 704 w 766"/>
                  <a:gd name="T9" fmla="*/ 262 h 427"/>
                  <a:gd name="T10" fmla="*/ 685 w 766"/>
                  <a:gd name="T11" fmla="*/ 212 h 427"/>
                  <a:gd name="T12" fmla="*/ 659 w 766"/>
                  <a:gd name="T13" fmla="*/ 150 h 427"/>
                  <a:gd name="T14" fmla="*/ 634 w 766"/>
                  <a:gd name="T15" fmla="*/ 99 h 427"/>
                  <a:gd name="T16" fmla="*/ 619 w 766"/>
                  <a:gd name="T17" fmla="*/ 82 h 427"/>
                  <a:gd name="T18" fmla="*/ 598 w 766"/>
                  <a:gd name="T19" fmla="*/ 67 h 427"/>
                  <a:gd name="T20" fmla="*/ 563 w 766"/>
                  <a:gd name="T21" fmla="*/ 50 h 427"/>
                  <a:gd name="T22" fmla="*/ 495 w 766"/>
                  <a:gd name="T23" fmla="*/ 30 h 427"/>
                  <a:gd name="T24" fmla="*/ 392 w 766"/>
                  <a:gd name="T25" fmla="*/ 115 h 427"/>
                  <a:gd name="T26" fmla="*/ 389 w 766"/>
                  <a:gd name="T27" fmla="*/ 119 h 427"/>
                  <a:gd name="T28" fmla="*/ 384 w 766"/>
                  <a:gd name="T29" fmla="*/ 119 h 427"/>
                  <a:gd name="T30" fmla="*/ 379 w 766"/>
                  <a:gd name="T31" fmla="*/ 119 h 427"/>
                  <a:gd name="T32" fmla="*/ 374 w 766"/>
                  <a:gd name="T33" fmla="*/ 115 h 427"/>
                  <a:gd name="T34" fmla="*/ 283 w 766"/>
                  <a:gd name="T35" fmla="*/ 27 h 427"/>
                  <a:gd name="T36" fmla="*/ 244 w 766"/>
                  <a:gd name="T37" fmla="*/ 37 h 427"/>
                  <a:gd name="T38" fmla="*/ 198 w 766"/>
                  <a:gd name="T39" fmla="*/ 53 h 427"/>
                  <a:gd name="T40" fmla="*/ 165 w 766"/>
                  <a:gd name="T41" fmla="*/ 70 h 427"/>
                  <a:gd name="T42" fmla="*/ 146 w 766"/>
                  <a:gd name="T43" fmla="*/ 83 h 427"/>
                  <a:gd name="T44" fmla="*/ 138 w 766"/>
                  <a:gd name="T45" fmla="*/ 90 h 427"/>
                  <a:gd name="T46" fmla="*/ 124 w 766"/>
                  <a:gd name="T47" fmla="*/ 114 h 427"/>
                  <a:gd name="T48" fmla="*/ 92 w 766"/>
                  <a:gd name="T49" fmla="*/ 181 h 427"/>
                  <a:gd name="T50" fmla="*/ 74 w 766"/>
                  <a:gd name="T51" fmla="*/ 229 h 427"/>
                  <a:gd name="T52" fmla="*/ 55 w 766"/>
                  <a:gd name="T53" fmla="*/ 284 h 427"/>
                  <a:gd name="T54" fmla="*/ 38 w 766"/>
                  <a:gd name="T55" fmla="*/ 348 h 427"/>
                  <a:gd name="T56" fmla="*/ 25 w 766"/>
                  <a:gd name="T57" fmla="*/ 416 h 427"/>
                  <a:gd name="T58" fmla="*/ 20 w 766"/>
                  <a:gd name="T59" fmla="*/ 425 h 427"/>
                  <a:gd name="T60" fmla="*/ 11 w 766"/>
                  <a:gd name="T61" fmla="*/ 427 h 427"/>
                  <a:gd name="T62" fmla="*/ 3 w 766"/>
                  <a:gd name="T63" fmla="*/ 421 h 427"/>
                  <a:gd name="T64" fmla="*/ 0 w 766"/>
                  <a:gd name="T65" fmla="*/ 411 h 427"/>
                  <a:gd name="T66" fmla="*/ 15 w 766"/>
                  <a:gd name="T67" fmla="*/ 342 h 427"/>
                  <a:gd name="T68" fmla="*/ 32 w 766"/>
                  <a:gd name="T69" fmla="*/ 278 h 427"/>
                  <a:gd name="T70" fmla="*/ 51 w 766"/>
                  <a:gd name="T71" fmla="*/ 220 h 427"/>
                  <a:gd name="T72" fmla="*/ 70 w 766"/>
                  <a:gd name="T73" fmla="*/ 173 h 427"/>
                  <a:gd name="T74" fmla="*/ 103 w 766"/>
                  <a:gd name="T75" fmla="*/ 103 h 427"/>
                  <a:gd name="T76" fmla="*/ 119 w 766"/>
                  <a:gd name="T77" fmla="*/ 76 h 427"/>
                  <a:gd name="T78" fmla="*/ 141 w 766"/>
                  <a:gd name="T79" fmla="*/ 57 h 427"/>
                  <a:gd name="T80" fmla="*/ 168 w 766"/>
                  <a:gd name="T81" fmla="*/ 42 h 427"/>
                  <a:gd name="T82" fmla="*/ 196 w 766"/>
                  <a:gd name="T83" fmla="*/ 28 h 427"/>
                  <a:gd name="T84" fmla="*/ 226 w 766"/>
                  <a:gd name="T85" fmla="*/ 18 h 427"/>
                  <a:gd name="T86" fmla="*/ 298 w 766"/>
                  <a:gd name="T87" fmla="*/ 0 h 427"/>
                  <a:gd name="T88" fmla="*/ 309 w 766"/>
                  <a:gd name="T89" fmla="*/ 5 h 427"/>
                  <a:gd name="T90" fmla="*/ 450 w 766"/>
                  <a:gd name="T91" fmla="*/ 5 h 427"/>
                  <a:gd name="T92" fmla="*/ 461 w 766"/>
                  <a:gd name="T93" fmla="*/ 0 h 427"/>
                  <a:gd name="T94" fmla="*/ 484 w 766"/>
                  <a:gd name="T95" fmla="*/ 5 h 427"/>
                  <a:gd name="T96" fmla="*/ 534 w 766"/>
                  <a:gd name="T97" fmla="*/ 16 h 427"/>
                  <a:gd name="T98" fmla="*/ 564 w 766"/>
                  <a:gd name="T99" fmla="*/ 26 h 427"/>
                  <a:gd name="T100" fmla="*/ 593 w 766"/>
                  <a:gd name="T101" fmla="*/ 38 h 427"/>
                  <a:gd name="T102" fmla="*/ 621 w 766"/>
                  <a:gd name="T103" fmla="*/ 54 h 427"/>
                  <a:gd name="T104" fmla="*/ 646 w 766"/>
                  <a:gd name="T105" fmla="*/ 75 h 427"/>
                  <a:gd name="T106" fmla="*/ 648 w 766"/>
                  <a:gd name="T107" fmla="*/ 76 h 427"/>
                  <a:gd name="T108" fmla="*/ 667 w 766"/>
                  <a:gd name="T109" fmla="*/ 110 h 427"/>
                  <a:gd name="T110" fmla="*/ 700 w 766"/>
                  <a:gd name="T111" fmla="*/ 181 h 427"/>
                  <a:gd name="T112" fmla="*/ 718 w 766"/>
                  <a:gd name="T113" fmla="*/ 228 h 427"/>
                  <a:gd name="T114" fmla="*/ 737 w 766"/>
                  <a:gd name="T115" fmla="*/ 283 h 427"/>
                  <a:gd name="T116" fmla="*/ 753 w 766"/>
                  <a:gd name="T117" fmla="*/ 344 h 427"/>
                  <a:gd name="T118" fmla="*/ 766 w 766"/>
                  <a:gd name="T119" fmla="*/ 411 h 427"/>
                  <a:gd name="T120" fmla="*/ 764 w 766"/>
                  <a:gd name="T121" fmla="*/ 421 h 427"/>
                  <a:gd name="T122" fmla="*/ 756 w 766"/>
                  <a:gd name="T123" fmla="*/ 427 h 427"/>
                  <a:gd name="T124" fmla="*/ 754 w 766"/>
                  <a:gd name="T125" fmla="*/ 427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66" h="427">
                    <a:moveTo>
                      <a:pt x="754" y="427"/>
                    </a:moveTo>
                    <a:lnTo>
                      <a:pt x="750" y="426"/>
                    </a:lnTo>
                    <a:lnTo>
                      <a:pt x="746" y="425"/>
                    </a:lnTo>
                    <a:lnTo>
                      <a:pt x="743" y="421"/>
                    </a:lnTo>
                    <a:lnTo>
                      <a:pt x="741" y="416"/>
                    </a:lnTo>
                    <a:lnTo>
                      <a:pt x="735" y="383"/>
                    </a:lnTo>
                    <a:lnTo>
                      <a:pt x="729" y="350"/>
                    </a:lnTo>
                    <a:lnTo>
                      <a:pt x="721" y="319"/>
                    </a:lnTo>
                    <a:lnTo>
                      <a:pt x="713" y="290"/>
                    </a:lnTo>
                    <a:lnTo>
                      <a:pt x="704" y="262"/>
                    </a:lnTo>
                    <a:lnTo>
                      <a:pt x="695" y="236"/>
                    </a:lnTo>
                    <a:lnTo>
                      <a:pt x="685" y="212"/>
                    </a:lnTo>
                    <a:lnTo>
                      <a:pt x="677" y="188"/>
                    </a:lnTo>
                    <a:lnTo>
                      <a:pt x="659" y="150"/>
                    </a:lnTo>
                    <a:lnTo>
                      <a:pt x="645" y="120"/>
                    </a:lnTo>
                    <a:lnTo>
                      <a:pt x="634" y="99"/>
                    </a:lnTo>
                    <a:lnTo>
                      <a:pt x="628" y="90"/>
                    </a:lnTo>
                    <a:lnTo>
                      <a:pt x="619" y="82"/>
                    </a:lnTo>
                    <a:lnTo>
                      <a:pt x="609" y="75"/>
                    </a:lnTo>
                    <a:lnTo>
                      <a:pt x="598" y="67"/>
                    </a:lnTo>
                    <a:lnTo>
                      <a:pt x="587" y="61"/>
                    </a:lnTo>
                    <a:lnTo>
                      <a:pt x="563" y="50"/>
                    </a:lnTo>
                    <a:lnTo>
                      <a:pt x="539" y="42"/>
                    </a:lnTo>
                    <a:lnTo>
                      <a:pt x="495" y="30"/>
                    </a:lnTo>
                    <a:lnTo>
                      <a:pt x="465" y="24"/>
                    </a:lnTo>
                    <a:lnTo>
                      <a:pt x="392" y="115"/>
                    </a:lnTo>
                    <a:lnTo>
                      <a:pt x="390" y="117"/>
                    </a:lnTo>
                    <a:lnTo>
                      <a:pt x="389" y="119"/>
                    </a:lnTo>
                    <a:lnTo>
                      <a:pt x="386" y="119"/>
                    </a:lnTo>
                    <a:lnTo>
                      <a:pt x="384" y="119"/>
                    </a:lnTo>
                    <a:lnTo>
                      <a:pt x="381" y="119"/>
                    </a:lnTo>
                    <a:lnTo>
                      <a:pt x="379" y="119"/>
                    </a:lnTo>
                    <a:lnTo>
                      <a:pt x="376" y="117"/>
                    </a:lnTo>
                    <a:lnTo>
                      <a:pt x="374" y="115"/>
                    </a:lnTo>
                    <a:lnTo>
                      <a:pt x="296" y="24"/>
                    </a:lnTo>
                    <a:lnTo>
                      <a:pt x="283" y="27"/>
                    </a:lnTo>
                    <a:lnTo>
                      <a:pt x="265" y="30"/>
                    </a:lnTo>
                    <a:lnTo>
                      <a:pt x="244" y="37"/>
                    </a:lnTo>
                    <a:lnTo>
                      <a:pt x="221" y="44"/>
                    </a:lnTo>
                    <a:lnTo>
                      <a:pt x="198" y="53"/>
                    </a:lnTo>
                    <a:lnTo>
                      <a:pt x="176" y="64"/>
                    </a:lnTo>
                    <a:lnTo>
                      <a:pt x="165" y="70"/>
                    </a:lnTo>
                    <a:lnTo>
                      <a:pt x="155" y="76"/>
                    </a:lnTo>
                    <a:lnTo>
                      <a:pt x="146" y="83"/>
                    </a:lnTo>
                    <a:lnTo>
                      <a:pt x="138" y="90"/>
                    </a:lnTo>
                    <a:lnTo>
                      <a:pt x="138" y="90"/>
                    </a:lnTo>
                    <a:lnTo>
                      <a:pt x="134" y="97"/>
                    </a:lnTo>
                    <a:lnTo>
                      <a:pt x="124" y="114"/>
                    </a:lnTo>
                    <a:lnTo>
                      <a:pt x="111" y="143"/>
                    </a:lnTo>
                    <a:lnTo>
                      <a:pt x="92" y="181"/>
                    </a:lnTo>
                    <a:lnTo>
                      <a:pt x="84" y="204"/>
                    </a:lnTo>
                    <a:lnTo>
                      <a:pt x="74" y="229"/>
                    </a:lnTo>
                    <a:lnTo>
                      <a:pt x="64" y="256"/>
                    </a:lnTo>
                    <a:lnTo>
                      <a:pt x="55" y="284"/>
                    </a:lnTo>
                    <a:lnTo>
                      <a:pt x="47" y="315"/>
                    </a:lnTo>
                    <a:lnTo>
                      <a:pt x="38" y="348"/>
                    </a:lnTo>
                    <a:lnTo>
                      <a:pt x="31" y="381"/>
                    </a:lnTo>
                    <a:lnTo>
                      <a:pt x="25" y="416"/>
                    </a:lnTo>
                    <a:lnTo>
                      <a:pt x="22" y="421"/>
                    </a:lnTo>
                    <a:lnTo>
                      <a:pt x="20" y="425"/>
                    </a:lnTo>
                    <a:lnTo>
                      <a:pt x="15" y="426"/>
                    </a:lnTo>
                    <a:lnTo>
                      <a:pt x="11" y="427"/>
                    </a:lnTo>
                    <a:lnTo>
                      <a:pt x="6" y="425"/>
                    </a:lnTo>
                    <a:lnTo>
                      <a:pt x="3" y="421"/>
                    </a:lnTo>
                    <a:lnTo>
                      <a:pt x="2" y="416"/>
                    </a:lnTo>
                    <a:lnTo>
                      <a:pt x="0" y="411"/>
                    </a:lnTo>
                    <a:lnTo>
                      <a:pt x="8" y="376"/>
                    </a:lnTo>
                    <a:lnTo>
                      <a:pt x="15" y="342"/>
                    </a:lnTo>
                    <a:lnTo>
                      <a:pt x="24" y="308"/>
                    </a:lnTo>
                    <a:lnTo>
                      <a:pt x="32" y="278"/>
                    </a:lnTo>
                    <a:lnTo>
                      <a:pt x="41" y="248"/>
                    </a:lnTo>
                    <a:lnTo>
                      <a:pt x="51" y="220"/>
                    </a:lnTo>
                    <a:lnTo>
                      <a:pt x="60" y="196"/>
                    </a:lnTo>
                    <a:lnTo>
                      <a:pt x="70" y="173"/>
                    </a:lnTo>
                    <a:lnTo>
                      <a:pt x="89" y="133"/>
                    </a:lnTo>
                    <a:lnTo>
                      <a:pt x="103" y="103"/>
                    </a:lnTo>
                    <a:lnTo>
                      <a:pt x="114" y="84"/>
                    </a:lnTo>
                    <a:lnTo>
                      <a:pt x="119" y="76"/>
                    </a:lnTo>
                    <a:lnTo>
                      <a:pt x="129" y="66"/>
                    </a:lnTo>
                    <a:lnTo>
                      <a:pt x="141" y="57"/>
                    </a:lnTo>
                    <a:lnTo>
                      <a:pt x="153" y="49"/>
                    </a:lnTo>
                    <a:lnTo>
                      <a:pt x="168" y="42"/>
                    </a:lnTo>
                    <a:lnTo>
                      <a:pt x="182" y="34"/>
                    </a:lnTo>
                    <a:lnTo>
                      <a:pt x="196" y="28"/>
                    </a:lnTo>
                    <a:lnTo>
                      <a:pt x="211" y="23"/>
                    </a:lnTo>
                    <a:lnTo>
                      <a:pt x="226" y="18"/>
                    </a:lnTo>
                    <a:lnTo>
                      <a:pt x="275" y="5"/>
                    </a:lnTo>
                    <a:lnTo>
                      <a:pt x="298" y="0"/>
                    </a:lnTo>
                    <a:lnTo>
                      <a:pt x="304" y="1"/>
                    </a:lnTo>
                    <a:lnTo>
                      <a:pt x="309" y="5"/>
                    </a:lnTo>
                    <a:lnTo>
                      <a:pt x="383" y="90"/>
                    </a:lnTo>
                    <a:lnTo>
                      <a:pt x="450" y="5"/>
                    </a:lnTo>
                    <a:lnTo>
                      <a:pt x="456" y="1"/>
                    </a:lnTo>
                    <a:lnTo>
                      <a:pt x="461" y="0"/>
                    </a:lnTo>
                    <a:lnTo>
                      <a:pt x="468" y="1"/>
                    </a:lnTo>
                    <a:lnTo>
                      <a:pt x="484" y="5"/>
                    </a:lnTo>
                    <a:lnTo>
                      <a:pt x="506" y="8"/>
                    </a:lnTo>
                    <a:lnTo>
                      <a:pt x="534" y="16"/>
                    </a:lnTo>
                    <a:lnTo>
                      <a:pt x="549" y="21"/>
                    </a:lnTo>
                    <a:lnTo>
                      <a:pt x="564" y="26"/>
                    </a:lnTo>
                    <a:lnTo>
                      <a:pt x="579" y="32"/>
                    </a:lnTo>
                    <a:lnTo>
                      <a:pt x="593" y="38"/>
                    </a:lnTo>
                    <a:lnTo>
                      <a:pt x="608" y="45"/>
                    </a:lnTo>
                    <a:lnTo>
                      <a:pt x="621" y="54"/>
                    </a:lnTo>
                    <a:lnTo>
                      <a:pt x="635" y="64"/>
                    </a:lnTo>
                    <a:lnTo>
                      <a:pt x="646" y="75"/>
                    </a:lnTo>
                    <a:lnTo>
                      <a:pt x="647" y="76"/>
                    </a:lnTo>
                    <a:lnTo>
                      <a:pt x="648" y="76"/>
                    </a:lnTo>
                    <a:lnTo>
                      <a:pt x="655" y="88"/>
                    </a:lnTo>
                    <a:lnTo>
                      <a:pt x="667" y="110"/>
                    </a:lnTo>
                    <a:lnTo>
                      <a:pt x="681" y="141"/>
                    </a:lnTo>
                    <a:lnTo>
                      <a:pt x="700" y="181"/>
                    </a:lnTo>
                    <a:lnTo>
                      <a:pt x="708" y="203"/>
                    </a:lnTo>
                    <a:lnTo>
                      <a:pt x="718" y="228"/>
                    </a:lnTo>
                    <a:lnTo>
                      <a:pt x="727" y="255"/>
                    </a:lnTo>
                    <a:lnTo>
                      <a:pt x="737" y="283"/>
                    </a:lnTo>
                    <a:lnTo>
                      <a:pt x="744" y="313"/>
                    </a:lnTo>
                    <a:lnTo>
                      <a:pt x="753" y="344"/>
                    </a:lnTo>
                    <a:lnTo>
                      <a:pt x="760" y="377"/>
                    </a:lnTo>
                    <a:lnTo>
                      <a:pt x="766" y="411"/>
                    </a:lnTo>
                    <a:lnTo>
                      <a:pt x="766" y="416"/>
                    </a:lnTo>
                    <a:lnTo>
                      <a:pt x="764" y="421"/>
                    </a:lnTo>
                    <a:lnTo>
                      <a:pt x="760" y="425"/>
                    </a:lnTo>
                    <a:lnTo>
                      <a:pt x="756" y="427"/>
                    </a:lnTo>
                    <a:lnTo>
                      <a:pt x="755" y="427"/>
                    </a:lnTo>
                    <a:lnTo>
                      <a:pt x="754" y="427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5" name="Freeform 290"/>
              <p:cNvSpPr>
                <a:spLocks/>
              </p:cNvSpPr>
              <p:nvPr/>
            </p:nvSpPr>
            <p:spPr bwMode="auto">
              <a:xfrm>
                <a:off x="3471863" y="5707063"/>
                <a:ext cx="34925" cy="57150"/>
              </a:xfrm>
              <a:custGeom>
                <a:avLst/>
                <a:gdLst>
                  <a:gd name="T0" fmla="*/ 76 w 87"/>
                  <a:gd name="T1" fmla="*/ 144 h 144"/>
                  <a:gd name="T2" fmla="*/ 72 w 87"/>
                  <a:gd name="T3" fmla="*/ 144 h 144"/>
                  <a:gd name="T4" fmla="*/ 70 w 87"/>
                  <a:gd name="T5" fmla="*/ 143 h 144"/>
                  <a:gd name="T6" fmla="*/ 67 w 87"/>
                  <a:gd name="T7" fmla="*/ 141 h 144"/>
                  <a:gd name="T8" fmla="*/ 65 w 87"/>
                  <a:gd name="T9" fmla="*/ 137 h 144"/>
                  <a:gd name="T10" fmla="*/ 23 w 87"/>
                  <a:gd name="T11" fmla="*/ 59 h 144"/>
                  <a:gd name="T12" fmla="*/ 23 w 87"/>
                  <a:gd name="T13" fmla="*/ 104 h 144"/>
                  <a:gd name="T14" fmla="*/ 22 w 87"/>
                  <a:gd name="T15" fmla="*/ 108 h 144"/>
                  <a:gd name="T16" fmla="*/ 19 w 87"/>
                  <a:gd name="T17" fmla="*/ 111 h 144"/>
                  <a:gd name="T18" fmla="*/ 16 w 87"/>
                  <a:gd name="T19" fmla="*/ 114 h 144"/>
                  <a:gd name="T20" fmla="*/ 11 w 87"/>
                  <a:gd name="T21" fmla="*/ 115 h 144"/>
                  <a:gd name="T22" fmla="*/ 6 w 87"/>
                  <a:gd name="T23" fmla="*/ 114 h 144"/>
                  <a:gd name="T24" fmla="*/ 2 w 87"/>
                  <a:gd name="T25" fmla="*/ 111 h 144"/>
                  <a:gd name="T26" fmla="*/ 0 w 87"/>
                  <a:gd name="T27" fmla="*/ 108 h 144"/>
                  <a:gd name="T28" fmla="*/ 0 w 87"/>
                  <a:gd name="T29" fmla="*/ 104 h 144"/>
                  <a:gd name="T30" fmla="*/ 0 w 87"/>
                  <a:gd name="T31" fmla="*/ 12 h 144"/>
                  <a:gd name="T32" fmla="*/ 0 w 87"/>
                  <a:gd name="T33" fmla="*/ 8 h 144"/>
                  <a:gd name="T34" fmla="*/ 2 w 87"/>
                  <a:gd name="T35" fmla="*/ 5 h 144"/>
                  <a:gd name="T36" fmla="*/ 5 w 87"/>
                  <a:gd name="T37" fmla="*/ 2 h 144"/>
                  <a:gd name="T38" fmla="*/ 8 w 87"/>
                  <a:gd name="T39" fmla="*/ 0 h 144"/>
                  <a:gd name="T40" fmla="*/ 12 w 87"/>
                  <a:gd name="T41" fmla="*/ 0 h 144"/>
                  <a:gd name="T42" fmla="*/ 16 w 87"/>
                  <a:gd name="T43" fmla="*/ 0 h 144"/>
                  <a:gd name="T44" fmla="*/ 19 w 87"/>
                  <a:gd name="T45" fmla="*/ 2 h 144"/>
                  <a:gd name="T46" fmla="*/ 22 w 87"/>
                  <a:gd name="T47" fmla="*/ 7 h 144"/>
                  <a:gd name="T48" fmla="*/ 86 w 87"/>
                  <a:gd name="T49" fmla="*/ 126 h 144"/>
                  <a:gd name="T50" fmla="*/ 87 w 87"/>
                  <a:gd name="T51" fmla="*/ 131 h 144"/>
                  <a:gd name="T52" fmla="*/ 87 w 87"/>
                  <a:gd name="T53" fmla="*/ 136 h 144"/>
                  <a:gd name="T54" fmla="*/ 84 w 87"/>
                  <a:gd name="T55" fmla="*/ 140 h 144"/>
                  <a:gd name="T56" fmla="*/ 81 w 87"/>
                  <a:gd name="T57" fmla="*/ 142 h 144"/>
                  <a:gd name="T58" fmla="*/ 78 w 87"/>
                  <a:gd name="T59" fmla="*/ 144 h 144"/>
                  <a:gd name="T60" fmla="*/ 76 w 87"/>
                  <a:gd name="T6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7" h="144">
                    <a:moveTo>
                      <a:pt x="76" y="144"/>
                    </a:moveTo>
                    <a:lnTo>
                      <a:pt x="72" y="144"/>
                    </a:lnTo>
                    <a:lnTo>
                      <a:pt x="70" y="143"/>
                    </a:lnTo>
                    <a:lnTo>
                      <a:pt x="67" y="141"/>
                    </a:lnTo>
                    <a:lnTo>
                      <a:pt x="65" y="137"/>
                    </a:lnTo>
                    <a:lnTo>
                      <a:pt x="23" y="59"/>
                    </a:lnTo>
                    <a:lnTo>
                      <a:pt x="23" y="104"/>
                    </a:lnTo>
                    <a:lnTo>
                      <a:pt x="22" y="108"/>
                    </a:lnTo>
                    <a:lnTo>
                      <a:pt x="19" y="111"/>
                    </a:lnTo>
                    <a:lnTo>
                      <a:pt x="16" y="114"/>
                    </a:lnTo>
                    <a:lnTo>
                      <a:pt x="11" y="115"/>
                    </a:lnTo>
                    <a:lnTo>
                      <a:pt x="6" y="114"/>
                    </a:lnTo>
                    <a:lnTo>
                      <a:pt x="2" y="111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5"/>
                    </a:lnTo>
                    <a:lnTo>
                      <a:pt x="5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9" y="2"/>
                    </a:lnTo>
                    <a:lnTo>
                      <a:pt x="22" y="7"/>
                    </a:lnTo>
                    <a:lnTo>
                      <a:pt x="86" y="126"/>
                    </a:lnTo>
                    <a:lnTo>
                      <a:pt x="87" y="131"/>
                    </a:lnTo>
                    <a:lnTo>
                      <a:pt x="87" y="136"/>
                    </a:lnTo>
                    <a:lnTo>
                      <a:pt x="84" y="140"/>
                    </a:lnTo>
                    <a:lnTo>
                      <a:pt x="81" y="142"/>
                    </a:lnTo>
                    <a:lnTo>
                      <a:pt x="78" y="144"/>
                    </a:lnTo>
                    <a:lnTo>
                      <a:pt x="76" y="144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6" name="Freeform 291"/>
              <p:cNvSpPr>
                <a:spLocks/>
              </p:cNvSpPr>
              <p:nvPr/>
            </p:nvSpPr>
            <p:spPr bwMode="auto">
              <a:xfrm>
                <a:off x="3417888" y="5729288"/>
                <a:ext cx="36513" cy="31750"/>
              </a:xfrm>
              <a:custGeom>
                <a:avLst/>
                <a:gdLst>
                  <a:gd name="T0" fmla="*/ 73 w 94"/>
                  <a:gd name="T1" fmla="*/ 82 h 82"/>
                  <a:gd name="T2" fmla="*/ 63 w 94"/>
                  <a:gd name="T3" fmla="*/ 81 h 82"/>
                  <a:gd name="T4" fmla="*/ 43 w 94"/>
                  <a:gd name="T5" fmla="*/ 79 h 82"/>
                  <a:gd name="T6" fmla="*/ 30 w 94"/>
                  <a:gd name="T7" fmla="*/ 77 h 82"/>
                  <a:gd name="T8" fmla="*/ 19 w 94"/>
                  <a:gd name="T9" fmla="*/ 73 h 82"/>
                  <a:gd name="T10" fmla="*/ 14 w 94"/>
                  <a:gd name="T11" fmla="*/ 72 h 82"/>
                  <a:gd name="T12" fmla="*/ 9 w 94"/>
                  <a:gd name="T13" fmla="*/ 70 h 82"/>
                  <a:gd name="T14" fmla="*/ 6 w 94"/>
                  <a:gd name="T15" fmla="*/ 67 h 82"/>
                  <a:gd name="T16" fmla="*/ 3 w 94"/>
                  <a:gd name="T17" fmla="*/ 63 h 82"/>
                  <a:gd name="T18" fmla="*/ 1 w 94"/>
                  <a:gd name="T19" fmla="*/ 59 h 82"/>
                  <a:gd name="T20" fmla="*/ 0 w 94"/>
                  <a:gd name="T21" fmla="*/ 54 h 82"/>
                  <a:gd name="T22" fmla="*/ 0 w 94"/>
                  <a:gd name="T23" fmla="*/ 49 h 82"/>
                  <a:gd name="T24" fmla="*/ 1 w 94"/>
                  <a:gd name="T25" fmla="*/ 43 h 82"/>
                  <a:gd name="T26" fmla="*/ 5 w 94"/>
                  <a:gd name="T27" fmla="*/ 33 h 82"/>
                  <a:gd name="T28" fmla="*/ 11 w 94"/>
                  <a:gd name="T29" fmla="*/ 23 h 82"/>
                  <a:gd name="T30" fmla="*/ 18 w 94"/>
                  <a:gd name="T31" fmla="*/ 13 h 82"/>
                  <a:gd name="T32" fmla="*/ 27 w 94"/>
                  <a:gd name="T33" fmla="*/ 7 h 82"/>
                  <a:gd name="T34" fmla="*/ 30 w 94"/>
                  <a:gd name="T35" fmla="*/ 3 h 82"/>
                  <a:gd name="T36" fmla="*/ 35 w 94"/>
                  <a:gd name="T37" fmla="*/ 2 h 82"/>
                  <a:gd name="T38" fmla="*/ 39 w 94"/>
                  <a:gd name="T39" fmla="*/ 1 h 82"/>
                  <a:gd name="T40" fmla="*/ 43 w 94"/>
                  <a:gd name="T41" fmla="*/ 0 h 82"/>
                  <a:gd name="T42" fmla="*/ 50 w 94"/>
                  <a:gd name="T43" fmla="*/ 2 h 82"/>
                  <a:gd name="T44" fmla="*/ 58 w 94"/>
                  <a:gd name="T45" fmla="*/ 6 h 82"/>
                  <a:gd name="T46" fmla="*/ 67 w 94"/>
                  <a:gd name="T47" fmla="*/ 12 h 82"/>
                  <a:gd name="T48" fmla="*/ 76 w 94"/>
                  <a:gd name="T49" fmla="*/ 18 h 82"/>
                  <a:gd name="T50" fmla="*/ 89 w 94"/>
                  <a:gd name="T51" fmla="*/ 30 h 82"/>
                  <a:gd name="T52" fmla="*/ 94 w 94"/>
                  <a:gd name="T53" fmla="*/ 37 h 82"/>
                  <a:gd name="T54" fmla="*/ 73 w 94"/>
                  <a:gd name="T55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" h="82">
                    <a:moveTo>
                      <a:pt x="73" y="82"/>
                    </a:moveTo>
                    <a:lnTo>
                      <a:pt x="63" y="81"/>
                    </a:lnTo>
                    <a:lnTo>
                      <a:pt x="43" y="79"/>
                    </a:lnTo>
                    <a:lnTo>
                      <a:pt x="30" y="77"/>
                    </a:lnTo>
                    <a:lnTo>
                      <a:pt x="19" y="73"/>
                    </a:lnTo>
                    <a:lnTo>
                      <a:pt x="14" y="72"/>
                    </a:lnTo>
                    <a:lnTo>
                      <a:pt x="9" y="70"/>
                    </a:lnTo>
                    <a:lnTo>
                      <a:pt x="6" y="67"/>
                    </a:lnTo>
                    <a:lnTo>
                      <a:pt x="3" y="63"/>
                    </a:lnTo>
                    <a:lnTo>
                      <a:pt x="1" y="59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1" y="43"/>
                    </a:lnTo>
                    <a:lnTo>
                      <a:pt x="5" y="33"/>
                    </a:lnTo>
                    <a:lnTo>
                      <a:pt x="11" y="23"/>
                    </a:lnTo>
                    <a:lnTo>
                      <a:pt x="18" y="13"/>
                    </a:lnTo>
                    <a:lnTo>
                      <a:pt x="27" y="7"/>
                    </a:lnTo>
                    <a:lnTo>
                      <a:pt x="30" y="3"/>
                    </a:lnTo>
                    <a:lnTo>
                      <a:pt x="35" y="2"/>
                    </a:lnTo>
                    <a:lnTo>
                      <a:pt x="39" y="1"/>
                    </a:lnTo>
                    <a:lnTo>
                      <a:pt x="43" y="0"/>
                    </a:lnTo>
                    <a:lnTo>
                      <a:pt x="50" y="2"/>
                    </a:lnTo>
                    <a:lnTo>
                      <a:pt x="58" y="6"/>
                    </a:lnTo>
                    <a:lnTo>
                      <a:pt x="67" y="12"/>
                    </a:lnTo>
                    <a:lnTo>
                      <a:pt x="76" y="18"/>
                    </a:lnTo>
                    <a:lnTo>
                      <a:pt x="89" y="30"/>
                    </a:lnTo>
                    <a:lnTo>
                      <a:pt x="94" y="37"/>
                    </a:lnTo>
                    <a:lnTo>
                      <a:pt x="73" y="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7" name="Freeform 292"/>
              <p:cNvSpPr>
                <a:spLocks/>
              </p:cNvSpPr>
              <p:nvPr/>
            </p:nvSpPr>
            <p:spPr bwMode="auto">
              <a:xfrm>
                <a:off x="3413125" y="5724525"/>
                <a:ext cx="46038" cy="41275"/>
              </a:xfrm>
              <a:custGeom>
                <a:avLst/>
                <a:gdLst>
                  <a:gd name="T0" fmla="*/ 62 w 119"/>
                  <a:gd name="T1" fmla="*/ 103 h 104"/>
                  <a:gd name="T2" fmla="*/ 30 w 119"/>
                  <a:gd name="T3" fmla="*/ 98 h 104"/>
                  <a:gd name="T4" fmla="*/ 16 w 119"/>
                  <a:gd name="T5" fmla="*/ 90 h 104"/>
                  <a:gd name="T6" fmla="*/ 9 w 119"/>
                  <a:gd name="T7" fmla="*/ 84 h 104"/>
                  <a:gd name="T8" fmla="*/ 3 w 119"/>
                  <a:gd name="T9" fmla="*/ 76 h 104"/>
                  <a:gd name="T10" fmla="*/ 0 w 119"/>
                  <a:gd name="T11" fmla="*/ 65 h 104"/>
                  <a:gd name="T12" fmla="*/ 2 w 119"/>
                  <a:gd name="T13" fmla="*/ 54 h 104"/>
                  <a:gd name="T14" fmla="*/ 5 w 119"/>
                  <a:gd name="T15" fmla="*/ 43 h 104"/>
                  <a:gd name="T16" fmla="*/ 13 w 119"/>
                  <a:gd name="T17" fmla="*/ 29 h 104"/>
                  <a:gd name="T18" fmla="*/ 22 w 119"/>
                  <a:gd name="T19" fmla="*/ 17 h 104"/>
                  <a:gd name="T20" fmla="*/ 36 w 119"/>
                  <a:gd name="T21" fmla="*/ 7 h 104"/>
                  <a:gd name="T22" fmla="*/ 49 w 119"/>
                  <a:gd name="T23" fmla="*/ 1 h 104"/>
                  <a:gd name="T24" fmla="*/ 56 w 119"/>
                  <a:gd name="T25" fmla="*/ 0 h 104"/>
                  <a:gd name="T26" fmla="*/ 74 w 119"/>
                  <a:gd name="T27" fmla="*/ 5 h 104"/>
                  <a:gd name="T28" fmla="*/ 91 w 119"/>
                  <a:gd name="T29" fmla="*/ 17 h 104"/>
                  <a:gd name="T30" fmla="*/ 117 w 119"/>
                  <a:gd name="T31" fmla="*/ 40 h 104"/>
                  <a:gd name="T32" fmla="*/ 119 w 119"/>
                  <a:gd name="T33" fmla="*/ 49 h 104"/>
                  <a:gd name="T34" fmla="*/ 116 w 119"/>
                  <a:gd name="T35" fmla="*/ 56 h 104"/>
                  <a:gd name="T36" fmla="*/ 107 w 119"/>
                  <a:gd name="T37" fmla="*/ 60 h 104"/>
                  <a:gd name="T38" fmla="*/ 98 w 119"/>
                  <a:gd name="T39" fmla="*/ 56 h 104"/>
                  <a:gd name="T40" fmla="*/ 75 w 119"/>
                  <a:gd name="T41" fmla="*/ 35 h 104"/>
                  <a:gd name="T42" fmla="*/ 64 w 119"/>
                  <a:gd name="T43" fmla="*/ 28 h 104"/>
                  <a:gd name="T44" fmla="*/ 56 w 119"/>
                  <a:gd name="T45" fmla="*/ 24 h 104"/>
                  <a:gd name="T46" fmla="*/ 56 w 119"/>
                  <a:gd name="T47" fmla="*/ 24 h 104"/>
                  <a:gd name="T48" fmla="*/ 43 w 119"/>
                  <a:gd name="T49" fmla="*/ 32 h 104"/>
                  <a:gd name="T50" fmla="*/ 30 w 119"/>
                  <a:gd name="T51" fmla="*/ 48 h 104"/>
                  <a:gd name="T52" fmla="*/ 25 w 119"/>
                  <a:gd name="T53" fmla="*/ 57 h 104"/>
                  <a:gd name="T54" fmla="*/ 26 w 119"/>
                  <a:gd name="T55" fmla="*/ 70 h 104"/>
                  <a:gd name="T56" fmla="*/ 47 w 119"/>
                  <a:gd name="T57" fmla="*/ 77 h 104"/>
                  <a:gd name="T58" fmla="*/ 85 w 119"/>
                  <a:gd name="T59" fmla="*/ 79 h 104"/>
                  <a:gd name="T60" fmla="*/ 86 w 119"/>
                  <a:gd name="T61" fmla="*/ 79 h 104"/>
                  <a:gd name="T62" fmla="*/ 93 w 119"/>
                  <a:gd name="T63" fmla="*/ 83 h 104"/>
                  <a:gd name="T64" fmla="*/ 97 w 119"/>
                  <a:gd name="T65" fmla="*/ 93 h 104"/>
                  <a:gd name="T66" fmla="*/ 95 w 119"/>
                  <a:gd name="T67" fmla="*/ 100 h 104"/>
                  <a:gd name="T68" fmla="*/ 86 w 119"/>
                  <a:gd name="T69" fmla="*/ 104 h 104"/>
                  <a:gd name="T70" fmla="*/ 80 w 119"/>
                  <a:gd name="T71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19" h="104">
                    <a:moveTo>
                      <a:pt x="80" y="104"/>
                    </a:moveTo>
                    <a:lnTo>
                      <a:pt x="62" y="103"/>
                    </a:lnTo>
                    <a:lnTo>
                      <a:pt x="41" y="100"/>
                    </a:lnTo>
                    <a:lnTo>
                      <a:pt x="30" y="98"/>
                    </a:lnTo>
                    <a:lnTo>
                      <a:pt x="20" y="93"/>
                    </a:lnTo>
                    <a:lnTo>
                      <a:pt x="16" y="90"/>
                    </a:lnTo>
                    <a:lnTo>
                      <a:pt x="11" y="88"/>
                    </a:lnTo>
                    <a:lnTo>
                      <a:pt x="9" y="84"/>
                    </a:lnTo>
                    <a:lnTo>
                      <a:pt x="7" y="81"/>
                    </a:lnTo>
                    <a:lnTo>
                      <a:pt x="3" y="76"/>
                    </a:lnTo>
                    <a:lnTo>
                      <a:pt x="2" y="71"/>
                    </a:lnTo>
                    <a:lnTo>
                      <a:pt x="0" y="65"/>
                    </a:lnTo>
                    <a:lnTo>
                      <a:pt x="0" y="60"/>
                    </a:lnTo>
                    <a:lnTo>
                      <a:pt x="2" y="54"/>
                    </a:lnTo>
                    <a:lnTo>
                      <a:pt x="3" y="48"/>
                    </a:lnTo>
                    <a:lnTo>
                      <a:pt x="5" y="43"/>
                    </a:lnTo>
                    <a:lnTo>
                      <a:pt x="9" y="37"/>
                    </a:lnTo>
                    <a:lnTo>
                      <a:pt x="13" y="29"/>
                    </a:lnTo>
                    <a:lnTo>
                      <a:pt x="18" y="23"/>
                    </a:lnTo>
                    <a:lnTo>
                      <a:pt x="22" y="17"/>
                    </a:lnTo>
                    <a:lnTo>
                      <a:pt x="29" y="11"/>
                    </a:lnTo>
                    <a:lnTo>
                      <a:pt x="36" y="7"/>
                    </a:lnTo>
                    <a:lnTo>
                      <a:pt x="42" y="3"/>
                    </a:lnTo>
                    <a:lnTo>
                      <a:pt x="49" y="1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1"/>
                    </a:lnTo>
                    <a:lnTo>
                      <a:pt x="74" y="5"/>
                    </a:lnTo>
                    <a:lnTo>
                      <a:pt x="82" y="11"/>
                    </a:lnTo>
                    <a:lnTo>
                      <a:pt x="91" y="17"/>
                    </a:lnTo>
                    <a:lnTo>
                      <a:pt x="106" y="30"/>
                    </a:lnTo>
                    <a:lnTo>
                      <a:pt x="117" y="40"/>
                    </a:lnTo>
                    <a:lnTo>
                      <a:pt x="119" y="44"/>
                    </a:lnTo>
                    <a:lnTo>
                      <a:pt x="119" y="49"/>
                    </a:lnTo>
                    <a:lnTo>
                      <a:pt x="118" y="52"/>
                    </a:lnTo>
                    <a:lnTo>
                      <a:pt x="116" y="56"/>
                    </a:lnTo>
                    <a:lnTo>
                      <a:pt x="112" y="59"/>
                    </a:lnTo>
                    <a:lnTo>
                      <a:pt x="107" y="60"/>
                    </a:lnTo>
                    <a:lnTo>
                      <a:pt x="102" y="59"/>
                    </a:lnTo>
                    <a:lnTo>
                      <a:pt x="98" y="56"/>
                    </a:lnTo>
                    <a:lnTo>
                      <a:pt x="87" y="45"/>
                    </a:lnTo>
                    <a:lnTo>
                      <a:pt x="75" y="35"/>
                    </a:lnTo>
                    <a:lnTo>
                      <a:pt x="69" y="30"/>
                    </a:lnTo>
                    <a:lnTo>
                      <a:pt x="64" y="28"/>
                    </a:lnTo>
                    <a:lnTo>
                      <a:pt x="59" y="25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1" y="27"/>
                    </a:lnTo>
                    <a:lnTo>
                      <a:pt x="43" y="32"/>
                    </a:lnTo>
                    <a:lnTo>
                      <a:pt x="36" y="38"/>
                    </a:lnTo>
                    <a:lnTo>
                      <a:pt x="30" y="48"/>
                    </a:lnTo>
                    <a:lnTo>
                      <a:pt x="27" y="51"/>
                    </a:lnTo>
                    <a:lnTo>
                      <a:pt x="25" y="57"/>
                    </a:lnTo>
                    <a:lnTo>
                      <a:pt x="25" y="63"/>
                    </a:lnTo>
                    <a:lnTo>
                      <a:pt x="26" y="70"/>
                    </a:lnTo>
                    <a:lnTo>
                      <a:pt x="33" y="73"/>
                    </a:lnTo>
                    <a:lnTo>
                      <a:pt x="47" y="77"/>
                    </a:lnTo>
                    <a:lnTo>
                      <a:pt x="65" y="79"/>
                    </a:lnTo>
                    <a:lnTo>
                      <a:pt x="85" y="79"/>
                    </a:lnTo>
                    <a:lnTo>
                      <a:pt x="85" y="79"/>
                    </a:lnTo>
                    <a:lnTo>
                      <a:pt x="86" y="79"/>
                    </a:lnTo>
                    <a:lnTo>
                      <a:pt x="90" y="81"/>
                    </a:lnTo>
                    <a:lnTo>
                      <a:pt x="93" y="83"/>
                    </a:lnTo>
                    <a:lnTo>
                      <a:pt x="96" y="88"/>
                    </a:lnTo>
                    <a:lnTo>
                      <a:pt x="97" y="93"/>
                    </a:lnTo>
                    <a:lnTo>
                      <a:pt x="97" y="97"/>
                    </a:lnTo>
                    <a:lnTo>
                      <a:pt x="95" y="100"/>
                    </a:lnTo>
                    <a:lnTo>
                      <a:pt x="91" y="103"/>
                    </a:lnTo>
                    <a:lnTo>
                      <a:pt x="86" y="104"/>
                    </a:lnTo>
                    <a:lnTo>
                      <a:pt x="82" y="104"/>
                    </a:lnTo>
                    <a:lnTo>
                      <a:pt x="80" y="104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8" name="Freeform 293"/>
              <p:cNvSpPr>
                <a:spLocks/>
              </p:cNvSpPr>
              <p:nvPr/>
            </p:nvSpPr>
            <p:spPr bwMode="auto">
              <a:xfrm>
                <a:off x="3443288" y="5740400"/>
                <a:ext cx="107950" cy="80963"/>
              </a:xfrm>
              <a:custGeom>
                <a:avLst/>
                <a:gdLst>
                  <a:gd name="T0" fmla="*/ 33 w 273"/>
                  <a:gd name="T1" fmla="*/ 0 h 206"/>
                  <a:gd name="T2" fmla="*/ 159 w 273"/>
                  <a:gd name="T3" fmla="*/ 60 h 206"/>
                  <a:gd name="T4" fmla="*/ 251 w 273"/>
                  <a:gd name="T5" fmla="*/ 103 h 206"/>
                  <a:gd name="T6" fmla="*/ 258 w 273"/>
                  <a:gd name="T7" fmla="*/ 109 h 206"/>
                  <a:gd name="T8" fmla="*/ 264 w 273"/>
                  <a:gd name="T9" fmla="*/ 116 h 206"/>
                  <a:gd name="T10" fmla="*/ 269 w 273"/>
                  <a:gd name="T11" fmla="*/ 126 h 206"/>
                  <a:gd name="T12" fmla="*/ 272 w 273"/>
                  <a:gd name="T13" fmla="*/ 136 h 206"/>
                  <a:gd name="T14" fmla="*/ 273 w 273"/>
                  <a:gd name="T15" fmla="*/ 147 h 206"/>
                  <a:gd name="T16" fmla="*/ 273 w 273"/>
                  <a:gd name="T17" fmla="*/ 157 h 206"/>
                  <a:gd name="T18" fmla="*/ 271 w 273"/>
                  <a:gd name="T19" fmla="*/ 168 h 206"/>
                  <a:gd name="T20" fmla="*/ 267 w 273"/>
                  <a:gd name="T21" fmla="*/ 178 h 206"/>
                  <a:gd name="T22" fmla="*/ 264 w 273"/>
                  <a:gd name="T23" fmla="*/ 182 h 206"/>
                  <a:gd name="T24" fmla="*/ 262 w 273"/>
                  <a:gd name="T25" fmla="*/ 187 h 206"/>
                  <a:gd name="T26" fmla="*/ 258 w 273"/>
                  <a:gd name="T27" fmla="*/ 192 h 206"/>
                  <a:gd name="T28" fmla="*/ 255 w 273"/>
                  <a:gd name="T29" fmla="*/ 196 h 206"/>
                  <a:gd name="T30" fmla="*/ 246 w 273"/>
                  <a:gd name="T31" fmla="*/ 201 h 206"/>
                  <a:gd name="T32" fmla="*/ 237 w 273"/>
                  <a:gd name="T33" fmla="*/ 204 h 206"/>
                  <a:gd name="T34" fmla="*/ 228 w 273"/>
                  <a:gd name="T35" fmla="*/ 206 h 206"/>
                  <a:gd name="T36" fmla="*/ 219 w 273"/>
                  <a:gd name="T37" fmla="*/ 206 h 206"/>
                  <a:gd name="T38" fmla="*/ 209 w 273"/>
                  <a:gd name="T39" fmla="*/ 203 h 206"/>
                  <a:gd name="T40" fmla="*/ 201 w 273"/>
                  <a:gd name="T41" fmla="*/ 200 h 206"/>
                  <a:gd name="T42" fmla="*/ 0 w 273"/>
                  <a:gd name="T43" fmla="*/ 67 h 206"/>
                  <a:gd name="T44" fmla="*/ 33 w 273"/>
                  <a:gd name="T45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3" h="206">
                    <a:moveTo>
                      <a:pt x="33" y="0"/>
                    </a:moveTo>
                    <a:lnTo>
                      <a:pt x="159" y="60"/>
                    </a:lnTo>
                    <a:lnTo>
                      <a:pt x="251" y="103"/>
                    </a:lnTo>
                    <a:lnTo>
                      <a:pt x="258" y="109"/>
                    </a:lnTo>
                    <a:lnTo>
                      <a:pt x="264" y="116"/>
                    </a:lnTo>
                    <a:lnTo>
                      <a:pt x="269" y="126"/>
                    </a:lnTo>
                    <a:lnTo>
                      <a:pt x="272" y="136"/>
                    </a:lnTo>
                    <a:lnTo>
                      <a:pt x="273" y="147"/>
                    </a:lnTo>
                    <a:lnTo>
                      <a:pt x="273" y="157"/>
                    </a:lnTo>
                    <a:lnTo>
                      <a:pt x="271" y="168"/>
                    </a:lnTo>
                    <a:lnTo>
                      <a:pt x="267" y="178"/>
                    </a:lnTo>
                    <a:lnTo>
                      <a:pt x="264" y="182"/>
                    </a:lnTo>
                    <a:lnTo>
                      <a:pt x="262" y="187"/>
                    </a:lnTo>
                    <a:lnTo>
                      <a:pt x="258" y="192"/>
                    </a:lnTo>
                    <a:lnTo>
                      <a:pt x="255" y="196"/>
                    </a:lnTo>
                    <a:lnTo>
                      <a:pt x="246" y="201"/>
                    </a:lnTo>
                    <a:lnTo>
                      <a:pt x="237" y="204"/>
                    </a:lnTo>
                    <a:lnTo>
                      <a:pt x="228" y="206"/>
                    </a:lnTo>
                    <a:lnTo>
                      <a:pt x="219" y="206"/>
                    </a:lnTo>
                    <a:lnTo>
                      <a:pt x="209" y="203"/>
                    </a:lnTo>
                    <a:lnTo>
                      <a:pt x="201" y="200"/>
                    </a:lnTo>
                    <a:lnTo>
                      <a:pt x="0" y="67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0097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29" name="Freeform 294"/>
              <p:cNvSpPr>
                <a:spLocks noEditPoints="1"/>
              </p:cNvSpPr>
              <p:nvPr/>
            </p:nvSpPr>
            <p:spPr bwMode="auto">
              <a:xfrm>
                <a:off x="3438525" y="5735638"/>
                <a:ext cx="119063" cy="90488"/>
              </a:xfrm>
              <a:custGeom>
                <a:avLst/>
                <a:gdLst>
                  <a:gd name="T0" fmla="*/ 26 w 297"/>
                  <a:gd name="T1" fmla="*/ 74 h 230"/>
                  <a:gd name="T2" fmla="*/ 219 w 297"/>
                  <a:gd name="T3" fmla="*/ 201 h 230"/>
                  <a:gd name="T4" fmla="*/ 226 w 297"/>
                  <a:gd name="T5" fmla="*/ 204 h 230"/>
                  <a:gd name="T6" fmla="*/ 234 w 297"/>
                  <a:gd name="T7" fmla="*/ 205 h 230"/>
                  <a:gd name="T8" fmla="*/ 241 w 297"/>
                  <a:gd name="T9" fmla="*/ 207 h 230"/>
                  <a:gd name="T10" fmla="*/ 248 w 297"/>
                  <a:gd name="T11" fmla="*/ 205 h 230"/>
                  <a:gd name="T12" fmla="*/ 254 w 297"/>
                  <a:gd name="T13" fmla="*/ 201 h 230"/>
                  <a:gd name="T14" fmla="*/ 259 w 297"/>
                  <a:gd name="T15" fmla="*/ 197 h 230"/>
                  <a:gd name="T16" fmla="*/ 264 w 297"/>
                  <a:gd name="T17" fmla="*/ 191 h 230"/>
                  <a:gd name="T18" fmla="*/ 268 w 297"/>
                  <a:gd name="T19" fmla="*/ 185 h 230"/>
                  <a:gd name="T20" fmla="*/ 271 w 297"/>
                  <a:gd name="T21" fmla="*/ 176 h 230"/>
                  <a:gd name="T22" fmla="*/ 273 w 297"/>
                  <a:gd name="T23" fmla="*/ 167 h 230"/>
                  <a:gd name="T24" fmla="*/ 273 w 297"/>
                  <a:gd name="T25" fmla="*/ 159 h 230"/>
                  <a:gd name="T26" fmla="*/ 273 w 297"/>
                  <a:gd name="T27" fmla="*/ 150 h 230"/>
                  <a:gd name="T28" fmla="*/ 270 w 297"/>
                  <a:gd name="T29" fmla="*/ 143 h 230"/>
                  <a:gd name="T30" fmla="*/ 267 w 297"/>
                  <a:gd name="T31" fmla="*/ 136 h 230"/>
                  <a:gd name="T32" fmla="*/ 262 w 297"/>
                  <a:gd name="T33" fmla="*/ 131 h 230"/>
                  <a:gd name="T34" fmla="*/ 257 w 297"/>
                  <a:gd name="T35" fmla="*/ 126 h 230"/>
                  <a:gd name="T36" fmla="*/ 51 w 297"/>
                  <a:gd name="T37" fmla="*/ 27 h 230"/>
                  <a:gd name="T38" fmla="*/ 26 w 297"/>
                  <a:gd name="T39" fmla="*/ 74 h 230"/>
                  <a:gd name="T40" fmla="*/ 238 w 297"/>
                  <a:gd name="T41" fmla="*/ 230 h 230"/>
                  <a:gd name="T42" fmla="*/ 231 w 297"/>
                  <a:gd name="T43" fmla="*/ 229 h 230"/>
                  <a:gd name="T44" fmla="*/ 222 w 297"/>
                  <a:gd name="T45" fmla="*/ 227 h 230"/>
                  <a:gd name="T46" fmla="*/ 214 w 297"/>
                  <a:gd name="T47" fmla="*/ 225 h 230"/>
                  <a:gd name="T48" fmla="*/ 207 w 297"/>
                  <a:gd name="T49" fmla="*/ 220 h 230"/>
                  <a:gd name="T50" fmla="*/ 4 w 297"/>
                  <a:gd name="T51" fmla="*/ 88 h 230"/>
                  <a:gd name="T52" fmla="*/ 2 w 297"/>
                  <a:gd name="T53" fmla="*/ 85 h 230"/>
                  <a:gd name="T54" fmla="*/ 0 w 297"/>
                  <a:gd name="T55" fmla="*/ 82 h 230"/>
                  <a:gd name="T56" fmla="*/ 0 w 297"/>
                  <a:gd name="T57" fmla="*/ 78 h 230"/>
                  <a:gd name="T58" fmla="*/ 1 w 297"/>
                  <a:gd name="T59" fmla="*/ 74 h 230"/>
                  <a:gd name="T60" fmla="*/ 35 w 297"/>
                  <a:gd name="T61" fmla="*/ 7 h 230"/>
                  <a:gd name="T62" fmla="*/ 38 w 297"/>
                  <a:gd name="T63" fmla="*/ 2 h 230"/>
                  <a:gd name="T64" fmla="*/ 41 w 297"/>
                  <a:gd name="T65" fmla="*/ 0 h 230"/>
                  <a:gd name="T66" fmla="*/ 46 w 297"/>
                  <a:gd name="T67" fmla="*/ 0 h 230"/>
                  <a:gd name="T68" fmla="*/ 51 w 297"/>
                  <a:gd name="T69" fmla="*/ 0 h 230"/>
                  <a:gd name="T70" fmla="*/ 268 w 297"/>
                  <a:gd name="T71" fmla="*/ 104 h 230"/>
                  <a:gd name="T72" fmla="*/ 273 w 297"/>
                  <a:gd name="T73" fmla="*/ 107 h 230"/>
                  <a:gd name="T74" fmla="*/ 278 w 297"/>
                  <a:gd name="T75" fmla="*/ 111 h 230"/>
                  <a:gd name="T76" fmla="*/ 283 w 297"/>
                  <a:gd name="T77" fmla="*/ 116 h 230"/>
                  <a:gd name="T78" fmla="*/ 286 w 297"/>
                  <a:gd name="T79" fmla="*/ 121 h 230"/>
                  <a:gd name="T80" fmla="*/ 292 w 297"/>
                  <a:gd name="T81" fmla="*/ 133 h 230"/>
                  <a:gd name="T82" fmla="*/ 296 w 297"/>
                  <a:gd name="T83" fmla="*/ 145 h 230"/>
                  <a:gd name="T84" fmla="*/ 297 w 297"/>
                  <a:gd name="T85" fmla="*/ 158 h 230"/>
                  <a:gd name="T86" fmla="*/ 297 w 297"/>
                  <a:gd name="T87" fmla="*/ 171 h 230"/>
                  <a:gd name="T88" fmla="*/ 295 w 297"/>
                  <a:gd name="T89" fmla="*/ 182 h 230"/>
                  <a:gd name="T90" fmla="*/ 290 w 297"/>
                  <a:gd name="T91" fmla="*/ 193 h 230"/>
                  <a:gd name="T92" fmla="*/ 284 w 297"/>
                  <a:gd name="T93" fmla="*/ 205 h 230"/>
                  <a:gd name="T94" fmla="*/ 276 w 297"/>
                  <a:gd name="T95" fmla="*/ 215 h 230"/>
                  <a:gd name="T96" fmla="*/ 271 w 297"/>
                  <a:gd name="T97" fmla="*/ 219 h 230"/>
                  <a:gd name="T98" fmla="*/ 267 w 297"/>
                  <a:gd name="T99" fmla="*/ 223 h 230"/>
                  <a:gd name="T100" fmla="*/ 262 w 297"/>
                  <a:gd name="T101" fmla="*/ 225 h 230"/>
                  <a:gd name="T102" fmla="*/ 257 w 297"/>
                  <a:gd name="T103" fmla="*/ 227 h 230"/>
                  <a:gd name="T104" fmla="*/ 248 w 297"/>
                  <a:gd name="T105" fmla="*/ 230 h 230"/>
                  <a:gd name="T106" fmla="*/ 238 w 297"/>
                  <a:gd name="T10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97" h="230">
                    <a:moveTo>
                      <a:pt x="26" y="74"/>
                    </a:moveTo>
                    <a:lnTo>
                      <a:pt x="219" y="201"/>
                    </a:lnTo>
                    <a:lnTo>
                      <a:pt x="226" y="204"/>
                    </a:lnTo>
                    <a:lnTo>
                      <a:pt x="234" y="205"/>
                    </a:lnTo>
                    <a:lnTo>
                      <a:pt x="241" y="207"/>
                    </a:lnTo>
                    <a:lnTo>
                      <a:pt x="248" y="205"/>
                    </a:lnTo>
                    <a:lnTo>
                      <a:pt x="254" y="201"/>
                    </a:lnTo>
                    <a:lnTo>
                      <a:pt x="259" y="197"/>
                    </a:lnTo>
                    <a:lnTo>
                      <a:pt x="264" y="191"/>
                    </a:lnTo>
                    <a:lnTo>
                      <a:pt x="268" y="185"/>
                    </a:lnTo>
                    <a:lnTo>
                      <a:pt x="271" y="176"/>
                    </a:lnTo>
                    <a:lnTo>
                      <a:pt x="273" y="167"/>
                    </a:lnTo>
                    <a:lnTo>
                      <a:pt x="273" y="159"/>
                    </a:lnTo>
                    <a:lnTo>
                      <a:pt x="273" y="150"/>
                    </a:lnTo>
                    <a:lnTo>
                      <a:pt x="270" y="143"/>
                    </a:lnTo>
                    <a:lnTo>
                      <a:pt x="267" y="136"/>
                    </a:lnTo>
                    <a:lnTo>
                      <a:pt x="262" y="131"/>
                    </a:lnTo>
                    <a:lnTo>
                      <a:pt x="257" y="126"/>
                    </a:lnTo>
                    <a:lnTo>
                      <a:pt x="51" y="27"/>
                    </a:lnTo>
                    <a:lnTo>
                      <a:pt x="26" y="74"/>
                    </a:lnTo>
                    <a:close/>
                    <a:moveTo>
                      <a:pt x="238" y="230"/>
                    </a:moveTo>
                    <a:lnTo>
                      <a:pt x="231" y="229"/>
                    </a:lnTo>
                    <a:lnTo>
                      <a:pt x="222" y="227"/>
                    </a:lnTo>
                    <a:lnTo>
                      <a:pt x="214" y="225"/>
                    </a:lnTo>
                    <a:lnTo>
                      <a:pt x="207" y="220"/>
                    </a:lnTo>
                    <a:lnTo>
                      <a:pt x="4" y="88"/>
                    </a:lnTo>
                    <a:lnTo>
                      <a:pt x="2" y="85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1" y="74"/>
                    </a:lnTo>
                    <a:lnTo>
                      <a:pt x="35" y="7"/>
                    </a:lnTo>
                    <a:lnTo>
                      <a:pt x="38" y="2"/>
                    </a:lnTo>
                    <a:lnTo>
                      <a:pt x="41" y="0"/>
                    </a:lnTo>
                    <a:lnTo>
                      <a:pt x="46" y="0"/>
                    </a:lnTo>
                    <a:lnTo>
                      <a:pt x="51" y="0"/>
                    </a:lnTo>
                    <a:lnTo>
                      <a:pt x="268" y="104"/>
                    </a:lnTo>
                    <a:lnTo>
                      <a:pt x="273" y="107"/>
                    </a:lnTo>
                    <a:lnTo>
                      <a:pt x="278" y="111"/>
                    </a:lnTo>
                    <a:lnTo>
                      <a:pt x="283" y="116"/>
                    </a:lnTo>
                    <a:lnTo>
                      <a:pt x="286" y="121"/>
                    </a:lnTo>
                    <a:lnTo>
                      <a:pt x="292" y="133"/>
                    </a:lnTo>
                    <a:lnTo>
                      <a:pt x="296" y="145"/>
                    </a:lnTo>
                    <a:lnTo>
                      <a:pt x="297" y="158"/>
                    </a:lnTo>
                    <a:lnTo>
                      <a:pt x="297" y="171"/>
                    </a:lnTo>
                    <a:lnTo>
                      <a:pt x="295" y="182"/>
                    </a:lnTo>
                    <a:lnTo>
                      <a:pt x="290" y="193"/>
                    </a:lnTo>
                    <a:lnTo>
                      <a:pt x="284" y="205"/>
                    </a:lnTo>
                    <a:lnTo>
                      <a:pt x="276" y="215"/>
                    </a:lnTo>
                    <a:lnTo>
                      <a:pt x="271" y="219"/>
                    </a:lnTo>
                    <a:lnTo>
                      <a:pt x="267" y="223"/>
                    </a:lnTo>
                    <a:lnTo>
                      <a:pt x="262" y="225"/>
                    </a:lnTo>
                    <a:lnTo>
                      <a:pt x="257" y="227"/>
                    </a:lnTo>
                    <a:lnTo>
                      <a:pt x="248" y="230"/>
                    </a:lnTo>
                    <a:lnTo>
                      <a:pt x="238" y="23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</p:grpSp>
        <p:sp>
          <p:nvSpPr>
            <p:cNvPr id="661" name="Овал 660"/>
            <p:cNvSpPr/>
            <p:nvPr/>
          </p:nvSpPr>
          <p:spPr>
            <a:xfrm>
              <a:off x="582596" y="4208193"/>
              <a:ext cx="234074" cy="252916"/>
            </a:xfrm>
            <a:prstGeom prst="ellipse">
              <a:avLst/>
            </a:prstGeom>
            <a:noFill/>
            <a:ln w="28575">
              <a:solidFill>
                <a:srgbClr val="4569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662" name="Прямая соединительная линия 661"/>
            <p:cNvCxnSpPr>
              <a:stCxn id="661" idx="3"/>
              <a:endCxn id="661" idx="7"/>
            </p:cNvCxnSpPr>
            <p:nvPr/>
          </p:nvCxnSpPr>
          <p:spPr>
            <a:xfrm flipV="1">
              <a:off x="616875" y="4245231"/>
              <a:ext cx="165515" cy="178838"/>
            </a:xfrm>
            <a:prstGeom prst="line">
              <a:avLst/>
            </a:prstGeom>
            <a:ln w="28575">
              <a:solidFill>
                <a:srgbClr val="45691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0" name="Группа 729"/>
          <p:cNvGrpSpPr/>
          <p:nvPr/>
        </p:nvGrpSpPr>
        <p:grpSpPr>
          <a:xfrm>
            <a:off x="582596" y="2661576"/>
            <a:ext cx="234074" cy="252916"/>
            <a:chOff x="582596" y="4208193"/>
            <a:chExt cx="234074" cy="252916"/>
          </a:xfrm>
        </p:grpSpPr>
        <p:grpSp>
          <p:nvGrpSpPr>
            <p:cNvPr id="731" name="sur_2_z"/>
            <p:cNvGrpSpPr>
              <a:grpSpLocks noChangeAspect="1"/>
            </p:cNvGrpSpPr>
            <p:nvPr/>
          </p:nvGrpSpPr>
          <p:grpSpPr>
            <a:xfrm>
              <a:off x="649496" y="4214983"/>
              <a:ext cx="98820" cy="219140"/>
              <a:chOff x="3252788" y="5476875"/>
              <a:chExt cx="304800" cy="695325"/>
            </a:xfrm>
          </p:grpSpPr>
          <p:sp>
            <p:nvSpPr>
              <p:cNvPr id="734" name="Freeform 262"/>
              <p:cNvSpPr>
                <a:spLocks/>
              </p:cNvSpPr>
              <p:nvPr/>
            </p:nvSpPr>
            <p:spPr bwMode="auto">
              <a:xfrm>
                <a:off x="3257550" y="5632450"/>
                <a:ext cx="293688" cy="190500"/>
              </a:xfrm>
              <a:custGeom>
                <a:avLst/>
                <a:gdLst>
                  <a:gd name="T0" fmla="*/ 624 w 741"/>
                  <a:gd name="T1" fmla="*/ 70 h 479"/>
                  <a:gd name="T2" fmla="*/ 624 w 741"/>
                  <a:gd name="T3" fmla="*/ 70 h 479"/>
                  <a:gd name="T4" fmla="*/ 613 w 741"/>
                  <a:gd name="T5" fmla="*/ 60 h 479"/>
                  <a:gd name="T6" fmla="*/ 601 w 741"/>
                  <a:gd name="T7" fmla="*/ 51 h 479"/>
                  <a:gd name="T8" fmla="*/ 588 w 741"/>
                  <a:gd name="T9" fmla="*/ 43 h 479"/>
                  <a:gd name="T10" fmla="*/ 573 w 741"/>
                  <a:gd name="T11" fmla="*/ 36 h 479"/>
                  <a:gd name="T12" fmla="*/ 558 w 741"/>
                  <a:gd name="T13" fmla="*/ 29 h 479"/>
                  <a:gd name="T14" fmla="*/ 544 w 741"/>
                  <a:gd name="T15" fmla="*/ 24 h 479"/>
                  <a:gd name="T16" fmla="*/ 529 w 741"/>
                  <a:gd name="T17" fmla="*/ 19 h 479"/>
                  <a:gd name="T18" fmla="*/ 515 w 741"/>
                  <a:gd name="T19" fmla="*/ 14 h 479"/>
                  <a:gd name="T20" fmla="*/ 468 w 741"/>
                  <a:gd name="T21" fmla="*/ 3 h 479"/>
                  <a:gd name="T22" fmla="*/ 447 w 741"/>
                  <a:gd name="T23" fmla="*/ 0 h 479"/>
                  <a:gd name="T24" fmla="*/ 370 w 741"/>
                  <a:gd name="T25" fmla="*/ 95 h 479"/>
                  <a:gd name="T26" fmla="*/ 287 w 741"/>
                  <a:gd name="T27" fmla="*/ 0 h 479"/>
                  <a:gd name="T28" fmla="*/ 267 w 741"/>
                  <a:gd name="T29" fmla="*/ 4 h 479"/>
                  <a:gd name="T30" fmla="*/ 219 w 741"/>
                  <a:gd name="T31" fmla="*/ 16 h 479"/>
                  <a:gd name="T32" fmla="*/ 205 w 741"/>
                  <a:gd name="T33" fmla="*/ 20 h 479"/>
                  <a:gd name="T34" fmla="*/ 191 w 741"/>
                  <a:gd name="T35" fmla="*/ 25 h 479"/>
                  <a:gd name="T36" fmla="*/ 177 w 741"/>
                  <a:gd name="T37" fmla="*/ 31 h 479"/>
                  <a:gd name="T38" fmla="*/ 163 w 741"/>
                  <a:gd name="T39" fmla="*/ 37 h 479"/>
                  <a:gd name="T40" fmla="*/ 149 w 741"/>
                  <a:gd name="T41" fmla="*/ 44 h 479"/>
                  <a:gd name="T42" fmla="*/ 137 w 741"/>
                  <a:gd name="T43" fmla="*/ 52 h 479"/>
                  <a:gd name="T44" fmla="*/ 126 w 741"/>
                  <a:gd name="T45" fmla="*/ 60 h 479"/>
                  <a:gd name="T46" fmla="*/ 116 w 741"/>
                  <a:gd name="T47" fmla="*/ 70 h 479"/>
                  <a:gd name="T48" fmla="*/ 112 w 741"/>
                  <a:gd name="T49" fmla="*/ 76 h 479"/>
                  <a:gd name="T50" fmla="*/ 103 w 741"/>
                  <a:gd name="T51" fmla="*/ 95 h 479"/>
                  <a:gd name="T52" fmla="*/ 88 w 741"/>
                  <a:gd name="T53" fmla="*/ 123 h 479"/>
                  <a:gd name="T54" fmla="*/ 69 w 741"/>
                  <a:gd name="T55" fmla="*/ 162 h 479"/>
                  <a:gd name="T56" fmla="*/ 60 w 741"/>
                  <a:gd name="T57" fmla="*/ 185 h 479"/>
                  <a:gd name="T58" fmla="*/ 50 w 741"/>
                  <a:gd name="T59" fmla="*/ 210 h 479"/>
                  <a:gd name="T60" fmla="*/ 40 w 741"/>
                  <a:gd name="T61" fmla="*/ 238 h 479"/>
                  <a:gd name="T62" fmla="*/ 31 w 741"/>
                  <a:gd name="T63" fmla="*/ 266 h 479"/>
                  <a:gd name="T64" fmla="*/ 22 w 741"/>
                  <a:gd name="T65" fmla="*/ 298 h 479"/>
                  <a:gd name="T66" fmla="*/ 13 w 741"/>
                  <a:gd name="T67" fmla="*/ 331 h 479"/>
                  <a:gd name="T68" fmla="*/ 6 w 741"/>
                  <a:gd name="T69" fmla="*/ 365 h 479"/>
                  <a:gd name="T70" fmla="*/ 0 w 741"/>
                  <a:gd name="T71" fmla="*/ 401 h 479"/>
                  <a:gd name="T72" fmla="*/ 189 w 741"/>
                  <a:gd name="T73" fmla="*/ 401 h 479"/>
                  <a:gd name="T74" fmla="*/ 189 w 741"/>
                  <a:gd name="T75" fmla="*/ 479 h 479"/>
                  <a:gd name="T76" fmla="*/ 548 w 741"/>
                  <a:gd name="T77" fmla="*/ 479 h 479"/>
                  <a:gd name="T78" fmla="*/ 548 w 741"/>
                  <a:gd name="T79" fmla="*/ 401 h 479"/>
                  <a:gd name="T80" fmla="*/ 741 w 741"/>
                  <a:gd name="T81" fmla="*/ 401 h 479"/>
                  <a:gd name="T82" fmla="*/ 735 w 741"/>
                  <a:gd name="T83" fmla="*/ 365 h 479"/>
                  <a:gd name="T84" fmla="*/ 727 w 741"/>
                  <a:gd name="T85" fmla="*/ 331 h 479"/>
                  <a:gd name="T86" fmla="*/ 719 w 741"/>
                  <a:gd name="T87" fmla="*/ 298 h 479"/>
                  <a:gd name="T88" fmla="*/ 709 w 741"/>
                  <a:gd name="T89" fmla="*/ 266 h 479"/>
                  <a:gd name="T90" fmla="*/ 700 w 741"/>
                  <a:gd name="T91" fmla="*/ 238 h 479"/>
                  <a:gd name="T92" fmla="*/ 691 w 741"/>
                  <a:gd name="T93" fmla="*/ 210 h 479"/>
                  <a:gd name="T94" fmla="*/ 681 w 741"/>
                  <a:gd name="T95" fmla="*/ 185 h 479"/>
                  <a:gd name="T96" fmla="*/ 671 w 741"/>
                  <a:gd name="T97" fmla="*/ 162 h 479"/>
                  <a:gd name="T98" fmla="*/ 653 w 741"/>
                  <a:gd name="T99" fmla="*/ 123 h 479"/>
                  <a:gd name="T100" fmla="*/ 638 w 741"/>
                  <a:gd name="T101" fmla="*/ 95 h 479"/>
                  <a:gd name="T102" fmla="*/ 628 w 741"/>
                  <a:gd name="T103" fmla="*/ 76 h 479"/>
                  <a:gd name="T104" fmla="*/ 624 w 741"/>
                  <a:gd name="T105" fmla="*/ 70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41" h="479">
                    <a:moveTo>
                      <a:pt x="624" y="70"/>
                    </a:moveTo>
                    <a:lnTo>
                      <a:pt x="624" y="70"/>
                    </a:lnTo>
                    <a:lnTo>
                      <a:pt x="613" y="60"/>
                    </a:lnTo>
                    <a:lnTo>
                      <a:pt x="601" y="51"/>
                    </a:lnTo>
                    <a:lnTo>
                      <a:pt x="588" y="43"/>
                    </a:lnTo>
                    <a:lnTo>
                      <a:pt x="573" y="36"/>
                    </a:lnTo>
                    <a:lnTo>
                      <a:pt x="558" y="29"/>
                    </a:lnTo>
                    <a:lnTo>
                      <a:pt x="544" y="24"/>
                    </a:lnTo>
                    <a:lnTo>
                      <a:pt x="529" y="19"/>
                    </a:lnTo>
                    <a:lnTo>
                      <a:pt x="515" y="14"/>
                    </a:lnTo>
                    <a:lnTo>
                      <a:pt x="468" y="3"/>
                    </a:lnTo>
                    <a:lnTo>
                      <a:pt x="447" y="0"/>
                    </a:lnTo>
                    <a:lnTo>
                      <a:pt x="370" y="95"/>
                    </a:lnTo>
                    <a:lnTo>
                      <a:pt x="287" y="0"/>
                    </a:lnTo>
                    <a:lnTo>
                      <a:pt x="267" y="4"/>
                    </a:lnTo>
                    <a:lnTo>
                      <a:pt x="219" y="16"/>
                    </a:lnTo>
                    <a:lnTo>
                      <a:pt x="205" y="20"/>
                    </a:lnTo>
                    <a:lnTo>
                      <a:pt x="191" y="25"/>
                    </a:lnTo>
                    <a:lnTo>
                      <a:pt x="177" y="31"/>
                    </a:lnTo>
                    <a:lnTo>
                      <a:pt x="163" y="37"/>
                    </a:lnTo>
                    <a:lnTo>
                      <a:pt x="149" y="44"/>
                    </a:lnTo>
                    <a:lnTo>
                      <a:pt x="137" y="52"/>
                    </a:lnTo>
                    <a:lnTo>
                      <a:pt x="126" y="60"/>
                    </a:lnTo>
                    <a:lnTo>
                      <a:pt x="116" y="70"/>
                    </a:lnTo>
                    <a:lnTo>
                      <a:pt x="112" y="76"/>
                    </a:lnTo>
                    <a:lnTo>
                      <a:pt x="103" y="95"/>
                    </a:lnTo>
                    <a:lnTo>
                      <a:pt x="88" y="123"/>
                    </a:lnTo>
                    <a:lnTo>
                      <a:pt x="69" y="162"/>
                    </a:lnTo>
                    <a:lnTo>
                      <a:pt x="60" y="185"/>
                    </a:lnTo>
                    <a:lnTo>
                      <a:pt x="50" y="210"/>
                    </a:lnTo>
                    <a:lnTo>
                      <a:pt x="40" y="238"/>
                    </a:lnTo>
                    <a:lnTo>
                      <a:pt x="31" y="266"/>
                    </a:lnTo>
                    <a:lnTo>
                      <a:pt x="22" y="298"/>
                    </a:lnTo>
                    <a:lnTo>
                      <a:pt x="13" y="331"/>
                    </a:lnTo>
                    <a:lnTo>
                      <a:pt x="6" y="365"/>
                    </a:lnTo>
                    <a:lnTo>
                      <a:pt x="0" y="401"/>
                    </a:lnTo>
                    <a:lnTo>
                      <a:pt x="189" y="401"/>
                    </a:lnTo>
                    <a:lnTo>
                      <a:pt x="189" y="479"/>
                    </a:lnTo>
                    <a:lnTo>
                      <a:pt x="548" y="479"/>
                    </a:lnTo>
                    <a:lnTo>
                      <a:pt x="548" y="401"/>
                    </a:lnTo>
                    <a:lnTo>
                      <a:pt x="741" y="401"/>
                    </a:lnTo>
                    <a:lnTo>
                      <a:pt x="735" y="365"/>
                    </a:lnTo>
                    <a:lnTo>
                      <a:pt x="727" y="331"/>
                    </a:lnTo>
                    <a:lnTo>
                      <a:pt x="719" y="298"/>
                    </a:lnTo>
                    <a:lnTo>
                      <a:pt x="709" y="266"/>
                    </a:lnTo>
                    <a:lnTo>
                      <a:pt x="700" y="238"/>
                    </a:lnTo>
                    <a:lnTo>
                      <a:pt x="691" y="210"/>
                    </a:lnTo>
                    <a:lnTo>
                      <a:pt x="681" y="185"/>
                    </a:lnTo>
                    <a:lnTo>
                      <a:pt x="671" y="162"/>
                    </a:lnTo>
                    <a:lnTo>
                      <a:pt x="653" y="123"/>
                    </a:lnTo>
                    <a:lnTo>
                      <a:pt x="638" y="95"/>
                    </a:lnTo>
                    <a:lnTo>
                      <a:pt x="628" y="76"/>
                    </a:lnTo>
                    <a:lnTo>
                      <a:pt x="624" y="70"/>
                    </a:lnTo>
                    <a:close/>
                  </a:path>
                </a:pathLst>
              </a:custGeom>
              <a:solidFill>
                <a:srgbClr val="0097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35" name="Freeform 263"/>
              <p:cNvSpPr>
                <a:spLocks/>
              </p:cNvSpPr>
              <p:nvPr/>
            </p:nvSpPr>
            <p:spPr bwMode="auto">
              <a:xfrm>
                <a:off x="3351213" y="5546725"/>
                <a:ext cx="101600" cy="84138"/>
              </a:xfrm>
              <a:custGeom>
                <a:avLst/>
                <a:gdLst>
                  <a:gd name="T0" fmla="*/ 109 w 255"/>
                  <a:gd name="T1" fmla="*/ 207 h 209"/>
                  <a:gd name="T2" fmla="*/ 82 w 255"/>
                  <a:gd name="T3" fmla="*/ 196 h 209"/>
                  <a:gd name="T4" fmla="*/ 62 w 255"/>
                  <a:gd name="T5" fmla="*/ 179 h 209"/>
                  <a:gd name="T6" fmla="*/ 36 w 255"/>
                  <a:gd name="T7" fmla="*/ 138 h 209"/>
                  <a:gd name="T8" fmla="*/ 14 w 255"/>
                  <a:gd name="T9" fmla="*/ 106 h 209"/>
                  <a:gd name="T10" fmla="*/ 1 w 255"/>
                  <a:gd name="T11" fmla="*/ 86 h 209"/>
                  <a:gd name="T12" fmla="*/ 3 w 255"/>
                  <a:gd name="T13" fmla="*/ 66 h 209"/>
                  <a:gd name="T14" fmla="*/ 6 w 255"/>
                  <a:gd name="T15" fmla="*/ 48 h 209"/>
                  <a:gd name="T16" fmla="*/ 4 w 255"/>
                  <a:gd name="T17" fmla="*/ 11 h 209"/>
                  <a:gd name="T18" fmla="*/ 11 w 255"/>
                  <a:gd name="T19" fmla="*/ 0 h 209"/>
                  <a:gd name="T20" fmla="*/ 21 w 255"/>
                  <a:gd name="T21" fmla="*/ 0 h 209"/>
                  <a:gd name="T22" fmla="*/ 28 w 255"/>
                  <a:gd name="T23" fmla="*/ 11 h 209"/>
                  <a:gd name="T24" fmla="*/ 32 w 255"/>
                  <a:gd name="T25" fmla="*/ 54 h 209"/>
                  <a:gd name="T26" fmla="*/ 32 w 255"/>
                  <a:gd name="T27" fmla="*/ 65 h 209"/>
                  <a:gd name="T28" fmla="*/ 25 w 255"/>
                  <a:gd name="T29" fmla="*/ 72 h 209"/>
                  <a:gd name="T30" fmla="*/ 27 w 255"/>
                  <a:gd name="T31" fmla="*/ 86 h 209"/>
                  <a:gd name="T32" fmla="*/ 42 w 255"/>
                  <a:gd name="T33" fmla="*/ 103 h 209"/>
                  <a:gd name="T34" fmla="*/ 53 w 255"/>
                  <a:gd name="T35" fmla="*/ 116 h 209"/>
                  <a:gd name="T36" fmla="*/ 63 w 255"/>
                  <a:gd name="T37" fmla="*/ 138 h 209"/>
                  <a:gd name="T38" fmla="*/ 80 w 255"/>
                  <a:gd name="T39" fmla="*/ 163 h 209"/>
                  <a:gd name="T40" fmla="*/ 101 w 255"/>
                  <a:gd name="T41" fmla="*/ 177 h 209"/>
                  <a:gd name="T42" fmla="*/ 130 w 255"/>
                  <a:gd name="T43" fmla="*/ 184 h 209"/>
                  <a:gd name="T44" fmla="*/ 158 w 255"/>
                  <a:gd name="T45" fmla="*/ 177 h 209"/>
                  <a:gd name="T46" fmla="*/ 178 w 255"/>
                  <a:gd name="T47" fmla="*/ 163 h 209"/>
                  <a:gd name="T48" fmla="*/ 195 w 255"/>
                  <a:gd name="T49" fmla="*/ 138 h 209"/>
                  <a:gd name="T50" fmla="*/ 202 w 255"/>
                  <a:gd name="T51" fmla="*/ 116 h 209"/>
                  <a:gd name="T52" fmla="*/ 215 w 255"/>
                  <a:gd name="T53" fmla="*/ 103 h 209"/>
                  <a:gd name="T54" fmla="*/ 228 w 255"/>
                  <a:gd name="T55" fmla="*/ 86 h 209"/>
                  <a:gd name="T56" fmla="*/ 231 w 255"/>
                  <a:gd name="T57" fmla="*/ 72 h 209"/>
                  <a:gd name="T58" fmla="*/ 224 w 255"/>
                  <a:gd name="T59" fmla="*/ 65 h 209"/>
                  <a:gd name="T60" fmla="*/ 224 w 255"/>
                  <a:gd name="T61" fmla="*/ 55 h 209"/>
                  <a:gd name="T62" fmla="*/ 228 w 255"/>
                  <a:gd name="T63" fmla="*/ 13 h 209"/>
                  <a:gd name="T64" fmla="*/ 235 w 255"/>
                  <a:gd name="T65" fmla="*/ 2 h 209"/>
                  <a:gd name="T66" fmla="*/ 249 w 255"/>
                  <a:gd name="T67" fmla="*/ 5 h 209"/>
                  <a:gd name="T68" fmla="*/ 251 w 255"/>
                  <a:gd name="T69" fmla="*/ 26 h 209"/>
                  <a:gd name="T70" fmla="*/ 248 w 255"/>
                  <a:gd name="T71" fmla="*/ 56 h 209"/>
                  <a:gd name="T72" fmla="*/ 255 w 255"/>
                  <a:gd name="T73" fmla="*/ 72 h 209"/>
                  <a:gd name="T74" fmla="*/ 251 w 255"/>
                  <a:gd name="T75" fmla="*/ 93 h 209"/>
                  <a:gd name="T76" fmla="*/ 233 w 255"/>
                  <a:gd name="T77" fmla="*/ 119 h 209"/>
                  <a:gd name="T78" fmla="*/ 216 w 255"/>
                  <a:gd name="T79" fmla="*/ 152 h 209"/>
                  <a:gd name="T80" fmla="*/ 191 w 255"/>
                  <a:gd name="T81" fmla="*/ 185 h 209"/>
                  <a:gd name="T82" fmla="*/ 169 w 255"/>
                  <a:gd name="T83" fmla="*/ 201 h 209"/>
                  <a:gd name="T84" fmla="*/ 141 w 255"/>
                  <a:gd name="T85" fmla="*/ 20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5" h="209">
                    <a:moveTo>
                      <a:pt x="130" y="209"/>
                    </a:moveTo>
                    <a:lnTo>
                      <a:pt x="119" y="208"/>
                    </a:lnTo>
                    <a:lnTo>
                      <a:pt x="109" y="207"/>
                    </a:lnTo>
                    <a:lnTo>
                      <a:pt x="99" y="203"/>
                    </a:lnTo>
                    <a:lnTo>
                      <a:pt x="91" y="201"/>
                    </a:lnTo>
                    <a:lnTo>
                      <a:pt x="82" y="196"/>
                    </a:lnTo>
                    <a:lnTo>
                      <a:pt x="75" y="191"/>
                    </a:lnTo>
                    <a:lnTo>
                      <a:pt x="68" y="185"/>
                    </a:lnTo>
                    <a:lnTo>
                      <a:pt x="62" y="179"/>
                    </a:lnTo>
                    <a:lnTo>
                      <a:pt x="50" y="165"/>
                    </a:lnTo>
                    <a:lnTo>
                      <a:pt x="42" y="152"/>
                    </a:lnTo>
                    <a:lnTo>
                      <a:pt x="36" y="138"/>
                    </a:lnTo>
                    <a:lnTo>
                      <a:pt x="31" y="126"/>
                    </a:lnTo>
                    <a:lnTo>
                      <a:pt x="24" y="119"/>
                    </a:lnTo>
                    <a:lnTo>
                      <a:pt x="14" y="106"/>
                    </a:lnTo>
                    <a:lnTo>
                      <a:pt x="9" y="100"/>
                    </a:lnTo>
                    <a:lnTo>
                      <a:pt x="5" y="93"/>
                    </a:lnTo>
                    <a:lnTo>
                      <a:pt x="1" y="86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3" y="66"/>
                    </a:lnTo>
                    <a:lnTo>
                      <a:pt x="5" y="61"/>
                    </a:lnTo>
                    <a:lnTo>
                      <a:pt x="8" y="56"/>
                    </a:lnTo>
                    <a:lnTo>
                      <a:pt x="6" y="48"/>
                    </a:lnTo>
                    <a:lnTo>
                      <a:pt x="5" y="38"/>
                    </a:lnTo>
                    <a:lnTo>
                      <a:pt x="4" y="26"/>
                    </a:lnTo>
                    <a:lnTo>
                      <a:pt x="4" y="11"/>
                    </a:lnTo>
                    <a:lnTo>
                      <a:pt x="5" y="6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25" y="2"/>
                    </a:lnTo>
                    <a:lnTo>
                      <a:pt x="27" y="6"/>
                    </a:lnTo>
                    <a:lnTo>
                      <a:pt x="28" y="11"/>
                    </a:lnTo>
                    <a:lnTo>
                      <a:pt x="28" y="28"/>
                    </a:lnTo>
                    <a:lnTo>
                      <a:pt x="31" y="44"/>
                    </a:lnTo>
                    <a:lnTo>
                      <a:pt x="32" y="54"/>
                    </a:lnTo>
                    <a:lnTo>
                      <a:pt x="32" y="57"/>
                    </a:lnTo>
                    <a:lnTo>
                      <a:pt x="32" y="61"/>
                    </a:lnTo>
                    <a:lnTo>
                      <a:pt x="32" y="65"/>
                    </a:lnTo>
                    <a:lnTo>
                      <a:pt x="31" y="67"/>
                    </a:lnTo>
                    <a:lnTo>
                      <a:pt x="28" y="70"/>
                    </a:lnTo>
                    <a:lnTo>
                      <a:pt x="25" y="72"/>
                    </a:lnTo>
                    <a:lnTo>
                      <a:pt x="25" y="76"/>
                    </a:lnTo>
                    <a:lnTo>
                      <a:pt x="26" y="81"/>
                    </a:lnTo>
                    <a:lnTo>
                      <a:pt x="27" y="86"/>
                    </a:lnTo>
                    <a:lnTo>
                      <a:pt x="31" y="89"/>
                    </a:lnTo>
                    <a:lnTo>
                      <a:pt x="35" y="94"/>
                    </a:lnTo>
                    <a:lnTo>
                      <a:pt x="42" y="103"/>
                    </a:lnTo>
                    <a:lnTo>
                      <a:pt x="49" y="110"/>
                    </a:lnTo>
                    <a:lnTo>
                      <a:pt x="52" y="112"/>
                    </a:lnTo>
                    <a:lnTo>
                      <a:pt x="53" y="116"/>
                    </a:lnTo>
                    <a:lnTo>
                      <a:pt x="54" y="120"/>
                    </a:lnTo>
                    <a:lnTo>
                      <a:pt x="58" y="128"/>
                    </a:lnTo>
                    <a:lnTo>
                      <a:pt x="63" y="138"/>
                    </a:lnTo>
                    <a:lnTo>
                      <a:pt x="70" y="150"/>
                    </a:lnTo>
                    <a:lnTo>
                      <a:pt x="75" y="157"/>
                    </a:lnTo>
                    <a:lnTo>
                      <a:pt x="80" y="163"/>
                    </a:lnTo>
                    <a:lnTo>
                      <a:pt x="86" y="169"/>
                    </a:lnTo>
                    <a:lnTo>
                      <a:pt x="93" y="174"/>
                    </a:lnTo>
                    <a:lnTo>
                      <a:pt x="101" y="177"/>
                    </a:lnTo>
                    <a:lnTo>
                      <a:pt x="111" y="181"/>
                    </a:lnTo>
                    <a:lnTo>
                      <a:pt x="119" y="184"/>
                    </a:lnTo>
                    <a:lnTo>
                      <a:pt x="130" y="184"/>
                    </a:lnTo>
                    <a:lnTo>
                      <a:pt x="141" y="184"/>
                    </a:lnTo>
                    <a:lnTo>
                      <a:pt x="150" y="181"/>
                    </a:lnTo>
                    <a:lnTo>
                      <a:pt x="158" y="177"/>
                    </a:lnTo>
                    <a:lnTo>
                      <a:pt x="166" y="174"/>
                    </a:lnTo>
                    <a:lnTo>
                      <a:pt x="173" y="169"/>
                    </a:lnTo>
                    <a:lnTo>
                      <a:pt x="178" y="163"/>
                    </a:lnTo>
                    <a:lnTo>
                      <a:pt x="184" y="157"/>
                    </a:lnTo>
                    <a:lnTo>
                      <a:pt x="188" y="150"/>
                    </a:lnTo>
                    <a:lnTo>
                      <a:pt x="195" y="138"/>
                    </a:lnTo>
                    <a:lnTo>
                      <a:pt x="199" y="128"/>
                    </a:lnTo>
                    <a:lnTo>
                      <a:pt x="201" y="120"/>
                    </a:lnTo>
                    <a:lnTo>
                      <a:pt x="202" y="116"/>
                    </a:lnTo>
                    <a:lnTo>
                      <a:pt x="204" y="112"/>
                    </a:lnTo>
                    <a:lnTo>
                      <a:pt x="207" y="110"/>
                    </a:lnTo>
                    <a:lnTo>
                      <a:pt x="215" y="103"/>
                    </a:lnTo>
                    <a:lnTo>
                      <a:pt x="222" y="94"/>
                    </a:lnTo>
                    <a:lnTo>
                      <a:pt x="226" y="89"/>
                    </a:lnTo>
                    <a:lnTo>
                      <a:pt x="228" y="86"/>
                    </a:lnTo>
                    <a:lnTo>
                      <a:pt x="231" y="81"/>
                    </a:lnTo>
                    <a:lnTo>
                      <a:pt x="232" y="76"/>
                    </a:lnTo>
                    <a:lnTo>
                      <a:pt x="231" y="72"/>
                    </a:lnTo>
                    <a:lnTo>
                      <a:pt x="227" y="70"/>
                    </a:lnTo>
                    <a:lnTo>
                      <a:pt x="226" y="67"/>
                    </a:lnTo>
                    <a:lnTo>
                      <a:pt x="224" y="65"/>
                    </a:lnTo>
                    <a:lnTo>
                      <a:pt x="223" y="61"/>
                    </a:lnTo>
                    <a:lnTo>
                      <a:pt x="223" y="57"/>
                    </a:lnTo>
                    <a:lnTo>
                      <a:pt x="224" y="55"/>
                    </a:lnTo>
                    <a:lnTo>
                      <a:pt x="226" y="45"/>
                    </a:lnTo>
                    <a:lnTo>
                      <a:pt x="227" y="30"/>
                    </a:lnTo>
                    <a:lnTo>
                      <a:pt x="228" y="13"/>
                    </a:lnTo>
                    <a:lnTo>
                      <a:pt x="229" y="8"/>
                    </a:lnTo>
                    <a:lnTo>
                      <a:pt x="232" y="5"/>
                    </a:lnTo>
                    <a:lnTo>
                      <a:pt x="235" y="2"/>
                    </a:lnTo>
                    <a:lnTo>
                      <a:pt x="240" y="1"/>
                    </a:lnTo>
                    <a:lnTo>
                      <a:pt x="244" y="2"/>
                    </a:lnTo>
                    <a:lnTo>
                      <a:pt x="249" y="5"/>
                    </a:lnTo>
                    <a:lnTo>
                      <a:pt x="251" y="8"/>
                    </a:lnTo>
                    <a:lnTo>
                      <a:pt x="251" y="13"/>
                    </a:lnTo>
                    <a:lnTo>
                      <a:pt x="251" y="26"/>
                    </a:lnTo>
                    <a:lnTo>
                      <a:pt x="250" y="38"/>
                    </a:lnTo>
                    <a:lnTo>
                      <a:pt x="249" y="48"/>
                    </a:lnTo>
                    <a:lnTo>
                      <a:pt x="248" y="56"/>
                    </a:lnTo>
                    <a:lnTo>
                      <a:pt x="251" y="61"/>
                    </a:lnTo>
                    <a:lnTo>
                      <a:pt x="254" y="66"/>
                    </a:lnTo>
                    <a:lnTo>
                      <a:pt x="255" y="72"/>
                    </a:lnTo>
                    <a:lnTo>
                      <a:pt x="255" y="78"/>
                    </a:lnTo>
                    <a:lnTo>
                      <a:pt x="254" y="86"/>
                    </a:lnTo>
                    <a:lnTo>
                      <a:pt x="251" y="93"/>
                    </a:lnTo>
                    <a:lnTo>
                      <a:pt x="248" y="100"/>
                    </a:lnTo>
                    <a:lnTo>
                      <a:pt x="243" y="106"/>
                    </a:lnTo>
                    <a:lnTo>
                      <a:pt x="233" y="119"/>
                    </a:lnTo>
                    <a:lnTo>
                      <a:pt x="226" y="126"/>
                    </a:lnTo>
                    <a:lnTo>
                      <a:pt x="221" y="138"/>
                    </a:lnTo>
                    <a:lnTo>
                      <a:pt x="216" y="152"/>
                    </a:lnTo>
                    <a:lnTo>
                      <a:pt x="207" y="165"/>
                    </a:lnTo>
                    <a:lnTo>
                      <a:pt x="197" y="179"/>
                    </a:lnTo>
                    <a:lnTo>
                      <a:pt x="191" y="185"/>
                    </a:lnTo>
                    <a:lnTo>
                      <a:pt x="184" y="191"/>
                    </a:lnTo>
                    <a:lnTo>
                      <a:pt x="177" y="196"/>
                    </a:lnTo>
                    <a:lnTo>
                      <a:pt x="169" y="201"/>
                    </a:lnTo>
                    <a:lnTo>
                      <a:pt x="161" y="203"/>
                    </a:lnTo>
                    <a:lnTo>
                      <a:pt x="151" y="207"/>
                    </a:lnTo>
                    <a:lnTo>
                      <a:pt x="141" y="208"/>
                    </a:lnTo>
                    <a:lnTo>
                      <a:pt x="130" y="209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36" name="Freeform 264"/>
              <p:cNvSpPr>
                <a:spLocks/>
              </p:cNvSpPr>
              <p:nvPr/>
            </p:nvSpPr>
            <p:spPr bwMode="auto">
              <a:xfrm>
                <a:off x="3365500" y="5597525"/>
                <a:ext cx="11113" cy="39688"/>
              </a:xfrm>
              <a:custGeom>
                <a:avLst/>
                <a:gdLst>
                  <a:gd name="T0" fmla="*/ 14 w 26"/>
                  <a:gd name="T1" fmla="*/ 100 h 100"/>
                  <a:gd name="T2" fmla="*/ 10 w 26"/>
                  <a:gd name="T3" fmla="*/ 100 h 100"/>
                  <a:gd name="T4" fmla="*/ 6 w 26"/>
                  <a:gd name="T5" fmla="*/ 98 h 100"/>
                  <a:gd name="T6" fmla="*/ 3 w 26"/>
                  <a:gd name="T7" fmla="*/ 94 h 100"/>
                  <a:gd name="T8" fmla="*/ 2 w 26"/>
                  <a:gd name="T9" fmla="*/ 89 h 100"/>
                  <a:gd name="T10" fmla="*/ 0 w 26"/>
                  <a:gd name="T11" fmla="*/ 11 h 100"/>
                  <a:gd name="T12" fmla="*/ 1 w 26"/>
                  <a:gd name="T13" fmla="*/ 6 h 100"/>
                  <a:gd name="T14" fmla="*/ 3 w 26"/>
                  <a:gd name="T15" fmla="*/ 2 h 100"/>
                  <a:gd name="T16" fmla="*/ 7 w 26"/>
                  <a:gd name="T17" fmla="*/ 0 h 100"/>
                  <a:gd name="T18" fmla="*/ 12 w 26"/>
                  <a:gd name="T19" fmla="*/ 0 h 100"/>
                  <a:gd name="T20" fmla="*/ 17 w 26"/>
                  <a:gd name="T21" fmla="*/ 0 h 100"/>
                  <a:gd name="T22" fmla="*/ 21 w 26"/>
                  <a:gd name="T23" fmla="*/ 2 h 100"/>
                  <a:gd name="T24" fmla="*/ 23 w 26"/>
                  <a:gd name="T25" fmla="*/ 6 h 100"/>
                  <a:gd name="T26" fmla="*/ 24 w 26"/>
                  <a:gd name="T27" fmla="*/ 11 h 100"/>
                  <a:gd name="T28" fmla="*/ 26 w 26"/>
                  <a:gd name="T29" fmla="*/ 87 h 100"/>
                  <a:gd name="T30" fmla="*/ 26 w 26"/>
                  <a:gd name="T31" fmla="*/ 92 h 100"/>
                  <a:gd name="T32" fmla="*/ 23 w 26"/>
                  <a:gd name="T33" fmla="*/ 97 h 100"/>
                  <a:gd name="T34" fmla="*/ 19 w 26"/>
                  <a:gd name="T35" fmla="*/ 99 h 100"/>
                  <a:gd name="T36" fmla="*/ 14 w 26"/>
                  <a:gd name="T37" fmla="*/ 100 h 100"/>
                  <a:gd name="T38" fmla="*/ 14 w 26"/>
                  <a:gd name="T39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6" h="100">
                    <a:moveTo>
                      <a:pt x="14" y="100"/>
                    </a:moveTo>
                    <a:lnTo>
                      <a:pt x="10" y="100"/>
                    </a:lnTo>
                    <a:lnTo>
                      <a:pt x="6" y="98"/>
                    </a:lnTo>
                    <a:lnTo>
                      <a:pt x="3" y="94"/>
                    </a:lnTo>
                    <a:lnTo>
                      <a:pt x="2" y="89"/>
                    </a:lnTo>
                    <a:lnTo>
                      <a:pt x="0" y="11"/>
                    </a:lnTo>
                    <a:lnTo>
                      <a:pt x="1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6"/>
                    </a:lnTo>
                    <a:lnTo>
                      <a:pt x="24" y="11"/>
                    </a:lnTo>
                    <a:lnTo>
                      <a:pt x="26" y="87"/>
                    </a:lnTo>
                    <a:lnTo>
                      <a:pt x="26" y="92"/>
                    </a:lnTo>
                    <a:lnTo>
                      <a:pt x="23" y="97"/>
                    </a:lnTo>
                    <a:lnTo>
                      <a:pt x="19" y="99"/>
                    </a:lnTo>
                    <a:lnTo>
                      <a:pt x="14" y="100"/>
                    </a:lnTo>
                    <a:lnTo>
                      <a:pt x="14" y="10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37" name="Freeform 265"/>
              <p:cNvSpPr>
                <a:spLocks/>
              </p:cNvSpPr>
              <p:nvPr/>
            </p:nvSpPr>
            <p:spPr bwMode="auto">
              <a:xfrm>
                <a:off x="3430588" y="5597525"/>
                <a:ext cx="9525" cy="39688"/>
              </a:xfrm>
              <a:custGeom>
                <a:avLst/>
                <a:gdLst>
                  <a:gd name="T0" fmla="*/ 13 w 26"/>
                  <a:gd name="T1" fmla="*/ 100 h 100"/>
                  <a:gd name="T2" fmla="*/ 13 w 26"/>
                  <a:gd name="T3" fmla="*/ 100 h 100"/>
                  <a:gd name="T4" fmla="*/ 8 w 26"/>
                  <a:gd name="T5" fmla="*/ 99 h 100"/>
                  <a:gd name="T6" fmla="*/ 4 w 26"/>
                  <a:gd name="T7" fmla="*/ 97 h 100"/>
                  <a:gd name="T8" fmla="*/ 2 w 26"/>
                  <a:gd name="T9" fmla="*/ 92 h 100"/>
                  <a:gd name="T10" fmla="*/ 0 w 26"/>
                  <a:gd name="T11" fmla="*/ 87 h 100"/>
                  <a:gd name="T12" fmla="*/ 3 w 26"/>
                  <a:gd name="T13" fmla="*/ 11 h 100"/>
                  <a:gd name="T14" fmla="*/ 4 w 26"/>
                  <a:gd name="T15" fmla="*/ 6 h 100"/>
                  <a:gd name="T16" fmla="*/ 7 w 26"/>
                  <a:gd name="T17" fmla="*/ 2 h 100"/>
                  <a:gd name="T18" fmla="*/ 10 w 26"/>
                  <a:gd name="T19" fmla="*/ 0 h 100"/>
                  <a:gd name="T20" fmla="*/ 15 w 26"/>
                  <a:gd name="T21" fmla="*/ 0 h 100"/>
                  <a:gd name="T22" fmla="*/ 15 w 26"/>
                  <a:gd name="T23" fmla="*/ 0 h 100"/>
                  <a:gd name="T24" fmla="*/ 19 w 26"/>
                  <a:gd name="T25" fmla="*/ 0 h 100"/>
                  <a:gd name="T26" fmla="*/ 24 w 26"/>
                  <a:gd name="T27" fmla="*/ 2 h 100"/>
                  <a:gd name="T28" fmla="*/ 26 w 26"/>
                  <a:gd name="T29" fmla="*/ 6 h 100"/>
                  <a:gd name="T30" fmla="*/ 26 w 26"/>
                  <a:gd name="T31" fmla="*/ 11 h 100"/>
                  <a:gd name="T32" fmla="*/ 25 w 26"/>
                  <a:gd name="T33" fmla="*/ 89 h 100"/>
                  <a:gd name="T34" fmla="*/ 24 w 26"/>
                  <a:gd name="T35" fmla="*/ 94 h 100"/>
                  <a:gd name="T36" fmla="*/ 21 w 26"/>
                  <a:gd name="T37" fmla="*/ 98 h 100"/>
                  <a:gd name="T38" fmla="*/ 18 w 26"/>
                  <a:gd name="T39" fmla="*/ 100 h 100"/>
                  <a:gd name="T40" fmla="*/ 13 w 26"/>
                  <a:gd name="T41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100">
                    <a:moveTo>
                      <a:pt x="13" y="100"/>
                    </a:moveTo>
                    <a:lnTo>
                      <a:pt x="13" y="100"/>
                    </a:lnTo>
                    <a:lnTo>
                      <a:pt x="8" y="99"/>
                    </a:lnTo>
                    <a:lnTo>
                      <a:pt x="4" y="97"/>
                    </a:lnTo>
                    <a:lnTo>
                      <a:pt x="2" y="92"/>
                    </a:lnTo>
                    <a:lnTo>
                      <a:pt x="0" y="87"/>
                    </a:lnTo>
                    <a:lnTo>
                      <a:pt x="3" y="11"/>
                    </a:lnTo>
                    <a:lnTo>
                      <a:pt x="4" y="6"/>
                    </a:lnTo>
                    <a:lnTo>
                      <a:pt x="7" y="2"/>
                    </a:lnTo>
                    <a:lnTo>
                      <a:pt x="10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4" y="2"/>
                    </a:lnTo>
                    <a:lnTo>
                      <a:pt x="26" y="6"/>
                    </a:lnTo>
                    <a:lnTo>
                      <a:pt x="26" y="11"/>
                    </a:lnTo>
                    <a:lnTo>
                      <a:pt x="25" y="89"/>
                    </a:lnTo>
                    <a:lnTo>
                      <a:pt x="24" y="94"/>
                    </a:lnTo>
                    <a:lnTo>
                      <a:pt x="21" y="98"/>
                    </a:lnTo>
                    <a:lnTo>
                      <a:pt x="18" y="100"/>
                    </a:lnTo>
                    <a:lnTo>
                      <a:pt x="13" y="10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38" name="Freeform 266"/>
              <p:cNvSpPr>
                <a:spLocks/>
              </p:cNvSpPr>
              <p:nvPr/>
            </p:nvSpPr>
            <p:spPr bwMode="auto">
              <a:xfrm>
                <a:off x="3321050" y="6137275"/>
                <a:ext cx="66675" cy="30163"/>
              </a:xfrm>
              <a:custGeom>
                <a:avLst/>
                <a:gdLst>
                  <a:gd name="T0" fmla="*/ 0 w 167"/>
                  <a:gd name="T1" fmla="*/ 74 h 74"/>
                  <a:gd name="T2" fmla="*/ 8 w 167"/>
                  <a:gd name="T3" fmla="*/ 62 h 74"/>
                  <a:gd name="T4" fmla="*/ 16 w 167"/>
                  <a:gd name="T5" fmla="*/ 50 h 74"/>
                  <a:gd name="T6" fmla="*/ 26 w 167"/>
                  <a:gd name="T7" fmla="*/ 40 h 74"/>
                  <a:gd name="T8" fmla="*/ 36 w 167"/>
                  <a:gd name="T9" fmla="*/ 30 h 74"/>
                  <a:gd name="T10" fmla="*/ 46 w 167"/>
                  <a:gd name="T11" fmla="*/ 22 h 74"/>
                  <a:gd name="T12" fmla="*/ 57 w 167"/>
                  <a:gd name="T13" fmla="*/ 13 h 74"/>
                  <a:gd name="T14" fmla="*/ 69 w 167"/>
                  <a:gd name="T15" fmla="*/ 6 h 74"/>
                  <a:gd name="T16" fmla="*/ 82 w 167"/>
                  <a:gd name="T17" fmla="*/ 0 h 74"/>
                  <a:gd name="T18" fmla="*/ 167 w 167"/>
                  <a:gd name="T19" fmla="*/ 0 h 74"/>
                  <a:gd name="T20" fmla="*/ 167 w 167"/>
                  <a:gd name="T21" fmla="*/ 74 h 74"/>
                  <a:gd name="T22" fmla="*/ 0 w 167"/>
                  <a:gd name="T23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7" h="74">
                    <a:moveTo>
                      <a:pt x="0" y="74"/>
                    </a:moveTo>
                    <a:lnTo>
                      <a:pt x="8" y="62"/>
                    </a:lnTo>
                    <a:lnTo>
                      <a:pt x="16" y="50"/>
                    </a:lnTo>
                    <a:lnTo>
                      <a:pt x="26" y="40"/>
                    </a:lnTo>
                    <a:lnTo>
                      <a:pt x="36" y="30"/>
                    </a:lnTo>
                    <a:lnTo>
                      <a:pt x="46" y="22"/>
                    </a:lnTo>
                    <a:lnTo>
                      <a:pt x="57" y="13"/>
                    </a:lnTo>
                    <a:lnTo>
                      <a:pt x="69" y="6"/>
                    </a:lnTo>
                    <a:lnTo>
                      <a:pt x="82" y="0"/>
                    </a:lnTo>
                    <a:lnTo>
                      <a:pt x="167" y="0"/>
                    </a:lnTo>
                    <a:lnTo>
                      <a:pt x="167" y="74"/>
                    </a:lnTo>
                    <a:lnTo>
                      <a:pt x="0" y="7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39" name="Freeform 267"/>
              <p:cNvSpPr>
                <a:spLocks noEditPoints="1"/>
              </p:cNvSpPr>
              <p:nvPr/>
            </p:nvSpPr>
            <p:spPr bwMode="auto">
              <a:xfrm>
                <a:off x="3316288" y="6134100"/>
                <a:ext cx="76200" cy="38100"/>
              </a:xfrm>
              <a:custGeom>
                <a:avLst/>
                <a:gdLst>
                  <a:gd name="T0" fmla="*/ 34 w 191"/>
                  <a:gd name="T1" fmla="*/ 73 h 99"/>
                  <a:gd name="T2" fmla="*/ 167 w 191"/>
                  <a:gd name="T3" fmla="*/ 73 h 99"/>
                  <a:gd name="T4" fmla="*/ 167 w 191"/>
                  <a:gd name="T5" fmla="*/ 22 h 99"/>
                  <a:gd name="T6" fmla="*/ 97 w 191"/>
                  <a:gd name="T7" fmla="*/ 22 h 99"/>
                  <a:gd name="T8" fmla="*/ 87 w 191"/>
                  <a:gd name="T9" fmla="*/ 27 h 99"/>
                  <a:gd name="T10" fmla="*/ 78 w 191"/>
                  <a:gd name="T11" fmla="*/ 32 h 99"/>
                  <a:gd name="T12" fmla="*/ 70 w 191"/>
                  <a:gd name="T13" fmla="*/ 38 h 99"/>
                  <a:gd name="T14" fmla="*/ 63 w 191"/>
                  <a:gd name="T15" fmla="*/ 44 h 99"/>
                  <a:gd name="T16" fmla="*/ 54 w 191"/>
                  <a:gd name="T17" fmla="*/ 50 h 99"/>
                  <a:gd name="T18" fmla="*/ 47 w 191"/>
                  <a:gd name="T19" fmla="*/ 57 h 99"/>
                  <a:gd name="T20" fmla="*/ 40 w 191"/>
                  <a:gd name="T21" fmla="*/ 66 h 99"/>
                  <a:gd name="T22" fmla="*/ 34 w 191"/>
                  <a:gd name="T23" fmla="*/ 73 h 99"/>
                  <a:gd name="T24" fmla="*/ 179 w 191"/>
                  <a:gd name="T25" fmla="*/ 99 h 99"/>
                  <a:gd name="T26" fmla="*/ 12 w 191"/>
                  <a:gd name="T27" fmla="*/ 99 h 99"/>
                  <a:gd name="T28" fmla="*/ 10 w 191"/>
                  <a:gd name="T29" fmla="*/ 98 h 99"/>
                  <a:gd name="T30" fmla="*/ 6 w 191"/>
                  <a:gd name="T31" fmla="*/ 97 h 99"/>
                  <a:gd name="T32" fmla="*/ 4 w 191"/>
                  <a:gd name="T33" fmla="*/ 95 h 99"/>
                  <a:gd name="T34" fmla="*/ 3 w 191"/>
                  <a:gd name="T35" fmla="*/ 92 h 99"/>
                  <a:gd name="T36" fmla="*/ 1 w 191"/>
                  <a:gd name="T37" fmla="*/ 89 h 99"/>
                  <a:gd name="T38" fmla="*/ 0 w 191"/>
                  <a:gd name="T39" fmla="*/ 87 h 99"/>
                  <a:gd name="T40" fmla="*/ 1 w 191"/>
                  <a:gd name="T41" fmla="*/ 84 h 99"/>
                  <a:gd name="T42" fmla="*/ 3 w 191"/>
                  <a:gd name="T43" fmla="*/ 81 h 99"/>
                  <a:gd name="T44" fmla="*/ 10 w 191"/>
                  <a:gd name="T45" fmla="*/ 67 h 99"/>
                  <a:gd name="T46" fmla="*/ 20 w 191"/>
                  <a:gd name="T47" fmla="*/ 54 h 99"/>
                  <a:gd name="T48" fmla="*/ 29 w 191"/>
                  <a:gd name="T49" fmla="*/ 43 h 99"/>
                  <a:gd name="T50" fmla="*/ 39 w 191"/>
                  <a:gd name="T51" fmla="*/ 32 h 99"/>
                  <a:gd name="T52" fmla="*/ 50 w 191"/>
                  <a:gd name="T53" fmla="*/ 22 h 99"/>
                  <a:gd name="T54" fmla="*/ 63 w 191"/>
                  <a:gd name="T55" fmla="*/ 13 h 99"/>
                  <a:gd name="T56" fmla="*/ 76 w 191"/>
                  <a:gd name="T57" fmla="*/ 6 h 99"/>
                  <a:gd name="T58" fmla="*/ 89 w 191"/>
                  <a:gd name="T59" fmla="*/ 0 h 99"/>
                  <a:gd name="T60" fmla="*/ 92 w 191"/>
                  <a:gd name="T61" fmla="*/ 0 h 99"/>
                  <a:gd name="T62" fmla="*/ 94 w 191"/>
                  <a:gd name="T63" fmla="*/ 0 h 99"/>
                  <a:gd name="T64" fmla="*/ 179 w 191"/>
                  <a:gd name="T65" fmla="*/ 0 h 99"/>
                  <a:gd name="T66" fmla="*/ 184 w 191"/>
                  <a:gd name="T67" fmla="*/ 0 h 99"/>
                  <a:gd name="T68" fmla="*/ 187 w 191"/>
                  <a:gd name="T69" fmla="*/ 2 h 99"/>
                  <a:gd name="T70" fmla="*/ 190 w 191"/>
                  <a:gd name="T71" fmla="*/ 6 h 99"/>
                  <a:gd name="T72" fmla="*/ 191 w 191"/>
                  <a:gd name="T73" fmla="*/ 11 h 99"/>
                  <a:gd name="T74" fmla="*/ 191 w 191"/>
                  <a:gd name="T75" fmla="*/ 85 h 99"/>
                  <a:gd name="T76" fmla="*/ 190 w 191"/>
                  <a:gd name="T77" fmla="*/ 90 h 99"/>
                  <a:gd name="T78" fmla="*/ 187 w 191"/>
                  <a:gd name="T79" fmla="*/ 94 h 99"/>
                  <a:gd name="T80" fmla="*/ 184 w 191"/>
                  <a:gd name="T81" fmla="*/ 98 h 99"/>
                  <a:gd name="T82" fmla="*/ 179 w 191"/>
                  <a:gd name="T83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1" h="99">
                    <a:moveTo>
                      <a:pt x="34" y="73"/>
                    </a:moveTo>
                    <a:lnTo>
                      <a:pt x="167" y="73"/>
                    </a:lnTo>
                    <a:lnTo>
                      <a:pt x="167" y="22"/>
                    </a:lnTo>
                    <a:lnTo>
                      <a:pt x="97" y="22"/>
                    </a:lnTo>
                    <a:lnTo>
                      <a:pt x="87" y="27"/>
                    </a:lnTo>
                    <a:lnTo>
                      <a:pt x="78" y="32"/>
                    </a:lnTo>
                    <a:lnTo>
                      <a:pt x="70" y="38"/>
                    </a:lnTo>
                    <a:lnTo>
                      <a:pt x="63" y="44"/>
                    </a:lnTo>
                    <a:lnTo>
                      <a:pt x="54" y="50"/>
                    </a:lnTo>
                    <a:lnTo>
                      <a:pt x="47" y="57"/>
                    </a:lnTo>
                    <a:lnTo>
                      <a:pt x="40" y="66"/>
                    </a:lnTo>
                    <a:lnTo>
                      <a:pt x="34" y="73"/>
                    </a:lnTo>
                    <a:close/>
                    <a:moveTo>
                      <a:pt x="179" y="99"/>
                    </a:moveTo>
                    <a:lnTo>
                      <a:pt x="12" y="99"/>
                    </a:lnTo>
                    <a:lnTo>
                      <a:pt x="10" y="98"/>
                    </a:lnTo>
                    <a:lnTo>
                      <a:pt x="6" y="97"/>
                    </a:lnTo>
                    <a:lnTo>
                      <a:pt x="4" y="95"/>
                    </a:lnTo>
                    <a:lnTo>
                      <a:pt x="3" y="92"/>
                    </a:lnTo>
                    <a:lnTo>
                      <a:pt x="1" y="89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1"/>
                    </a:lnTo>
                    <a:lnTo>
                      <a:pt x="10" y="67"/>
                    </a:lnTo>
                    <a:lnTo>
                      <a:pt x="20" y="54"/>
                    </a:lnTo>
                    <a:lnTo>
                      <a:pt x="29" y="43"/>
                    </a:lnTo>
                    <a:lnTo>
                      <a:pt x="39" y="32"/>
                    </a:lnTo>
                    <a:lnTo>
                      <a:pt x="50" y="22"/>
                    </a:lnTo>
                    <a:lnTo>
                      <a:pt x="63" y="13"/>
                    </a:lnTo>
                    <a:lnTo>
                      <a:pt x="76" y="6"/>
                    </a:lnTo>
                    <a:lnTo>
                      <a:pt x="89" y="0"/>
                    </a:lnTo>
                    <a:lnTo>
                      <a:pt x="92" y="0"/>
                    </a:lnTo>
                    <a:lnTo>
                      <a:pt x="94" y="0"/>
                    </a:lnTo>
                    <a:lnTo>
                      <a:pt x="179" y="0"/>
                    </a:lnTo>
                    <a:lnTo>
                      <a:pt x="184" y="0"/>
                    </a:lnTo>
                    <a:lnTo>
                      <a:pt x="187" y="2"/>
                    </a:lnTo>
                    <a:lnTo>
                      <a:pt x="190" y="6"/>
                    </a:lnTo>
                    <a:lnTo>
                      <a:pt x="191" y="11"/>
                    </a:lnTo>
                    <a:lnTo>
                      <a:pt x="191" y="85"/>
                    </a:lnTo>
                    <a:lnTo>
                      <a:pt x="190" y="90"/>
                    </a:lnTo>
                    <a:lnTo>
                      <a:pt x="187" y="94"/>
                    </a:lnTo>
                    <a:lnTo>
                      <a:pt x="184" y="98"/>
                    </a:lnTo>
                    <a:lnTo>
                      <a:pt x="179" y="99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0" name="Freeform 268"/>
              <p:cNvSpPr>
                <a:spLocks/>
              </p:cNvSpPr>
              <p:nvPr/>
            </p:nvSpPr>
            <p:spPr bwMode="auto">
              <a:xfrm>
                <a:off x="3417888" y="6137275"/>
                <a:ext cx="65088" cy="30163"/>
              </a:xfrm>
              <a:custGeom>
                <a:avLst/>
                <a:gdLst>
                  <a:gd name="T0" fmla="*/ 166 w 166"/>
                  <a:gd name="T1" fmla="*/ 74 h 74"/>
                  <a:gd name="T2" fmla="*/ 159 w 166"/>
                  <a:gd name="T3" fmla="*/ 62 h 74"/>
                  <a:gd name="T4" fmla="*/ 150 w 166"/>
                  <a:gd name="T5" fmla="*/ 50 h 74"/>
                  <a:gd name="T6" fmla="*/ 142 w 166"/>
                  <a:gd name="T7" fmla="*/ 40 h 74"/>
                  <a:gd name="T8" fmla="*/ 132 w 166"/>
                  <a:gd name="T9" fmla="*/ 30 h 74"/>
                  <a:gd name="T10" fmla="*/ 121 w 166"/>
                  <a:gd name="T11" fmla="*/ 22 h 74"/>
                  <a:gd name="T12" fmla="*/ 110 w 166"/>
                  <a:gd name="T13" fmla="*/ 13 h 74"/>
                  <a:gd name="T14" fmla="*/ 98 w 166"/>
                  <a:gd name="T15" fmla="*/ 6 h 74"/>
                  <a:gd name="T16" fmla="*/ 85 w 166"/>
                  <a:gd name="T17" fmla="*/ 0 h 74"/>
                  <a:gd name="T18" fmla="*/ 0 w 166"/>
                  <a:gd name="T19" fmla="*/ 0 h 74"/>
                  <a:gd name="T20" fmla="*/ 0 w 166"/>
                  <a:gd name="T21" fmla="*/ 74 h 74"/>
                  <a:gd name="T22" fmla="*/ 166 w 166"/>
                  <a:gd name="T23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6" h="74">
                    <a:moveTo>
                      <a:pt x="166" y="74"/>
                    </a:moveTo>
                    <a:lnTo>
                      <a:pt x="159" y="62"/>
                    </a:lnTo>
                    <a:lnTo>
                      <a:pt x="150" y="50"/>
                    </a:lnTo>
                    <a:lnTo>
                      <a:pt x="142" y="40"/>
                    </a:lnTo>
                    <a:lnTo>
                      <a:pt x="132" y="30"/>
                    </a:lnTo>
                    <a:lnTo>
                      <a:pt x="121" y="22"/>
                    </a:lnTo>
                    <a:lnTo>
                      <a:pt x="110" y="13"/>
                    </a:lnTo>
                    <a:lnTo>
                      <a:pt x="98" y="6"/>
                    </a:lnTo>
                    <a:lnTo>
                      <a:pt x="85" y="0"/>
                    </a:lnTo>
                    <a:lnTo>
                      <a:pt x="0" y="0"/>
                    </a:lnTo>
                    <a:lnTo>
                      <a:pt x="0" y="74"/>
                    </a:lnTo>
                    <a:lnTo>
                      <a:pt x="166" y="7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1" name="Freeform 269"/>
              <p:cNvSpPr>
                <a:spLocks noEditPoints="1"/>
              </p:cNvSpPr>
              <p:nvPr/>
            </p:nvSpPr>
            <p:spPr bwMode="auto">
              <a:xfrm>
                <a:off x="3413125" y="6134100"/>
                <a:ext cx="74613" cy="38100"/>
              </a:xfrm>
              <a:custGeom>
                <a:avLst/>
                <a:gdLst>
                  <a:gd name="T0" fmla="*/ 23 w 189"/>
                  <a:gd name="T1" fmla="*/ 73 h 99"/>
                  <a:gd name="T2" fmla="*/ 156 w 189"/>
                  <a:gd name="T3" fmla="*/ 73 h 99"/>
                  <a:gd name="T4" fmla="*/ 143 w 189"/>
                  <a:gd name="T5" fmla="*/ 57 h 99"/>
                  <a:gd name="T6" fmla="*/ 128 w 189"/>
                  <a:gd name="T7" fmla="*/ 44 h 99"/>
                  <a:gd name="T8" fmla="*/ 120 w 189"/>
                  <a:gd name="T9" fmla="*/ 38 h 99"/>
                  <a:gd name="T10" fmla="*/ 111 w 189"/>
                  <a:gd name="T11" fmla="*/ 32 h 99"/>
                  <a:gd name="T12" fmla="*/ 103 w 189"/>
                  <a:gd name="T13" fmla="*/ 27 h 99"/>
                  <a:gd name="T14" fmla="*/ 94 w 189"/>
                  <a:gd name="T15" fmla="*/ 22 h 99"/>
                  <a:gd name="T16" fmla="*/ 23 w 189"/>
                  <a:gd name="T17" fmla="*/ 22 h 99"/>
                  <a:gd name="T18" fmla="*/ 23 w 189"/>
                  <a:gd name="T19" fmla="*/ 73 h 99"/>
                  <a:gd name="T20" fmla="*/ 177 w 189"/>
                  <a:gd name="T21" fmla="*/ 99 h 99"/>
                  <a:gd name="T22" fmla="*/ 11 w 189"/>
                  <a:gd name="T23" fmla="*/ 99 h 99"/>
                  <a:gd name="T24" fmla="*/ 7 w 189"/>
                  <a:gd name="T25" fmla="*/ 98 h 99"/>
                  <a:gd name="T26" fmla="*/ 3 w 189"/>
                  <a:gd name="T27" fmla="*/ 94 h 99"/>
                  <a:gd name="T28" fmla="*/ 1 w 189"/>
                  <a:gd name="T29" fmla="*/ 90 h 99"/>
                  <a:gd name="T30" fmla="*/ 0 w 189"/>
                  <a:gd name="T31" fmla="*/ 85 h 99"/>
                  <a:gd name="T32" fmla="*/ 0 w 189"/>
                  <a:gd name="T33" fmla="*/ 11 h 99"/>
                  <a:gd name="T34" fmla="*/ 1 w 189"/>
                  <a:gd name="T35" fmla="*/ 6 h 99"/>
                  <a:gd name="T36" fmla="*/ 3 w 189"/>
                  <a:gd name="T37" fmla="*/ 2 h 99"/>
                  <a:gd name="T38" fmla="*/ 7 w 189"/>
                  <a:gd name="T39" fmla="*/ 0 h 99"/>
                  <a:gd name="T40" fmla="*/ 11 w 189"/>
                  <a:gd name="T41" fmla="*/ 0 h 99"/>
                  <a:gd name="T42" fmla="*/ 96 w 189"/>
                  <a:gd name="T43" fmla="*/ 0 h 99"/>
                  <a:gd name="T44" fmla="*/ 99 w 189"/>
                  <a:gd name="T45" fmla="*/ 0 h 99"/>
                  <a:gd name="T46" fmla="*/ 101 w 189"/>
                  <a:gd name="T47" fmla="*/ 0 h 99"/>
                  <a:gd name="T48" fmla="*/ 115 w 189"/>
                  <a:gd name="T49" fmla="*/ 6 h 99"/>
                  <a:gd name="T50" fmla="*/ 127 w 189"/>
                  <a:gd name="T51" fmla="*/ 13 h 99"/>
                  <a:gd name="T52" fmla="*/ 139 w 189"/>
                  <a:gd name="T53" fmla="*/ 22 h 99"/>
                  <a:gd name="T54" fmla="*/ 150 w 189"/>
                  <a:gd name="T55" fmla="*/ 32 h 99"/>
                  <a:gd name="T56" fmla="*/ 161 w 189"/>
                  <a:gd name="T57" fmla="*/ 43 h 99"/>
                  <a:gd name="T58" fmla="*/ 171 w 189"/>
                  <a:gd name="T59" fmla="*/ 54 h 99"/>
                  <a:gd name="T60" fmla="*/ 180 w 189"/>
                  <a:gd name="T61" fmla="*/ 67 h 99"/>
                  <a:gd name="T62" fmla="*/ 188 w 189"/>
                  <a:gd name="T63" fmla="*/ 81 h 99"/>
                  <a:gd name="T64" fmla="*/ 189 w 189"/>
                  <a:gd name="T65" fmla="*/ 84 h 99"/>
                  <a:gd name="T66" fmla="*/ 189 w 189"/>
                  <a:gd name="T67" fmla="*/ 87 h 99"/>
                  <a:gd name="T68" fmla="*/ 189 w 189"/>
                  <a:gd name="T69" fmla="*/ 89 h 99"/>
                  <a:gd name="T70" fmla="*/ 188 w 189"/>
                  <a:gd name="T71" fmla="*/ 92 h 99"/>
                  <a:gd name="T72" fmla="*/ 186 w 189"/>
                  <a:gd name="T73" fmla="*/ 95 h 99"/>
                  <a:gd name="T74" fmla="*/ 183 w 189"/>
                  <a:gd name="T75" fmla="*/ 97 h 99"/>
                  <a:gd name="T76" fmla="*/ 181 w 189"/>
                  <a:gd name="T77" fmla="*/ 98 h 99"/>
                  <a:gd name="T78" fmla="*/ 177 w 189"/>
                  <a:gd name="T79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9" h="99">
                    <a:moveTo>
                      <a:pt x="23" y="73"/>
                    </a:moveTo>
                    <a:lnTo>
                      <a:pt x="156" y="73"/>
                    </a:lnTo>
                    <a:lnTo>
                      <a:pt x="143" y="57"/>
                    </a:lnTo>
                    <a:lnTo>
                      <a:pt x="128" y="44"/>
                    </a:lnTo>
                    <a:lnTo>
                      <a:pt x="120" y="38"/>
                    </a:lnTo>
                    <a:lnTo>
                      <a:pt x="111" y="32"/>
                    </a:lnTo>
                    <a:lnTo>
                      <a:pt x="103" y="27"/>
                    </a:lnTo>
                    <a:lnTo>
                      <a:pt x="94" y="22"/>
                    </a:lnTo>
                    <a:lnTo>
                      <a:pt x="23" y="22"/>
                    </a:lnTo>
                    <a:lnTo>
                      <a:pt x="23" y="73"/>
                    </a:lnTo>
                    <a:close/>
                    <a:moveTo>
                      <a:pt x="177" y="99"/>
                    </a:moveTo>
                    <a:lnTo>
                      <a:pt x="11" y="99"/>
                    </a:lnTo>
                    <a:lnTo>
                      <a:pt x="7" y="98"/>
                    </a:lnTo>
                    <a:lnTo>
                      <a:pt x="3" y="94"/>
                    </a:lnTo>
                    <a:lnTo>
                      <a:pt x="1" y="90"/>
                    </a:lnTo>
                    <a:lnTo>
                      <a:pt x="0" y="85"/>
                    </a:lnTo>
                    <a:lnTo>
                      <a:pt x="0" y="11"/>
                    </a:lnTo>
                    <a:lnTo>
                      <a:pt x="1" y="6"/>
                    </a:lnTo>
                    <a:lnTo>
                      <a:pt x="3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96" y="0"/>
                    </a:lnTo>
                    <a:lnTo>
                      <a:pt x="99" y="0"/>
                    </a:lnTo>
                    <a:lnTo>
                      <a:pt x="101" y="0"/>
                    </a:lnTo>
                    <a:lnTo>
                      <a:pt x="115" y="6"/>
                    </a:lnTo>
                    <a:lnTo>
                      <a:pt x="127" y="13"/>
                    </a:lnTo>
                    <a:lnTo>
                      <a:pt x="139" y="22"/>
                    </a:lnTo>
                    <a:lnTo>
                      <a:pt x="150" y="32"/>
                    </a:lnTo>
                    <a:lnTo>
                      <a:pt x="161" y="43"/>
                    </a:lnTo>
                    <a:lnTo>
                      <a:pt x="171" y="54"/>
                    </a:lnTo>
                    <a:lnTo>
                      <a:pt x="180" y="67"/>
                    </a:lnTo>
                    <a:lnTo>
                      <a:pt x="188" y="81"/>
                    </a:lnTo>
                    <a:lnTo>
                      <a:pt x="189" y="84"/>
                    </a:lnTo>
                    <a:lnTo>
                      <a:pt x="189" y="87"/>
                    </a:lnTo>
                    <a:lnTo>
                      <a:pt x="189" y="89"/>
                    </a:lnTo>
                    <a:lnTo>
                      <a:pt x="188" y="92"/>
                    </a:lnTo>
                    <a:lnTo>
                      <a:pt x="186" y="95"/>
                    </a:lnTo>
                    <a:lnTo>
                      <a:pt x="183" y="97"/>
                    </a:lnTo>
                    <a:lnTo>
                      <a:pt x="181" y="98"/>
                    </a:lnTo>
                    <a:lnTo>
                      <a:pt x="177" y="99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2" name="Freeform 270"/>
              <p:cNvSpPr>
                <a:spLocks/>
              </p:cNvSpPr>
              <p:nvPr/>
            </p:nvSpPr>
            <p:spPr bwMode="auto">
              <a:xfrm>
                <a:off x="3302000" y="5707063"/>
                <a:ext cx="34925" cy="57150"/>
              </a:xfrm>
              <a:custGeom>
                <a:avLst/>
                <a:gdLst>
                  <a:gd name="T0" fmla="*/ 11 w 88"/>
                  <a:gd name="T1" fmla="*/ 144 h 144"/>
                  <a:gd name="T2" fmla="*/ 8 w 88"/>
                  <a:gd name="T3" fmla="*/ 144 h 144"/>
                  <a:gd name="T4" fmla="*/ 6 w 88"/>
                  <a:gd name="T5" fmla="*/ 142 h 144"/>
                  <a:gd name="T6" fmla="*/ 2 w 88"/>
                  <a:gd name="T7" fmla="*/ 140 h 144"/>
                  <a:gd name="T8" fmla="*/ 0 w 88"/>
                  <a:gd name="T9" fmla="*/ 136 h 144"/>
                  <a:gd name="T10" fmla="*/ 0 w 88"/>
                  <a:gd name="T11" fmla="*/ 131 h 144"/>
                  <a:gd name="T12" fmla="*/ 1 w 88"/>
                  <a:gd name="T13" fmla="*/ 126 h 144"/>
                  <a:gd name="T14" fmla="*/ 64 w 88"/>
                  <a:gd name="T15" fmla="*/ 7 h 144"/>
                  <a:gd name="T16" fmla="*/ 67 w 88"/>
                  <a:gd name="T17" fmla="*/ 2 h 144"/>
                  <a:gd name="T18" fmla="*/ 71 w 88"/>
                  <a:gd name="T19" fmla="*/ 0 h 144"/>
                  <a:gd name="T20" fmla="*/ 74 w 88"/>
                  <a:gd name="T21" fmla="*/ 0 h 144"/>
                  <a:gd name="T22" fmla="*/ 78 w 88"/>
                  <a:gd name="T23" fmla="*/ 0 h 144"/>
                  <a:gd name="T24" fmla="*/ 82 w 88"/>
                  <a:gd name="T25" fmla="*/ 2 h 144"/>
                  <a:gd name="T26" fmla="*/ 85 w 88"/>
                  <a:gd name="T27" fmla="*/ 5 h 144"/>
                  <a:gd name="T28" fmla="*/ 87 w 88"/>
                  <a:gd name="T29" fmla="*/ 8 h 144"/>
                  <a:gd name="T30" fmla="*/ 88 w 88"/>
                  <a:gd name="T31" fmla="*/ 12 h 144"/>
                  <a:gd name="T32" fmla="*/ 88 w 88"/>
                  <a:gd name="T33" fmla="*/ 104 h 144"/>
                  <a:gd name="T34" fmla="*/ 87 w 88"/>
                  <a:gd name="T35" fmla="*/ 108 h 144"/>
                  <a:gd name="T36" fmla="*/ 84 w 88"/>
                  <a:gd name="T37" fmla="*/ 111 h 144"/>
                  <a:gd name="T38" fmla="*/ 80 w 88"/>
                  <a:gd name="T39" fmla="*/ 114 h 144"/>
                  <a:gd name="T40" fmla="*/ 75 w 88"/>
                  <a:gd name="T41" fmla="*/ 115 h 144"/>
                  <a:gd name="T42" fmla="*/ 71 w 88"/>
                  <a:gd name="T43" fmla="*/ 114 h 144"/>
                  <a:gd name="T44" fmla="*/ 67 w 88"/>
                  <a:gd name="T45" fmla="*/ 111 h 144"/>
                  <a:gd name="T46" fmla="*/ 64 w 88"/>
                  <a:gd name="T47" fmla="*/ 108 h 144"/>
                  <a:gd name="T48" fmla="*/ 63 w 88"/>
                  <a:gd name="T49" fmla="*/ 104 h 144"/>
                  <a:gd name="T50" fmla="*/ 63 w 88"/>
                  <a:gd name="T51" fmla="*/ 59 h 144"/>
                  <a:gd name="T52" fmla="*/ 22 w 88"/>
                  <a:gd name="T53" fmla="*/ 137 h 144"/>
                  <a:gd name="T54" fmla="*/ 20 w 88"/>
                  <a:gd name="T55" fmla="*/ 141 h 144"/>
                  <a:gd name="T56" fmla="*/ 17 w 88"/>
                  <a:gd name="T57" fmla="*/ 143 h 144"/>
                  <a:gd name="T58" fmla="*/ 14 w 88"/>
                  <a:gd name="T59" fmla="*/ 144 h 144"/>
                  <a:gd name="T60" fmla="*/ 11 w 88"/>
                  <a:gd name="T6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8" h="144">
                    <a:moveTo>
                      <a:pt x="11" y="144"/>
                    </a:moveTo>
                    <a:lnTo>
                      <a:pt x="8" y="144"/>
                    </a:lnTo>
                    <a:lnTo>
                      <a:pt x="6" y="142"/>
                    </a:lnTo>
                    <a:lnTo>
                      <a:pt x="2" y="140"/>
                    </a:lnTo>
                    <a:lnTo>
                      <a:pt x="0" y="136"/>
                    </a:lnTo>
                    <a:lnTo>
                      <a:pt x="0" y="131"/>
                    </a:lnTo>
                    <a:lnTo>
                      <a:pt x="1" y="126"/>
                    </a:lnTo>
                    <a:lnTo>
                      <a:pt x="64" y="7"/>
                    </a:lnTo>
                    <a:lnTo>
                      <a:pt x="67" y="2"/>
                    </a:lnTo>
                    <a:lnTo>
                      <a:pt x="71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2"/>
                    </a:lnTo>
                    <a:lnTo>
                      <a:pt x="85" y="5"/>
                    </a:lnTo>
                    <a:lnTo>
                      <a:pt x="87" y="8"/>
                    </a:lnTo>
                    <a:lnTo>
                      <a:pt x="88" y="12"/>
                    </a:lnTo>
                    <a:lnTo>
                      <a:pt x="88" y="104"/>
                    </a:lnTo>
                    <a:lnTo>
                      <a:pt x="87" y="108"/>
                    </a:lnTo>
                    <a:lnTo>
                      <a:pt x="84" y="111"/>
                    </a:lnTo>
                    <a:lnTo>
                      <a:pt x="80" y="114"/>
                    </a:lnTo>
                    <a:lnTo>
                      <a:pt x="75" y="115"/>
                    </a:lnTo>
                    <a:lnTo>
                      <a:pt x="71" y="114"/>
                    </a:lnTo>
                    <a:lnTo>
                      <a:pt x="67" y="111"/>
                    </a:lnTo>
                    <a:lnTo>
                      <a:pt x="64" y="108"/>
                    </a:lnTo>
                    <a:lnTo>
                      <a:pt x="63" y="104"/>
                    </a:lnTo>
                    <a:lnTo>
                      <a:pt x="63" y="59"/>
                    </a:lnTo>
                    <a:lnTo>
                      <a:pt x="22" y="137"/>
                    </a:lnTo>
                    <a:lnTo>
                      <a:pt x="20" y="141"/>
                    </a:lnTo>
                    <a:lnTo>
                      <a:pt x="17" y="143"/>
                    </a:lnTo>
                    <a:lnTo>
                      <a:pt x="14" y="144"/>
                    </a:lnTo>
                    <a:lnTo>
                      <a:pt x="11" y="144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3" name="Freeform 271"/>
              <p:cNvSpPr>
                <a:spLocks/>
              </p:cNvSpPr>
              <p:nvPr/>
            </p:nvSpPr>
            <p:spPr bwMode="auto">
              <a:xfrm>
                <a:off x="3327400" y="5786438"/>
                <a:ext cx="9525" cy="41275"/>
              </a:xfrm>
              <a:custGeom>
                <a:avLst/>
                <a:gdLst>
                  <a:gd name="T0" fmla="*/ 12 w 25"/>
                  <a:gd name="T1" fmla="*/ 101 h 101"/>
                  <a:gd name="T2" fmla="*/ 8 w 25"/>
                  <a:gd name="T3" fmla="*/ 100 h 101"/>
                  <a:gd name="T4" fmla="*/ 4 w 25"/>
                  <a:gd name="T5" fmla="*/ 98 h 101"/>
                  <a:gd name="T6" fmla="*/ 1 w 25"/>
                  <a:gd name="T7" fmla="*/ 94 h 101"/>
                  <a:gd name="T8" fmla="*/ 0 w 25"/>
                  <a:gd name="T9" fmla="*/ 89 h 101"/>
                  <a:gd name="T10" fmla="*/ 0 w 25"/>
                  <a:gd name="T11" fmla="*/ 13 h 101"/>
                  <a:gd name="T12" fmla="*/ 1 w 25"/>
                  <a:gd name="T13" fmla="*/ 8 h 101"/>
                  <a:gd name="T14" fmla="*/ 4 w 25"/>
                  <a:gd name="T15" fmla="*/ 3 h 101"/>
                  <a:gd name="T16" fmla="*/ 8 w 25"/>
                  <a:gd name="T17" fmla="*/ 1 h 101"/>
                  <a:gd name="T18" fmla="*/ 12 w 25"/>
                  <a:gd name="T19" fmla="*/ 0 h 101"/>
                  <a:gd name="T20" fmla="*/ 17 w 25"/>
                  <a:gd name="T21" fmla="*/ 1 h 101"/>
                  <a:gd name="T22" fmla="*/ 21 w 25"/>
                  <a:gd name="T23" fmla="*/ 3 h 101"/>
                  <a:gd name="T24" fmla="*/ 24 w 25"/>
                  <a:gd name="T25" fmla="*/ 8 h 101"/>
                  <a:gd name="T26" fmla="*/ 25 w 25"/>
                  <a:gd name="T27" fmla="*/ 13 h 101"/>
                  <a:gd name="T28" fmla="*/ 25 w 25"/>
                  <a:gd name="T29" fmla="*/ 89 h 101"/>
                  <a:gd name="T30" fmla="*/ 24 w 25"/>
                  <a:gd name="T31" fmla="*/ 94 h 101"/>
                  <a:gd name="T32" fmla="*/ 21 w 25"/>
                  <a:gd name="T33" fmla="*/ 98 h 101"/>
                  <a:gd name="T34" fmla="*/ 17 w 25"/>
                  <a:gd name="T35" fmla="*/ 100 h 101"/>
                  <a:gd name="T36" fmla="*/ 12 w 25"/>
                  <a:gd name="T37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101">
                    <a:moveTo>
                      <a:pt x="12" y="101"/>
                    </a:moveTo>
                    <a:lnTo>
                      <a:pt x="8" y="100"/>
                    </a:lnTo>
                    <a:lnTo>
                      <a:pt x="4" y="98"/>
                    </a:lnTo>
                    <a:lnTo>
                      <a:pt x="1" y="94"/>
                    </a:lnTo>
                    <a:lnTo>
                      <a:pt x="0" y="89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4" y="3"/>
                    </a:lnTo>
                    <a:lnTo>
                      <a:pt x="8" y="1"/>
                    </a:lnTo>
                    <a:lnTo>
                      <a:pt x="12" y="0"/>
                    </a:lnTo>
                    <a:lnTo>
                      <a:pt x="17" y="1"/>
                    </a:lnTo>
                    <a:lnTo>
                      <a:pt x="21" y="3"/>
                    </a:lnTo>
                    <a:lnTo>
                      <a:pt x="24" y="8"/>
                    </a:lnTo>
                    <a:lnTo>
                      <a:pt x="25" y="13"/>
                    </a:lnTo>
                    <a:lnTo>
                      <a:pt x="25" y="89"/>
                    </a:lnTo>
                    <a:lnTo>
                      <a:pt x="24" y="94"/>
                    </a:lnTo>
                    <a:lnTo>
                      <a:pt x="21" y="98"/>
                    </a:lnTo>
                    <a:lnTo>
                      <a:pt x="17" y="100"/>
                    </a:lnTo>
                    <a:lnTo>
                      <a:pt x="12" y="101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4" name="Freeform 272"/>
              <p:cNvSpPr>
                <a:spLocks/>
              </p:cNvSpPr>
              <p:nvPr/>
            </p:nvSpPr>
            <p:spPr bwMode="auto">
              <a:xfrm>
                <a:off x="3470275" y="5786438"/>
                <a:ext cx="9525" cy="41275"/>
              </a:xfrm>
              <a:custGeom>
                <a:avLst/>
                <a:gdLst>
                  <a:gd name="T0" fmla="*/ 11 w 24"/>
                  <a:gd name="T1" fmla="*/ 101 h 101"/>
                  <a:gd name="T2" fmla="*/ 8 w 24"/>
                  <a:gd name="T3" fmla="*/ 100 h 101"/>
                  <a:gd name="T4" fmla="*/ 4 w 24"/>
                  <a:gd name="T5" fmla="*/ 98 h 101"/>
                  <a:gd name="T6" fmla="*/ 2 w 24"/>
                  <a:gd name="T7" fmla="*/ 94 h 101"/>
                  <a:gd name="T8" fmla="*/ 0 w 24"/>
                  <a:gd name="T9" fmla="*/ 89 h 101"/>
                  <a:gd name="T10" fmla="*/ 0 w 24"/>
                  <a:gd name="T11" fmla="*/ 13 h 101"/>
                  <a:gd name="T12" fmla="*/ 2 w 24"/>
                  <a:gd name="T13" fmla="*/ 8 h 101"/>
                  <a:gd name="T14" fmla="*/ 4 w 24"/>
                  <a:gd name="T15" fmla="*/ 3 h 101"/>
                  <a:gd name="T16" fmla="*/ 8 w 24"/>
                  <a:gd name="T17" fmla="*/ 1 h 101"/>
                  <a:gd name="T18" fmla="*/ 11 w 24"/>
                  <a:gd name="T19" fmla="*/ 0 h 101"/>
                  <a:gd name="T20" fmla="*/ 16 w 24"/>
                  <a:gd name="T21" fmla="*/ 1 h 101"/>
                  <a:gd name="T22" fmla="*/ 20 w 24"/>
                  <a:gd name="T23" fmla="*/ 3 h 101"/>
                  <a:gd name="T24" fmla="*/ 24 w 24"/>
                  <a:gd name="T25" fmla="*/ 8 h 101"/>
                  <a:gd name="T26" fmla="*/ 24 w 24"/>
                  <a:gd name="T27" fmla="*/ 13 h 101"/>
                  <a:gd name="T28" fmla="*/ 24 w 24"/>
                  <a:gd name="T29" fmla="*/ 89 h 101"/>
                  <a:gd name="T30" fmla="*/ 24 w 24"/>
                  <a:gd name="T31" fmla="*/ 94 h 101"/>
                  <a:gd name="T32" fmla="*/ 20 w 24"/>
                  <a:gd name="T33" fmla="*/ 98 h 101"/>
                  <a:gd name="T34" fmla="*/ 16 w 24"/>
                  <a:gd name="T35" fmla="*/ 100 h 101"/>
                  <a:gd name="T36" fmla="*/ 11 w 24"/>
                  <a:gd name="T37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101">
                    <a:moveTo>
                      <a:pt x="11" y="101"/>
                    </a:moveTo>
                    <a:lnTo>
                      <a:pt x="8" y="100"/>
                    </a:lnTo>
                    <a:lnTo>
                      <a:pt x="4" y="98"/>
                    </a:lnTo>
                    <a:lnTo>
                      <a:pt x="2" y="94"/>
                    </a:lnTo>
                    <a:lnTo>
                      <a:pt x="0" y="89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3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6" y="1"/>
                    </a:lnTo>
                    <a:lnTo>
                      <a:pt x="20" y="3"/>
                    </a:lnTo>
                    <a:lnTo>
                      <a:pt x="24" y="8"/>
                    </a:lnTo>
                    <a:lnTo>
                      <a:pt x="24" y="13"/>
                    </a:lnTo>
                    <a:lnTo>
                      <a:pt x="24" y="89"/>
                    </a:lnTo>
                    <a:lnTo>
                      <a:pt x="24" y="94"/>
                    </a:lnTo>
                    <a:lnTo>
                      <a:pt x="20" y="98"/>
                    </a:lnTo>
                    <a:lnTo>
                      <a:pt x="16" y="100"/>
                    </a:lnTo>
                    <a:lnTo>
                      <a:pt x="11" y="101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5" name="Freeform 273"/>
              <p:cNvSpPr>
                <a:spLocks/>
              </p:cNvSpPr>
              <p:nvPr/>
            </p:nvSpPr>
            <p:spPr bwMode="auto">
              <a:xfrm>
                <a:off x="3354388" y="5492750"/>
                <a:ext cx="96838" cy="58738"/>
              </a:xfrm>
              <a:custGeom>
                <a:avLst/>
                <a:gdLst>
                  <a:gd name="T0" fmla="*/ 101 w 246"/>
                  <a:gd name="T1" fmla="*/ 0 h 147"/>
                  <a:gd name="T2" fmla="*/ 92 w 246"/>
                  <a:gd name="T3" fmla="*/ 2 h 147"/>
                  <a:gd name="T4" fmla="*/ 83 w 246"/>
                  <a:gd name="T5" fmla="*/ 5 h 147"/>
                  <a:gd name="T6" fmla="*/ 75 w 246"/>
                  <a:gd name="T7" fmla="*/ 8 h 147"/>
                  <a:gd name="T8" fmla="*/ 68 w 246"/>
                  <a:gd name="T9" fmla="*/ 12 h 147"/>
                  <a:gd name="T10" fmla="*/ 53 w 246"/>
                  <a:gd name="T11" fmla="*/ 21 h 147"/>
                  <a:gd name="T12" fmla="*/ 41 w 246"/>
                  <a:gd name="T13" fmla="*/ 31 h 147"/>
                  <a:gd name="T14" fmla="*/ 28 w 246"/>
                  <a:gd name="T15" fmla="*/ 44 h 147"/>
                  <a:gd name="T16" fmla="*/ 19 w 246"/>
                  <a:gd name="T17" fmla="*/ 57 h 147"/>
                  <a:gd name="T18" fmla="*/ 11 w 246"/>
                  <a:gd name="T19" fmla="*/ 73 h 147"/>
                  <a:gd name="T20" fmla="*/ 5 w 246"/>
                  <a:gd name="T21" fmla="*/ 91 h 147"/>
                  <a:gd name="T22" fmla="*/ 3 w 246"/>
                  <a:gd name="T23" fmla="*/ 104 h 147"/>
                  <a:gd name="T24" fmla="*/ 0 w 246"/>
                  <a:gd name="T25" fmla="*/ 119 h 147"/>
                  <a:gd name="T26" fmla="*/ 0 w 246"/>
                  <a:gd name="T27" fmla="*/ 133 h 147"/>
                  <a:gd name="T28" fmla="*/ 0 w 246"/>
                  <a:gd name="T29" fmla="*/ 147 h 147"/>
                  <a:gd name="T30" fmla="*/ 125 w 246"/>
                  <a:gd name="T31" fmla="*/ 147 h 147"/>
                  <a:gd name="T32" fmla="*/ 143 w 246"/>
                  <a:gd name="T33" fmla="*/ 147 h 147"/>
                  <a:gd name="T34" fmla="*/ 185 w 246"/>
                  <a:gd name="T35" fmla="*/ 147 h 147"/>
                  <a:gd name="T36" fmla="*/ 227 w 246"/>
                  <a:gd name="T37" fmla="*/ 147 h 147"/>
                  <a:gd name="T38" fmla="*/ 245 w 246"/>
                  <a:gd name="T39" fmla="*/ 147 h 147"/>
                  <a:gd name="T40" fmla="*/ 246 w 246"/>
                  <a:gd name="T41" fmla="*/ 141 h 147"/>
                  <a:gd name="T42" fmla="*/ 245 w 246"/>
                  <a:gd name="T43" fmla="*/ 126 h 147"/>
                  <a:gd name="T44" fmla="*/ 243 w 246"/>
                  <a:gd name="T45" fmla="*/ 110 h 147"/>
                  <a:gd name="T46" fmla="*/ 240 w 246"/>
                  <a:gd name="T47" fmla="*/ 102 h 147"/>
                  <a:gd name="T48" fmla="*/ 238 w 246"/>
                  <a:gd name="T49" fmla="*/ 86 h 147"/>
                  <a:gd name="T50" fmla="*/ 233 w 246"/>
                  <a:gd name="T51" fmla="*/ 70 h 147"/>
                  <a:gd name="T52" fmla="*/ 226 w 246"/>
                  <a:gd name="T53" fmla="*/ 56 h 147"/>
                  <a:gd name="T54" fmla="*/ 217 w 246"/>
                  <a:gd name="T55" fmla="*/ 43 h 147"/>
                  <a:gd name="T56" fmla="*/ 210 w 246"/>
                  <a:gd name="T57" fmla="*/ 35 h 147"/>
                  <a:gd name="T58" fmla="*/ 202 w 246"/>
                  <a:gd name="T59" fmla="*/ 28 h 147"/>
                  <a:gd name="T60" fmla="*/ 195 w 246"/>
                  <a:gd name="T61" fmla="*/ 22 h 147"/>
                  <a:gd name="T62" fmla="*/ 186 w 246"/>
                  <a:gd name="T63" fmla="*/ 16 h 147"/>
                  <a:gd name="T64" fmla="*/ 177 w 246"/>
                  <a:gd name="T65" fmla="*/ 11 h 147"/>
                  <a:gd name="T66" fmla="*/ 168 w 246"/>
                  <a:gd name="T67" fmla="*/ 7 h 147"/>
                  <a:gd name="T68" fmla="*/ 158 w 246"/>
                  <a:gd name="T69" fmla="*/ 4 h 147"/>
                  <a:gd name="T70" fmla="*/ 148 w 246"/>
                  <a:gd name="T71" fmla="*/ 0 h 147"/>
                  <a:gd name="T72" fmla="*/ 101 w 246"/>
                  <a:gd name="T73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46" h="147">
                    <a:moveTo>
                      <a:pt x="101" y="0"/>
                    </a:moveTo>
                    <a:lnTo>
                      <a:pt x="92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2"/>
                    </a:lnTo>
                    <a:lnTo>
                      <a:pt x="53" y="21"/>
                    </a:lnTo>
                    <a:lnTo>
                      <a:pt x="41" y="31"/>
                    </a:lnTo>
                    <a:lnTo>
                      <a:pt x="28" y="44"/>
                    </a:lnTo>
                    <a:lnTo>
                      <a:pt x="19" y="57"/>
                    </a:lnTo>
                    <a:lnTo>
                      <a:pt x="11" y="73"/>
                    </a:lnTo>
                    <a:lnTo>
                      <a:pt x="5" y="91"/>
                    </a:lnTo>
                    <a:lnTo>
                      <a:pt x="3" y="104"/>
                    </a:lnTo>
                    <a:lnTo>
                      <a:pt x="0" y="119"/>
                    </a:lnTo>
                    <a:lnTo>
                      <a:pt x="0" y="133"/>
                    </a:lnTo>
                    <a:lnTo>
                      <a:pt x="0" y="147"/>
                    </a:lnTo>
                    <a:lnTo>
                      <a:pt x="125" y="147"/>
                    </a:lnTo>
                    <a:lnTo>
                      <a:pt x="143" y="147"/>
                    </a:lnTo>
                    <a:lnTo>
                      <a:pt x="185" y="147"/>
                    </a:lnTo>
                    <a:lnTo>
                      <a:pt x="227" y="147"/>
                    </a:lnTo>
                    <a:lnTo>
                      <a:pt x="245" y="147"/>
                    </a:lnTo>
                    <a:lnTo>
                      <a:pt x="246" y="141"/>
                    </a:lnTo>
                    <a:lnTo>
                      <a:pt x="245" y="126"/>
                    </a:lnTo>
                    <a:lnTo>
                      <a:pt x="243" y="110"/>
                    </a:lnTo>
                    <a:lnTo>
                      <a:pt x="240" y="102"/>
                    </a:lnTo>
                    <a:lnTo>
                      <a:pt x="238" y="86"/>
                    </a:lnTo>
                    <a:lnTo>
                      <a:pt x="233" y="70"/>
                    </a:lnTo>
                    <a:lnTo>
                      <a:pt x="226" y="56"/>
                    </a:lnTo>
                    <a:lnTo>
                      <a:pt x="217" y="43"/>
                    </a:lnTo>
                    <a:lnTo>
                      <a:pt x="210" y="35"/>
                    </a:lnTo>
                    <a:lnTo>
                      <a:pt x="202" y="28"/>
                    </a:lnTo>
                    <a:lnTo>
                      <a:pt x="195" y="22"/>
                    </a:lnTo>
                    <a:lnTo>
                      <a:pt x="186" y="16"/>
                    </a:lnTo>
                    <a:lnTo>
                      <a:pt x="177" y="11"/>
                    </a:lnTo>
                    <a:lnTo>
                      <a:pt x="168" y="7"/>
                    </a:lnTo>
                    <a:lnTo>
                      <a:pt x="158" y="4"/>
                    </a:lnTo>
                    <a:lnTo>
                      <a:pt x="148" y="0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2FB4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6" name="Freeform 274"/>
              <p:cNvSpPr>
                <a:spLocks/>
              </p:cNvSpPr>
              <p:nvPr/>
            </p:nvSpPr>
            <p:spPr bwMode="auto">
              <a:xfrm>
                <a:off x="3348038" y="5487988"/>
                <a:ext cx="107950" cy="68263"/>
              </a:xfrm>
              <a:custGeom>
                <a:avLst/>
                <a:gdLst>
                  <a:gd name="T0" fmla="*/ 12 w 271"/>
                  <a:gd name="T1" fmla="*/ 171 h 171"/>
                  <a:gd name="T2" fmla="*/ 4 w 271"/>
                  <a:gd name="T3" fmla="*/ 168 h 171"/>
                  <a:gd name="T4" fmla="*/ 0 w 271"/>
                  <a:gd name="T5" fmla="*/ 160 h 171"/>
                  <a:gd name="T6" fmla="*/ 1 w 271"/>
                  <a:gd name="T7" fmla="*/ 128 h 171"/>
                  <a:gd name="T8" fmla="*/ 6 w 271"/>
                  <a:gd name="T9" fmla="*/ 99 h 171"/>
                  <a:gd name="T10" fmla="*/ 12 w 271"/>
                  <a:gd name="T11" fmla="*/ 79 h 171"/>
                  <a:gd name="T12" fmla="*/ 21 w 271"/>
                  <a:gd name="T13" fmla="*/ 62 h 171"/>
                  <a:gd name="T14" fmla="*/ 32 w 271"/>
                  <a:gd name="T15" fmla="*/ 46 h 171"/>
                  <a:gd name="T16" fmla="*/ 44 w 271"/>
                  <a:gd name="T17" fmla="*/ 33 h 171"/>
                  <a:gd name="T18" fmla="*/ 59 w 271"/>
                  <a:gd name="T19" fmla="*/ 21 h 171"/>
                  <a:gd name="T20" fmla="*/ 75 w 271"/>
                  <a:gd name="T21" fmla="*/ 12 h 171"/>
                  <a:gd name="T22" fmla="*/ 92 w 271"/>
                  <a:gd name="T23" fmla="*/ 5 h 171"/>
                  <a:gd name="T24" fmla="*/ 110 w 271"/>
                  <a:gd name="T25" fmla="*/ 0 h 171"/>
                  <a:gd name="T26" fmla="*/ 119 w 271"/>
                  <a:gd name="T27" fmla="*/ 1 h 171"/>
                  <a:gd name="T28" fmla="*/ 124 w 271"/>
                  <a:gd name="T29" fmla="*/ 10 h 171"/>
                  <a:gd name="T30" fmla="*/ 122 w 271"/>
                  <a:gd name="T31" fmla="*/ 18 h 171"/>
                  <a:gd name="T32" fmla="*/ 114 w 271"/>
                  <a:gd name="T33" fmla="*/ 23 h 171"/>
                  <a:gd name="T34" fmla="*/ 86 w 271"/>
                  <a:gd name="T35" fmla="*/ 33 h 171"/>
                  <a:gd name="T36" fmla="*/ 60 w 271"/>
                  <a:gd name="T37" fmla="*/ 51 h 171"/>
                  <a:gd name="T38" fmla="*/ 42 w 271"/>
                  <a:gd name="T39" fmla="*/ 75 h 171"/>
                  <a:gd name="T40" fmla="*/ 29 w 271"/>
                  <a:gd name="T41" fmla="*/ 106 h 171"/>
                  <a:gd name="T42" fmla="*/ 24 w 271"/>
                  <a:gd name="T43" fmla="*/ 126 h 171"/>
                  <a:gd name="T44" fmla="*/ 23 w 271"/>
                  <a:gd name="T45" fmla="*/ 147 h 171"/>
                  <a:gd name="T46" fmla="*/ 245 w 271"/>
                  <a:gd name="T47" fmla="*/ 135 h 171"/>
                  <a:gd name="T48" fmla="*/ 241 w 271"/>
                  <a:gd name="T49" fmla="*/ 113 h 171"/>
                  <a:gd name="T50" fmla="*/ 234 w 271"/>
                  <a:gd name="T51" fmla="*/ 86 h 171"/>
                  <a:gd name="T52" fmla="*/ 219 w 271"/>
                  <a:gd name="T53" fmla="*/ 61 h 171"/>
                  <a:gd name="T54" fmla="*/ 207 w 271"/>
                  <a:gd name="T55" fmla="*/ 49 h 171"/>
                  <a:gd name="T56" fmla="*/ 192 w 271"/>
                  <a:gd name="T57" fmla="*/ 38 h 171"/>
                  <a:gd name="T58" fmla="*/ 175 w 271"/>
                  <a:gd name="T59" fmla="*/ 31 h 171"/>
                  <a:gd name="T60" fmla="*/ 158 w 271"/>
                  <a:gd name="T61" fmla="*/ 24 h 171"/>
                  <a:gd name="T62" fmla="*/ 151 w 271"/>
                  <a:gd name="T63" fmla="*/ 18 h 171"/>
                  <a:gd name="T64" fmla="*/ 148 w 271"/>
                  <a:gd name="T65" fmla="*/ 10 h 171"/>
                  <a:gd name="T66" fmla="*/ 153 w 271"/>
                  <a:gd name="T67" fmla="*/ 4 h 171"/>
                  <a:gd name="T68" fmla="*/ 163 w 271"/>
                  <a:gd name="T69" fmla="*/ 0 h 171"/>
                  <a:gd name="T70" fmla="*/ 185 w 271"/>
                  <a:gd name="T71" fmla="*/ 7 h 171"/>
                  <a:gd name="T72" fmla="*/ 204 w 271"/>
                  <a:gd name="T73" fmla="*/ 17 h 171"/>
                  <a:gd name="T74" fmla="*/ 223 w 271"/>
                  <a:gd name="T75" fmla="*/ 31 h 171"/>
                  <a:gd name="T76" fmla="*/ 239 w 271"/>
                  <a:gd name="T77" fmla="*/ 48 h 171"/>
                  <a:gd name="T78" fmla="*/ 256 w 271"/>
                  <a:gd name="T79" fmla="*/ 76 h 171"/>
                  <a:gd name="T80" fmla="*/ 266 w 271"/>
                  <a:gd name="T81" fmla="*/ 110 h 171"/>
                  <a:gd name="T82" fmla="*/ 269 w 271"/>
                  <a:gd name="T83" fmla="*/ 139 h 171"/>
                  <a:gd name="T84" fmla="*/ 269 w 271"/>
                  <a:gd name="T85" fmla="*/ 162 h 171"/>
                  <a:gd name="T86" fmla="*/ 262 w 271"/>
                  <a:gd name="T87" fmla="*/ 17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71" h="171">
                    <a:moveTo>
                      <a:pt x="257" y="171"/>
                    </a:moveTo>
                    <a:lnTo>
                      <a:pt x="12" y="171"/>
                    </a:lnTo>
                    <a:lnTo>
                      <a:pt x="7" y="170"/>
                    </a:lnTo>
                    <a:lnTo>
                      <a:pt x="4" y="168"/>
                    </a:lnTo>
                    <a:lnTo>
                      <a:pt x="1" y="164"/>
                    </a:lnTo>
                    <a:lnTo>
                      <a:pt x="0" y="160"/>
                    </a:lnTo>
                    <a:lnTo>
                      <a:pt x="0" y="143"/>
                    </a:lnTo>
                    <a:lnTo>
                      <a:pt x="1" y="128"/>
                    </a:lnTo>
                    <a:lnTo>
                      <a:pt x="2" y="113"/>
                    </a:lnTo>
                    <a:lnTo>
                      <a:pt x="6" y="99"/>
                    </a:lnTo>
                    <a:lnTo>
                      <a:pt x="8" y="89"/>
                    </a:lnTo>
                    <a:lnTo>
                      <a:pt x="12" y="79"/>
                    </a:lnTo>
                    <a:lnTo>
                      <a:pt x="16" y="71"/>
                    </a:lnTo>
                    <a:lnTo>
                      <a:pt x="21" y="62"/>
                    </a:lnTo>
                    <a:lnTo>
                      <a:pt x="26" y="54"/>
                    </a:lnTo>
                    <a:lnTo>
                      <a:pt x="32" y="46"/>
                    </a:lnTo>
                    <a:lnTo>
                      <a:pt x="38" y="39"/>
                    </a:lnTo>
                    <a:lnTo>
                      <a:pt x="44" y="33"/>
                    </a:lnTo>
                    <a:lnTo>
                      <a:pt x="51" y="27"/>
                    </a:lnTo>
                    <a:lnTo>
                      <a:pt x="59" y="21"/>
                    </a:lnTo>
                    <a:lnTo>
                      <a:pt x="66" y="16"/>
                    </a:lnTo>
                    <a:lnTo>
                      <a:pt x="75" y="12"/>
                    </a:lnTo>
                    <a:lnTo>
                      <a:pt x="83" y="8"/>
                    </a:lnTo>
                    <a:lnTo>
                      <a:pt x="92" y="5"/>
                    </a:lnTo>
                    <a:lnTo>
                      <a:pt x="100" y="2"/>
                    </a:lnTo>
                    <a:lnTo>
                      <a:pt x="110" y="0"/>
                    </a:lnTo>
                    <a:lnTo>
                      <a:pt x="115" y="0"/>
                    </a:lnTo>
                    <a:lnTo>
                      <a:pt x="119" y="1"/>
                    </a:lnTo>
                    <a:lnTo>
                      <a:pt x="122" y="5"/>
                    </a:lnTo>
                    <a:lnTo>
                      <a:pt x="124" y="10"/>
                    </a:lnTo>
                    <a:lnTo>
                      <a:pt x="124" y="15"/>
                    </a:lnTo>
                    <a:lnTo>
                      <a:pt x="122" y="18"/>
                    </a:lnTo>
                    <a:lnTo>
                      <a:pt x="119" y="22"/>
                    </a:lnTo>
                    <a:lnTo>
                      <a:pt x="114" y="23"/>
                    </a:lnTo>
                    <a:lnTo>
                      <a:pt x="99" y="27"/>
                    </a:lnTo>
                    <a:lnTo>
                      <a:pt x="86" y="33"/>
                    </a:lnTo>
                    <a:lnTo>
                      <a:pt x="72" y="42"/>
                    </a:lnTo>
                    <a:lnTo>
                      <a:pt x="60" y="51"/>
                    </a:lnTo>
                    <a:lnTo>
                      <a:pt x="50" y="62"/>
                    </a:lnTo>
                    <a:lnTo>
                      <a:pt x="42" y="75"/>
                    </a:lnTo>
                    <a:lnTo>
                      <a:pt x="34" y="89"/>
                    </a:lnTo>
                    <a:lnTo>
                      <a:pt x="29" y="106"/>
                    </a:lnTo>
                    <a:lnTo>
                      <a:pt x="27" y="116"/>
                    </a:lnTo>
                    <a:lnTo>
                      <a:pt x="24" y="126"/>
                    </a:lnTo>
                    <a:lnTo>
                      <a:pt x="24" y="136"/>
                    </a:lnTo>
                    <a:lnTo>
                      <a:pt x="23" y="147"/>
                    </a:lnTo>
                    <a:lnTo>
                      <a:pt x="246" y="147"/>
                    </a:lnTo>
                    <a:lnTo>
                      <a:pt x="245" y="135"/>
                    </a:lnTo>
                    <a:lnTo>
                      <a:pt x="241" y="117"/>
                    </a:lnTo>
                    <a:lnTo>
                      <a:pt x="241" y="113"/>
                    </a:lnTo>
                    <a:lnTo>
                      <a:pt x="239" y="99"/>
                    </a:lnTo>
                    <a:lnTo>
                      <a:pt x="234" y="86"/>
                    </a:lnTo>
                    <a:lnTo>
                      <a:pt x="228" y="73"/>
                    </a:lnTo>
                    <a:lnTo>
                      <a:pt x="219" y="61"/>
                    </a:lnTo>
                    <a:lnTo>
                      <a:pt x="213" y="55"/>
                    </a:lnTo>
                    <a:lnTo>
                      <a:pt x="207" y="49"/>
                    </a:lnTo>
                    <a:lnTo>
                      <a:pt x="200" y="43"/>
                    </a:lnTo>
                    <a:lnTo>
                      <a:pt x="192" y="38"/>
                    </a:lnTo>
                    <a:lnTo>
                      <a:pt x="184" y="33"/>
                    </a:lnTo>
                    <a:lnTo>
                      <a:pt x="175" y="31"/>
                    </a:lnTo>
                    <a:lnTo>
                      <a:pt x="167" y="27"/>
                    </a:lnTo>
                    <a:lnTo>
                      <a:pt x="158" y="24"/>
                    </a:lnTo>
                    <a:lnTo>
                      <a:pt x="153" y="22"/>
                    </a:lnTo>
                    <a:lnTo>
                      <a:pt x="151" y="18"/>
                    </a:lnTo>
                    <a:lnTo>
                      <a:pt x="148" y="15"/>
                    </a:lnTo>
                    <a:lnTo>
                      <a:pt x="148" y="10"/>
                    </a:lnTo>
                    <a:lnTo>
                      <a:pt x="151" y="6"/>
                    </a:lnTo>
                    <a:lnTo>
                      <a:pt x="153" y="4"/>
                    </a:lnTo>
                    <a:lnTo>
                      <a:pt x="158" y="1"/>
                    </a:lnTo>
                    <a:lnTo>
                      <a:pt x="163" y="0"/>
                    </a:lnTo>
                    <a:lnTo>
                      <a:pt x="174" y="4"/>
                    </a:lnTo>
                    <a:lnTo>
                      <a:pt x="185" y="7"/>
                    </a:lnTo>
                    <a:lnTo>
                      <a:pt x="195" y="12"/>
                    </a:lnTo>
                    <a:lnTo>
                      <a:pt x="204" y="17"/>
                    </a:lnTo>
                    <a:lnTo>
                      <a:pt x="214" y="23"/>
                    </a:lnTo>
                    <a:lnTo>
                      <a:pt x="223" y="31"/>
                    </a:lnTo>
                    <a:lnTo>
                      <a:pt x="231" y="39"/>
                    </a:lnTo>
                    <a:lnTo>
                      <a:pt x="239" y="48"/>
                    </a:lnTo>
                    <a:lnTo>
                      <a:pt x="249" y="61"/>
                    </a:lnTo>
                    <a:lnTo>
                      <a:pt x="256" y="76"/>
                    </a:lnTo>
                    <a:lnTo>
                      <a:pt x="262" y="93"/>
                    </a:lnTo>
                    <a:lnTo>
                      <a:pt x="266" y="110"/>
                    </a:lnTo>
                    <a:lnTo>
                      <a:pt x="266" y="115"/>
                    </a:lnTo>
                    <a:lnTo>
                      <a:pt x="269" y="139"/>
                    </a:lnTo>
                    <a:lnTo>
                      <a:pt x="271" y="154"/>
                    </a:lnTo>
                    <a:lnTo>
                      <a:pt x="269" y="162"/>
                    </a:lnTo>
                    <a:lnTo>
                      <a:pt x="267" y="166"/>
                    </a:lnTo>
                    <a:lnTo>
                      <a:pt x="262" y="170"/>
                    </a:lnTo>
                    <a:lnTo>
                      <a:pt x="257" y="171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7" name="Freeform 275"/>
              <p:cNvSpPr>
                <a:spLocks/>
              </p:cNvSpPr>
              <p:nvPr/>
            </p:nvSpPr>
            <p:spPr bwMode="auto">
              <a:xfrm>
                <a:off x="3392488" y="5481638"/>
                <a:ext cx="20638" cy="34925"/>
              </a:xfrm>
              <a:custGeom>
                <a:avLst/>
                <a:gdLst>
                  <a:gd name="T0" fmla="*/ 43 w 50"/>
                  <a:gd name="T1" fmla="*/ 87 h 87"/>
                  <a:gd name="T2" fmla="*/ 8 w 50"/>
                  <a:gd name="T3" fmla="*/ 87 h 87"/>
                  <a:gd name="T4" fmla="*/ 0 w 50"/>
                  <a:gd name="T5" fmla="*/ 0 h 87"/>
                  <a:gd name="T6" fmla="*/ 50 w 50"/>
                  <a:gd name="T7" fmla="*/ 0 h 87"/>
                  <a:gd name="T8" fmla="*/ 43 w 50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87">
                    <a:moveTo>
                      <a:pt x="43" y="87"/>
                    </a:moveTo>
                    <a:lnTo>
                      <a:pt x="8" y="87"/>
                    </a:lnTo>
                    <a:lnTo>
                      <a:pt x="0" y="0"/>
                    </a:lnTo>
                    <a:lnTo>
                      <a:pt x="50" y="0"/>
                    </a:lnTo>
                    <a:lnTo>
                      <a:pt x="43" y="87"/>
                    </a:lnTo>
                    <a:close/>
                  </a:path>
                </a:pathLst>
              </a:custGeom>
              <a:solidFill>
                <a:srgbClr val="2FB4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8" name="Freeform 276"/>
              <p:cNvSpPr>
                <a:spLocks noEditPoints="1"/>
              </p:cNvSpPr>
              <p:nvPr/>
            </p:nvSpPr>
            <p:spPr bwMode="auto">
              <a:xfrm>
                <a:off x="3387725" y="5476875"/>
                <a:ext cx="30163" cy="44450"/>
              </a:xfrm>
              <a:custGeom>
                <a:avLst/>
                <a:gdLst>
                  <a:gd name="T0" fmla="*/ 31 w 75"/>
                  <a:gd name="T1" fmla="*/ 88 h 110"/>
                  <a:gd name="T2" fmla="*/ 44 w 75"/>
                  <a:gd name="T3" fmla="*/ 88 h 110"/>
                  <a:gd name="T4" fmla="*/ 49 w 75"/>
                  <a:gd name="T5" fmla="*/ 25 h 110"/>
                  <a:gd name="T6" fmla="*/ 24 w 75"/>
                  <a:gd name="T7" fmla="*/ 25 h 110"/>
                  <a:gd name="T8" fmla="*/ 31 w 75"/>
                  <a:gd name="T9" fmla="*/ 88 h 110"/>
                  <a:gd name="T10" fmla="*/ 55 w 75"/>
                  <a:gd name="T11" fmla="*/ 110 h 110"/>
                  <a:gd name="T12" fmla="*/ 20 w 75"/>
                  <a:gd name="T13" fmla="*/ 110 h 110"/>
                  <a:gd name="T14" fmla="*/ 15 w 75"/>
                  <a:gd name="T15" fmla="*/ 110 h 110"/>
                  <a:gd name="T16" fmla="*/ 11 w 75"/>
                  <a:gd name="T17" fmla="*/ 107 h 110"/>
                  <a:gd name="T18" fmla="*/ 8 w 75"/>
                  <a:gd name="T19" fmla="*/ 104 h 110"/>
                  <a:gd name="T20" fmla="*/ 7 w 75"/>
                  <a:gd name="T21" fmla="*/ 99 h 110"/>
                  <a:gd name="T22" fmla="*/ 0 w 75"/>
                  <a:gd name="T23" fmla="*/ 13 h 110"/>
                  <a:gd name="T24" fmla="*/ 0 w 75"/>
                  <a:gd name="T25" fmla="*/ 11 h 110"/>
                  <a:gd name="T26" fmla="*/ 1 w 75"/>
                  <a:gd name="T27" fmla="*/ 8 h 110"/>
                  <a:gd name="T28" fmla="*/ 2 w 75"/>
                  <a:gd name="T29" fmla="*/ 6 h 110"/>
                  <a:gd name="T30" fmla="*/ 4 w 75"/>
                  <a:gd name="T31" fmla="*/ 4 h 110"/>
                  <a:gd name="T32" fmla="*/ 7 w 75"/>
                  <a:gd name="T33" fmla="*/ 1 h 110"/>
                  <a:gd name="T34" fmla="*/ 12 w 75"/>
                  <a:gd name="T35" fmla="*/ 0 h 110"/>
                  <a:gd name="T36" fmla="*/ 62 w 75"/>
                  <a:gd name="T37" fmla="*/ 0 h 110"/>
                  <a:gd name="T38" fmla="*/ 67 w 75"/>
                  <a:gd name="T39" fmla="*/ 1 h 110"/>
                  <a:gd name="T40" fmla="*/ 71 w 75"/>
                  <a:gd name="T41" fmla="*/ 4 h 110"/>
                  <a:gd name="T42" fmla="*/ 73 w 75"/>
                  <a:gd name="T43" fmla="*/ 8 h 110"/>
                  <a:gd name="T44" fmla="*/ 75 w 75"/>
                  <a:gd name="T45" fmla="*/ 13 h 110"/>
                  <a:gd name="T46" fmla="*/ 67 w 75"/>
                  <a:gd name="T47" fmla="*/ 99 h 110"/>
                  <a:gd name="T48" fmla="*/ 66 w 75"/>
                  <a:gd name="T49" fmla="*/ 104 h 110"/>
                  <a:gd name="T50" fmla="*/ 64 w 75"/>
                  <a:gd name="T51" fmla="*/ 107 h 110"/>
                  <a:gd name="T52" fmla="*/ 60 w 75"/>
                  <a:gd name="T53" fmla="*/ 110 h 110"/>
                  <a:gd name="T54" fmla="*/ 55 w 75"/>
                  <a:gd name="T55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5" h="110">
                    <a:moveTo>
                      <a:pt x="31" y="88"/>
                    </a:moveTo>
                    <a:lnTo>
                      <a:pt x="44" y="88"/>
                    </a:lnTo>
                    <a:lnTo>
                      <a:pt x="49" y="25"/>
                    </a:lnTo>
                    <a:lnTo>
                      <a:pt x="24" y="25"/>
                    </a:lnTo>
                    <a:lnTo>
                      <a:pt x="31" y="88"/>
                    </a:lnTo>
                    <a:close/>
                    <a:moveTo>
                      <a:pt x="55" y="110"/>
                    </a:moveTo>
                    <a:lnTo>
                      <a:pt x="20" y="110"/>
                    </a:lnTo>
                    <a:lnTo>
                      <a:pt x="15" y="110"/>
                    </a:lnTo>
                    <a:lnTo>
                      <a:pt x="11" y="107"/>
                    </a:lnTo>
                    <a:lnTo>
                      <a:pt x="8" y="104"/>
                    </a:lnTo>
                    <a:lnTo>
                      <a:pt x="7" y="99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2" y="0"/>
                    </a:lnTo>
                    <a:lnTo>
                      <a:pt x="62" y="0"/>
                    </a:lnTo>
                    <a:lnTo>
                      <a:pt x="67" y="1"/>
                    </a:lnTo>
                    <a:lnTo>
                      <a:pt x="71" y="4"/>
                    </a:lnTo>
                    <a:lnTo>
                      <a:pt x="73" y="8"/>
                    </a:lnTo>
                    <a:lnTo>
                      <a:pt x="75" y="13"/>
                    </a:lnTo>
                    <a:lnTo>
                      <a:pt x="67" y="99"/>
                    </a:lnTo>
                    <a:lnTo>
                      <a:pt x="66" y="104"/>
                    </a:lnTo>
                    <a:lnTo>
                      <a:pt x="64" y="107"/>
                    </a:lnTo>
                    <a:lnTo>
                      <a:pt x="60" y="110"/>
                    </a:lnTo>
                    <a:lnTo>
                      <a:pt x="55" y="11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49" name="Freeform 277"/>
              <p:cNvSpPr>
                <a:spLocks/>
              </p:cNvSpPr>
              <p:nvPr/>
            </p:nvSpPr>
            <p:spPr bwMode="auto">
              <a:xfrm>
                <a:off x="3341688" y="5546725"/>
                <a:ext cx="120650" cy="9525"/>
              </a:xfrm>
              <a:custGeom>
                <a:avLst/>
                <a:gdLst>
                  <a:gd name="T0" fmla="*/ 290 w 303"/>
                  <a:gd name="T1" fmla="*/ 24 h 24"/>
                  <a:gd name="T2" fmla="*/ 11 w 303"/>
                  <a:gd name="T3" fmla="*/ 24 h 24"/>
                  <a:gd name="T4" fmla="*/ 6 w 303"/>
                  <a:gd name="T5" fmla="*/ 23 h 24"/>
                  <a:gd name="T6" fmla="*/ 2 w 303"/>
                  <a:gd name="T7" fmla="*/ 19 h 24"/>
                  <a:gd name="T8" fmla="*/ 0 w 303"/>
                  <a:gd name="T9" fmla="*/ 16 h 24"/>
                  <a:gd name="T10" fmla="*/ 0 w 303"/>
                  <a:gd name="T11" fmla="*/ 11 h 24"/>
                  <a:gd name="T12" fmla="*/ 0 w 303"/>
                  <a:gd name="T13" fmla="*/ 6 h 24"/>
                  <a:gd name="T14" fmla="*/ 2 w 303"/>
                  <a:gd name="T15" fmla="*/ 2 h 24"/>
                  <a:gd name="T16" fmla="*/ 6 w 303"/>
                  <a:gd name="T17" fmla="*/ 0 h 24"/>
                  <a:gd name="T18" fmla="*/ 11 w 303"/>
                  <a:gd name="T19" fmla="*/ 0 h 24"/>
                  <a:gd name="T20" fmla="*/ 290 w 303"/>
                  <a:gd name="T21" fmla="*/ 0 h 24"/>
                  <a:gd name="T22" fmla="*/ 295 w 303"/>
                  <a:gd name="T23" fmla="*/ 0 h 24"/>
                  <a:gd name="T24" fmla="*/ 299 w 303"/>
                  <a:gd name="T25" fmla="*/ 2 h 24"/>
                  <a:gd name="T26" fmla="*/ 301 w 303"/>
                  <a:gd name="T27" fmla="*/ 6 h 24"/>
                  <a:gd name="T28" fmla="*/ 303 w 303"/>
                  <a:gd name="T29" fmla="*/ 11 h 24"/>
                  <a:gd name="T30" fmla="*/ 301 w 303"/>
                  <a:gd name="T31" fmla="*/ 16 h 24"/>
                  <a:gd name="T32" fmla="*/ 299 w 303"/>
                  <a:gd name="T33" fmla="*/ 19 h 24"/>
                  <a:gd name="T34" fmla="*/ 295 w 303"/>
                  <a:gd name="T35" fmla="*/ 23 h 24"/>
                  <a:gd name="T36" fmla="*/ 290 w 303"/>
                  <a:gd name="T3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3" h="24">
                    <a:moveTo>
                      <a:pt x="290" y="24"/>
                    </a:moveTo>
                    <a:lnTo>
                      <a:pt x="11" y="24"/>
                    </a:lnTo>
                    <a:lnTo>
                      <a:pt x="6" y="23"/>
                    </a:lnTo>
                    <a:lnTo>
                      <a:pt x="2" y="19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290" y="0"/>
                    </a:lnTo>
                    <a:lnTo>
                      <a:pt x="295" y="0"/>
                    </a:lnTo>
                    <a:lnTo>
                      <a:pt x="299" y="2"/>
                    </a:lnTo>
                    <a:lnTo>
                      <a:pt x="301" y="6"/>
                    </a:lnTo>
                    <a:lnTo>
                      <a:pt x="303" y="11"/>
                    </a:lnTo>
                    <a:lnTo>
                      <a:pt x="301" y="16"/>
                    </a:lnTo>
                    <a:lnTo>
                      <a:pt x="299" y="19"/>
                    </a:lnTo>
                    <a:lnTo>
                      <a:pt x="295" y="23"/>
                    </a:lnTo>
                    <a:lnTo>
                      <a:pt x="290" y="2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0" name="Freeform 278"/>
              <p:cNvSpPr>
                <a:spLocks noEditPoints="1"/>
              </p:cNvSpPr>
              <p:nvPr/>
            </p:nvSpPr>
            <p:spPr bwMode="auto">
              <a:xfrm>
                <a:off x="3365500" y="5559425"/>
                <a:ext cx="34925" cy="28575"/>
              </a:xfrm>
              <a:custGeom>
                <a:avLst/>
                <a:gdLst>
                  <a:gd name="T0" fmla="*/ 34 w 88"/>
                  <a:gd name="T1" fmla="*/ 24 h 70"/>
                  <a:gd name="T2" fmla="*/ 30 w 88"/>
                  <a:gd name="T3" fmla="*/ 26 h 70"/>
                  <a:gd name="T4" fmla="*/ 27 w 88"/>
                  <a:gd name="T5" fmla="*/ 28 h 70"/>
                  <a:gd name="T6" fmla="*/ 24 w 88"/>
                  <a:gd name="T7" fmla="*/ 31 h 70"/>
                  <a:gd name="T8" fmla="*/ 23 w 88"/>
                  <a:gd name="T9" fmla="*/ 34 h 70"/>
                  <a:gd name="T10" fmla="*/ 24 w 88"/>
                  <a:gd name="T11" fmla="*/ 39 h 70"/>
                  <a:gd name="T12" fmla="*/ 27 w 88"/>
                  <a:gd name="T13" fmla="*/ 42 h 70"/>
                  <a:gd name="T14" fmla="*/ 30 w 88"/>
                  <a:gd name="T15" fmla="*/ 44 h 70"/>
                  <a:gd name="T16" fmla="*/ 34 w 88"/>
                  <a:gd name="T17" fmla="*/ 45 h 70"/>
                  <a:gd name="T18" fmla="*/ 53 w 88"/>
                  <a:gd name="T19" fmla="*/ 45 h 70"/>
                  <a:gd name="T20" fmla="*/ 57 w 88"/>
                  <a:gd name="T21" fmla="*/ 44 h 70"/>
                  <a:gd name="T22" fmla="*/ 61 w 88"/>
                  <a:gd name="T23" fmla="*/ 42 h 70"/>
                  <a:gd name="T24" fmla="*/ 63 w 88"/>
                  <a:gd name="T25" fmla="*/ 39 h 70"/>
                  <a:gd name="T26" fmla="*/ 63 w 88"/>
                  <a:gd name="T27" fmla="*/ 34 h 70"/>
                  <a:gd name="T28" fmla="*/ 63 w 88"/>
                  <a:gd name="T29" fmla="*/ 31 h 70"/>
                  <a:gd name="T30" fmla="*/ 61 w 88"/>
                  <a:gd name="T31" fmla="*/ 28 h 70"/>
                  <a:gd name="T32" fmla="*/ 57 w 88"/>
                  <a:gd name="T33" fmla="*/ 26 h 70"/>
                  <a:gd name="T34" fmla="*/ 53 w 88"/>
                  <a:gd name="T35" fmla="*/ 24 h 70"/>
                  <a:gd name="T36" fmla="*/ 34 w 88"/>
                  <a:gd name="T37" fmla="*/ 24 h 70"/>
                  <a:gd name="T38" fmla="*/ 53 w 88"/>
                  <a:gd name="T39" fmla="*/ 70 h 70"/>
                  <a:gd name="T40" fmla="*/ 34 w 88"/>
                  <a:gd name="T41" fmla="*/ 70 h 70"/>
                  <a:gd name="T42" fmla="*/ 27 w 88"/>
                  <a:gd name="T43" fmla="*/ 70 h 70"/>
                  <a:gd name="T44" fmla="*/ 20 w 88"/>
                  <a:gd name="T45" fmla="*/ 67 h 70"/>
                  <a:gd name="T46" fmla="*/ 14 w 88"/>
                  <a:gd name="T47" fmla="*/ 64 h 70"/>
                  <a:gd name="T48" fmla="*/ 9 w 88"/>
                  <a:gd name="T49" fmla="*/ 60 h 70"/>
                  <a:gd name="T50" fmla="*/ 4 w 88"/>
                  <a:gd name="T51" fmla="*/ 54 h 70"/>
                  <a:gd name="T52" fmla="*/ 2 w 88"/>
                  <a:gd name="T53" fmla="*/ 48 h 70"/>
                  <a:gd name="T54" fmla="*/ 0 w 88"/>
                  <a:gd name="T55" fmla="*/ 42 h 70"/>
                  <a:gd name="T56" fmla="*/ 0 w 88"/>
                  <a:gd name="T57" fmla="*/ 34 h 70"/>
                  <a:gd name="T58" fmla="*/ 0 w 88"/>
                  <a:gd name="T59" fmla="*/ 27 h 70"/>
                  <a:gd name="T60" fmla="*/ 2 w 88"/>
                  <a:gd name="T61" fmla="*/ 21 h 70"/>
                  <a:gd name="T62" fmla="*/ 4 w 88"/>
                  <a:gd name="T63" fmla="*/ 16 h 70"/>
                  <a:gd name="T64" fmla="*/ 9 w 88"/>
                  <a:gd name="T65" fmla="*/ 10 h 70"/>
                  <a:gd name="T66" fmla="*/ 14 w 88"/>
                  <a:gd name="T67" fmla="*/ 6 h 70"/>
                  <a:gd name="T68" fmla="*/ 20 w 88"/>
                  <a:gd name="T69" fmla="*/ 2 h 70"/>
                  <a:gd name="T70" fmla="*/ 27 w 88"/>
                  <a:gd name="T71" fmla="*/ 1 h 70"/>
                  <a:gd name="T72" fmla="*/ 34 w 88"/>
                  <a:gd name="T73" fmla="*/ 0 h 70"/>
                  <a:gd name="T74" fmla="*/ 53 w 88"/>
                  <a:gd name="T75" fmla="*/ 0 h 70"/>
                  <a:gd name="T76" fmla="*/ 60 w 88"/>
                  <a:gd name="T77" fmla="*/ 1 h 70"/>
                  <a:gd name="T78" fmla="*/ 67 w 88"/>
                  <a:gd name="T79" fmla="*/ 2 h 70"/>
                  <a:gd name="T80" fmla="*/ 72 w 88"/>
                  <a:gd name="T81" fmla="*/ 6 h 70"/>
                  <a:gd name="T82" fmla="*/ 78 w 88"/>
                  <a:gd name="T83" fmla="*/ 10 h 70"/>
                  <a:gd name="T84" fmla="*/ 82 w 88"/>
                  <a:gd name="T85" fmla="*/ 16 h 70"/>
                  <a:gd name="T86" fmla="*/ 85 w 88"/>
                  <a:gd name="T87" fmla="*/ 21 h 70"/>
                  <a:gd name="T88" fmla="*/ 87 w 88"/>
                  <a:gd name="T89" fmla="*/ 27 h 70"/>
                  <a:gd name="T90" fmla="*/ 88 w 88"/>
                  <a:gd name="T91" fmla="*/ 34 h 70"/>
                  <a:gd name="T92" fmla="*/ 87 w 88"/>
                  <a:gd name="T93" fmla="*/ 42 h 70"/>
                  <a:gd name="T94" fmla="*/ 85 w 88"/>
                  <a:gd name="T95" fmla="*/ 48 h 70"/>
                  <a:gd name="T96" fmla="*/ 82 w 88"/>
                  <a:gd name="T97" fmla="*/ 54 h 70"/>
                  <a:gd name="T98" fmla="*/ 78 w 88"/>
                  <a:gd name="T99" fmla="*/ 60 h 70"/>
                  <a:gd name="T100" fmla="*/ 72 w 88"/>
                  <a:gd name="T101" fmla="*/ 64 h 70"/>
                  <a:gd name="T102" fmla="*/ 67 w 88"/>
                  <a:gd name="T103" fmla="*/ 67 h 70"/>
                  <a:gd name="T104" fmla="*/ 60 w 88"/>
                  <a:gd name="T105" fmla="*/ 70 h 70"/>
                  <a:gd name="T106" fmla="*/ 53 w 88"/>
                  <a:gd name="T10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" h="70">
                    <a:moveTo>
                      <a:pt x="34" y="24"/>
                    </a:moveTo>
                    <a:lnTo>
                      <a:pt x="30" y="26"/>
                    </a:lnTo>
                    <a:lnTo>
                      <a:pt x="27" y="28"/>
                    </a:lnTo>
                    <a:lnTo>
                      <a:pt x="24" y="31"/>
                    </a:lnTo>
                    <a:lnTo>
                      <a:pt x="23" y="34"/>
                    </a:lnTo>
                    <a:lnTo>
                      <a:pt x="24" y="39"/>
                    </a:lnTo>
                    <a:lnTo>
                      <a:pt x="27" y="42"/>
                    </a:lnTo>
                    <a:lnTo>
                      <a:pt x="30" y="44"/>
                    </a:lnTo>
                    <a:lnTo>
                      <a:pt x="34" y="45"/>
                    </a:lnTo>
                    <a:lnTo>
                      <a:pt x="53" y="45"/>
                    </a:lnTo>
                    <a:lnTo>
                      <a:pt x="57" y="44"/>
                    </a:lnTo>
                    <a:lnTo>
                      <a:pt x="61" y="42"/>
                    </a:lnTo>
                    <a:lnTo>
                      <a:pt x="63" y="39"/>
                    </a:lnTo>
                    <a:lnTo>
                      <a:pt x="63" y="34"/>
                    </a:lnTo>
                    <a:lnTo>
                      <a:pt x="63" y="31"/>
                    </a:lnTo>
                    <a:lnTo>
                      <a:pt x="61" y="28"/>
                    </a:lnTo>
                    <a:lnTo>
                      <a:pt x="57" y="26"/>
                    </a:lnTo>
                    <a:lnTo>
                      <a:pt x="53" y="24"/>
                    </a:lnTo>
                    <a:lnTo>
                      <a:pt x="34" y="24"/>
                    </a:lnTo>
                    <a:close/>
                    <a:moveTo>
                      <a:pt x="53" y="70"/>
                    </a:moveTo>
                    <a:lnTo>
                      <a:pt x="34" y="70"/>
                    </a:lnTo>
                    <a:lnTo>
                      <a:pt x="27" y="70"/>
                    </a:lnTo>
                    <a:lnTo>
                      <a:pt x="20" y="67"/>
                    </a:lnTo>
                    <a:lnTo>
                      <a:pt x="14" y="64"/>
                    </a:lnTo>
                    <a:lnTo>
                      <a:pt x="9" y="60"/>
                    </a:lnTo>
                    <a:lnTo>
                      <a:pt x="4" y="54"/>
                    </a:lnTo>
                    <a:lnTo>
                      <a:pt x="2" y="48"/>
                    </a:lnTo>
                    <a:lnTo>
                      <a:pt x="0" y="42"/>
                    </a:lnTo>
                    <a:lnTo>
                      <a:pt x="0" y="34"/>
                    </a:lnTo>
                    <a:lnTo>
                      <a:pt x="0" y="27"/>
                    </a:lnTo>
                    <a:lnTo>
                      <a:pt x="2" y="21"/>
                    </a:lnTo>
                    <a:lnTo>
                      <a:pt x="4" y="16"/>
                    </a:lnTo>
                    <a:lnTo>
                      <a:pt x="9" y="10"/>
                    </a:lnTo>
                    <a:lnTo>
                      <a:pt x="14" y="6"/>
                    </a:lnTo>
                    <a:lnTo>
                      <a:pt x="20" y="2"/>
                    </a:lnTo>
                    <a:lnTo>
                      <a:pt x="27" y="1"/>
                    </a:lnTo>
                    <a:lnTo>
                      <a:pt x="34" y="0"/>
                    </a:lnTo>
                    <a:lnTo>
                      <a:pt x="53" y="0"/>
                    </a:lnTo>
                    <a:lnTo>
                      <a:pt x="60" y="1"/>
                    </a:lnTo>
                    <a:lnTo>
                      <a:pt x="67" y="2"/>
                    </a:lnTo>
                    <a:lnTo>
                      <a:pt x="72" y="6"/>
                    </a:lnTo>
                    <a:lnTo>
                      <a:pt x="78" y="10"/>
                    </a:lnTo>
                    <a:lnTo>
                      <a:pt x="82" y="16"/>
                    </a:lnTo>
                    <a:lnTo>
                      <a:pt x="85" y="21"/>
                    </a:lnTo>
                    <a:lnTo>
                      <a:pt x="87" y="27"/>
                    </a:lnTo>
                    <a:lnTo>
                      <a:pt x="88" y="34"/>
                    </a:lnTo>
                    <a:lnTo>
                      <a:pt x="87" y="42"/>
                    </a:lnTo>
                    <a:lnTo>
                      <a:pt x="85" y="48"/>
                    </a:lnTo>
                    <a:lnTo>
                      <a:pt x="82" y="54"/>
                    </a:lnTo>
                    <a:lnTo>
                      <a:pt x="78" y="60"/>
                    </a:lnTo>
                    <a:lnTo>
                      <a:pt x="72" y="64"/>
                    </a:lnTo>
                    <a:lnTo>
                      <a:pt x="67" y="67"/>
                    </a:lnTo>
                    <a:lnTo>
                      <a:pt x="60" y="70"/>
                    </a:lnTo>
                    <a:lnTo>
                      <a:pt x="53" y="7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1" name="Freeform 279"/>
              <p:cNvSpPr>
                <a:spLocks noEditPoints="1"/>
              </p:cNvSpPr>
              <p:nvPr/>
            </p:nvSpPr>
            <p:spPr bwMode="auto">
              <a:xfrm>
                <a:off x="3405188" y="5559425"/>
                <a:ext cx="34925" cy="28575"/>
              </a:xfrm>
              <a:custGeom>
                <a:avLst/>
                <a:gdLst>
                  <a:gd name="T0" fmla="*/ 34 w 88"/>
                  <a:gd name="T1" fmla="*/ 24 h 70"/>
                  <a:gd name="T2" fmla="*/ 29 w 88"/>
                  <a:gd name="T3" fmla="*/ 26 h 70"/>
                  <a:gd name="T4" fmla="*/ 27 w 88"/>
                  <a:gd name="T5" fmla="*/ 28 h 70"/>
                  <a:gd name="T6" fmla="*/ 24 w 88"/>
                  <a:gd name="T7" fmla="*/ 31 h 70"/>
                  <a:gd name="T8" fmla="*/ 23 w 88"/>
                  <a:gd name="T9" fmla="*/ 34 h 70"/>
                  <a:gd name="T10" fmla="*/ 24 w 88"/>
                  <a:gd name="T11" fmla="*/ 39 h 70"/>
                  <a:gd name="T12" fmla="*/ 27 w 88"/>
                  <a:gd name="T13" fmla="*/ 42 h 70"/>
                  <a:gd name="T14" fmla="*/ 29 w 88"/>
                  <a:gd name="T15" fmla="*/ 44 h 70"/>
                  <a:gd name="T16" fmla="*/ 34 w 88"/>
                  <a:gd name="T17" fmla="*/ 45 h 70"/>
                  <a:gd name="T18" fmla="*/ 54 w 88"/>
                  <a:gd name="T19" fmla="*/ 45 h 70"/>
                  <a:gd name="T20" fmla="*/ 57 w 88"/>
                  <a:gd name="T21" fmla="*/ 44 h 70"/>
                  <a:gd name="T22" fmla="*/ 61 w 88"/>
                  <a:gd name="T23" fmla="*/ 42 h 70"/>
                  <a:gd name="T24" fmla="*/ 63 w 88"/>
                  <a:gd name="T25" fmla="*/ 39 h 70"/>
                  <a:gd name="T26" fmla="*/ 63 w 88"/>
                  <a:gd name="T27" fmla="*/ 34 h 70"/>
                  <a:gd name="T28" fmla="*/ 63 w 88"/>
                  <a:gd name="T29" fmla="*/ 31 h 70"/>
                  <a:gd name="T30" fmla="*/ 61 w 88"/>
                  <a:gd name="T31" fmla="*/ 28 h 70"/>
                  <a:gd name="T32" fmla="*/ 57 w 88"/>
                  <a:gd name="T33" fmla="*/ 26 h 70"/>
                  <a:gd name="T34" fmla="*/ 54 w 88"/>
                  <a:gd name="T35" fmla="*/ 24 h 70"/>
                  <a:gd name="T36" fmla="*/ 34 w 88"/>
                  <a:gd name="T37" fmla="*/ 24 h 70"/>
                  <a:gd name="T38" fmla="*/ 54 w 88"/>
                  <a:gd name="T39" fmla="*/ 70 h 70"/>
                  <a:gd name="T40" fmla="*/ 34 w 88"/>
                  <a:gd name="T41" fmla="*/ 70 h 70"/>
                  <a:gd name="T42" fmla="*/ 27 w 88"/>
                  <a:gd name="T43" fmla="*/ 70 h 70"/>
                  <a:gd name="T44" fmla="*/ 21 w 88"/>
                  <a:gd name="T45" fmla="*/ 67 h 70"/>
                  <a:gd name="T46" fmla="*/ 14 w 88"/>
                  <a:gd name="T47" fmla="*/ 64 h 70"/>
                  <a:gd name="T48" fmla="*/ 10 w 88"/>
                  <a:gd name="T49" fmla="*/ 60 h 70"/>
                  <a:gd name="T50" fmla="*/ 5 w 88"/>
                  <a:gd name="T51" fmla="*/ 54 h 70"/>
                  <a:gd name="T52" fmla="*/ 2 w 88"/>
                  <a:gd name="T53" fmla="*/ 48 h 70"/>
                  <a:gd name="T54" fmla="*/ 0 w 88"/>
                  <a:gd name="T55" fmla="*/ 42 h 70"/>
                  <a:gd name="T56" fmla="*/ 0 w 88"/>
                  <a:gd name="T57" fmla="*/ 34 h 70"/>
                  <a:gd name="T58" fmla="*/ 0 w 88"/>
                  <a:gd name="T59" fmla="*/ 27 h 70"/>
                  <a:gd name="T60" fmla="*/ 2 w 88"/>
                  <a:gd name="T61" fmla="*/ 21 h 70"/>
                  <a:gd name="T62" fmla="*/ 5 w 88"/>
                  <a:gd name="T63" fmla="*/ 16 h 70"/>
                  <a:gd name="T64" fmla="*/ 10 w 88"/>
                  <a:gd name="T65" fmla="*/ 10 h 70"/>
                  <a:gd name="T66" fmla="*/ 14 w 88"/>
                  <a:gd name="T67" fmla="*/ 6 h 70"/>
                  <a:gd name="T68" fmla="*/ 21 w 88"/>
                  <a:gd name="T69" fmla="*/ 2 h 70"/>
                  <a:gd name="T70" fmla="*/ 27 w 88"/>
                  <a:gd name="T71" fmla="*/ 1 h 70"/>
                  <a:gd name="T72" fmla="*/ 34 w 88"/>
                  <a:gd name="T73" fmla="*/ 0 h 70"/>
                  <a:gd name="T74" fmla="*/ 54 w 88"/>
                  <a:gd name="T75" fmla="*/ 0 h 70"/>
                  <a:gd name="T76" fmla="*/ 60 w 88"/>
                  <a:gd name="T77" fmla="*/ 1 h 70"/>
                  <a:gd name="T78" fmla="*/ 67 w 88"/>
                  <a:gd name="T79" fmla="*/ 2 h 70"/>
                  <a:gd name="T80" fmla="*/ 72 w 88"/>
                  <a:gd name="T81" fmla="*/ 6 h 70"/>
                  <a:gd name="T82" fmla="*/ 78 w 88"/>
                  <a:gd name="T83" fmla="*/ 10 h 70"/>
                  <a:gd name="T84" fmla="*/ 82 w 88"/>
                  <a:gd name="T85" fmla="*/ 16 h 70"/>
                  <a:gd name="T86" fmla="*/ 86 w 88"/>
                  <a:gd name="T87" fmla="*/ 21 h 70"/>
                  <a:gd name="T88" fmla="*/ 87 w 88"/>
                  <a:gd name="T89" fmla="*/ 27 h 70"/>
                  <a:gd name="T90" fmla="*/ 88 w 88"/>
                  <a:gd name="T91" fmla="*/ 34 h 70"/>
                  <a:gd name="T92" fmla="*/ 87 w 88"/>
                  <a:gd name="T93" fmla="*/ 42 h 70"/>
                  <a:gd name="T94" fmla="*/ 86 w 88"/>
                  <a:gd name="T95" fmla="*/ 48 h 70"/>
                  <a:gd name="T96" fmla="*/ 82 w 88"/>
                  <a:gd name="T97" fmla="*/ 54 h 70"/>
                  <a:gd name="T98" fmla="*/ 78 w 88"/>
                  <a:gd name="T99" fmla="*/ 60 h 70"/>
                  <a:gd name="T100" fmla="*/ 72 w 88"/>
                  <a:gd name="T101" fmla="*/ 64 h 70"/>
                  <a:gd name="T102" fmla="*/ 67 w 88"/>
                  <a:gd name="T103" fmla="*/ 67 h 70"/>
                  <a:gd name="T104" fmla="*/ 60 w 88"/>
                  <a:gd name="T105" fmla="*/ 70 h 70"/>
                  <a:gd name="T106" fmla="*/ 54 w 88"/>
                  <a:gd name="T10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" h="70">
                    <a:moveTo>
                      <a:pt x="34" y="24"/>
                    </a:moveTo>
                    <a:lnTo>
                      <a:pt x="29" y="26"/>
                    </a:lnTo>
                    <a:lnTo>
                      <a:pt x="27" y="28"/>
                    </a:lnTo>
                    <a:lnTo>
                      <a:pt x="24" y="31"/>
                    </a:lnTo>
                    <a:lnTo>
                      <a:pt x="23" y="34"/>
                    </a:lnTo>
                    <a:lnTo>
                      <a:pt x="24" y="39"/>
                    </a:lnTo>
                    <a:lnTo>
                      <a:pt x="27" y="42"/>
                    </a:lnTo>
                    <a:lnTo>
                      <a:pt x="29" y="44"/>
                    </a:lnTo>
                    <a:lnTo>
                      <a:pt x="34" y="45"/>
                    </a:lnTo>
                    <a:lnTo>
                      <a:pt x="54" y="45"/>
                    </a:lnTo>
                    <a:lnTo>
                      <a:pt x="57" y="44"/>
                    </a:lnTo>
                    <a:lnTo>
                      <a:pt x="61" y="42"/>
                    </a:lnTo>
                    <a:lnTo>
                      <a:pt x="63" y="39"/>
                    </a:lnTo>
                    <a:lnTo>
                      <a:pt x="63" y="34"/>
                    </a:lnTo>
                    <a:lnTo>
                      <a:pt x="63" y="31"/>
                    </a:lnTo>
                    <a:lnTo>
                      <a:pt x="61" y="28"/>
                    </a:lnTo>
                    <a:lnTo>
                      <a:pt x="57" y="26"/>
                    </a:lnTo>
                    <a:lnTo>
                      <a:pt x="54" y="24"/>
                    </a:lnTo>
                    <a:lnTo>
                      <a:pt x="34" y="24"/>
                    </a:lnTo>
                    <a:close/>
                    <a:moveTo>
                      <a:pt x="54" y="70"/>
                    </a:moveTo>
                    <a:lnTo>
                      <a:pt x="34" y="70"/>
                    </a:lnTo>
                    <a:lnTo>
                      <a:pt x="27" y="70"/>
                    </a:lnTo>
                    <a:lnTo>
                      <a:pt x="21" y="67"/>
                    </a:lnTo>
                    <a:lnTo>
                      <a:pt x="14" y="64"/>
                    </a:lnTo>
                    <a:lnTo>
                      <a:pt x="10" y="60"/>
                    </a:lnTo>
                    <a:lnTo>
                      <a:pt x="5" y="54"/>
                    </a:lnTo>
                    <a:lnTo>
                      <a:pt x="2" y="48"/>
                    </a:lnTo>
                    <a:lnTo>
                      <a:pt x="0" y="42"/>
                    </a:lnTo>
                    <a:lnTo>
                      <a:pt x="0" y="34"/>
                    </a:lnTo>
                    <a:lnTo>
                      <a:pt x="0" y="27"/>
                    </a:lnTo>
                    <a:lnTo>
                      <a:pt x="2" y="21"/>
                    </a:lnTo>
                    <a:lnTo>
                      <a:pt x="5" y="16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1" y="2"/>
                    </a:lnTo>
                    <a:lnTo>
                      <a:pt x="27" y="1"/>
                    </a:lnTo>
                    <a:lnTo>
                      <a:pt x="34" y="0"/>
                    </a:lnTo>
                    <a:lnTo>
                      <a:pt x="54" y="0"/>
                    </a:lnTo>
                    <a:lnTo>
                      <a:pt x="60" y="1"/>
                    </a:lnTo>
                    <a:lnTo>
                      <a:pt x="67" y="2"/>
                    </a:lnTo>
                    <a:lnTo>
                      <a:pt x="72" y="6"/>
                    </a:lnTo>
                    <a:lnTo>
                      <a:pt x="78" y="10"/>
                    </a:lnTo>
                    <a:lnTo>
                      <a:pt x="82" y="16"/>
                    </a:lnTo>
                    <a:lnTo>
                      <a:pt x="86" y="21"/>
                    </a:lnTo>
                    <a:lnTo>
                      <a:pt x="87" y="27"/>
                    </a:lnTo>
                    <a:lnTo>
                      <a:pt x="88" y="34"/>
                    </a:lnTo>
                    <a:lnTo>
                      <a:pt x="87" y="42"/>
                    </a:lnTo>
                    <a:lnTo>
                      <a:pt x="86" y="48"/>
                    </a:lnTo>
                    <a:lnTo>
                      <a:pt x="82" y="54"/>
                    </a:lnTo>
                    <a:lnTo>
                      <a:pt x="78" y="60"/>
                    </a:lnTo>
                    <a:lnTo>
                      <a:pt x="72" y="64"/>
                    </a:lnTo>
                    <a:lnTo>
                      <a:pt x="67" y="67"/>
                    </a:lnTo>
                    <a:lnTo>
                      <a:pt x="60" y="70"/>
                    </a:lnTo>
                    <a:lnTo>
                      <a:pt x="54" y="7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2" name="Freeform 280"/>
              <p:cNvSpPr>
                <a:spLocks/>
              </p:cNvSpPr>
              <p:nvPr/>
            </p:nvSpPr>
            <p:spPr bwMode="auto">
              <a:xfrm>
                <a:off x="3390900" y="5568950"/>
                <a:ext cx="23813" cy="9525"/>
              </a:xfrm>
              <a:custGeom>
                <a:avLst/>
                <a:gdLst>
                  <a:gd name="T0" fmla="*/ 47 w 59"/>
                  <a:gd name="T1" fmla="*/ 25 h 25"/>
                  <a:gd name="T2" fmla="*/ 13 w 59"/>
                  <a:gd name="T3" fmla="*/ 25 h 25"/>
                  <a:gd name="T4" fmla="*/ 8 w 59"/>
                  <a:gd name="T5" fmla="*/ 23 h 25"/>
                  <a:gd name="T6" fmla="*/ 4 w 59"/>
                  <a:gd name="T7" fmla="*/ 20 h 25"/>
                  <a:gd name="T8" fmla="*/ 1 w 59"/>
                  <a:gd name="T9" fmla="*/ 16 h 25"/>
                  <a:gd name="T10" fmla="*/ 0 w 59"/>
                  <a:gd name="T11" fmla="*/ 11 h 25"/>
                  <a:gd name="T12" fmla="*/ 1 w 59"/>
                  <a:gd name="T13" fmla="*/ 6 h 25"/>
                  <a:gd name="T14" fmla="*/ 4 w 59"/>
                  <a:gd name="T15" fmla="*/ 3 h 25"/>
                  <a:gd name="T16" fmla="*/ 8 w 59"/>
                  <a:gd name="T17" fmla="*/ 0 h 25"/>
                  <a:gd name="T18" fmla="*/ 13 w 59"/>
                  <a:gd name="T19" fmla="*/ 0 h 25"/>
                  <a:gd name="T20" fmla="*/ 47 w 59"/>
                  <a:gd name="T21" fmla="*/ 0 h 25"/>
                  <a:gd name="T22" fmla="*/ 52 w 59"/>
                  <a:gd name="T23" fmla="*/ 0 h 25"/>
                  <a:gd name="T24" fmla="*/ 55 w 59"/>
                  <a:gd name="T25" fmla="*/ 3 h 25"/>
                  <a:gd name="T26" fmla="*/ 58 w 59"/>
                  <a:gd name="T27" fmla="*/ 6 h 25"/>
                  <a:gd name="T28" fmla="*/ 59 w 59"/>
                  <a:gd name="T29" fmla="*/ 11 h 25"/>
                  <a:gd name="T30" fmla="*/ 58 w 59"/>
                  <a:gd name="T31" fmla="*/ 16 h 25"/>
                  <a:gd name="T32" fmla="*/ 55 w 59"/>
                  <a:gd name="T33" fmla="*/ 20 h 25"/>
                  <a:gd name="T34" fmla="*/ 52 w 59"/>
                  <a:gd name="T35" fmla="*/ 23 h 25"/>
                  <a:gd name="T36" fmla="*/ 47 w 59"/>
                  <a:gd name="T3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" h="25">
                    <a:moveTo>
                      <a:pt x="47" y="25"/>
                    </a:moveTo>
                    <a:lnTo>
                      <a:pt x="13" y="25"/>
                    </a:lnTo>
                    <a:lnTo>
                      <a:pt x="8" y="23"/>
                    </a:lnTo>
                    <a:lnTo>
                      <a:pt x="4" y="20"/>
                    </a:lnTo>
                    <a:lnTo>
                      <a:pt x="1" y="16"/>
                    </a:lnTo>
                    <a:lnTo>
                      <a:pt x="0" y="11"/>
                    </a:lnTo>
                    <a:lnTo>
                      <a:pt x="1" y="6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3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5" y="3"/>
                    </a:lnTo>
                    <a:lnTo>
                      <a:pt x="58" y="6"/>
                    </a:lnTo>
                    <a:lnTo>
                      <a:pt x="59" y="11"/>
                    </a:lnTo>
                    <a:lnTo>
                      <a:pt x="58" y="16"/>
                    </a:lnTo>
                    <a:lnTo>
                      <a:pt x="55" y="20"/>
                    </a:lnTo>
                    <a:lnTo>
                      <a:pt x="52" y="23"/>
                    </a:lnTo>
                    <a:lnTo>
                      <a:pt x="47" y="25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3" name="Freeform 281"/>
              <p:cNvSpPr>
                <a:spLocks/>
              </p:cNvSpPr>
              <p:nvPr/>
            </p:nvSpPr>
            <p:spPr bwMode="auto">
              <a:xfrm>
                <a:off x="3332163" y="5822950"/>
                <a:ext cx="142875" cy="314325"/>
              </a:xfrm>
              <a:custGeom>
                <a:avLst/>
                <a:gdLst>
                  <a:gd name="T0" fmla="*/ 0 w 359"/>
                  <a:gd name="T1" fmla="*/ 0 h 795"/>
                  <a:gd name="T2" fmla="*/ 5 w 359"/>
                  <a:gd name="T3" fmla="*/ 795 h 795"/>
                  <a:gd name="T4" fmla="*/ 154 w 359"/>
                  <a:gd name="T5" fmla="*/ 795 h 795"/>
                  <a:gd name="T6" fmla="*/ 149 w 359"/>
                  <a:gd name="T7" fmla="*/ 203 h 795"/>
                  <a:gd name="T8" fmla="*/ 212 w 359"/>
                  <a:gd name="T9" fmla="*/ 203 h 795"/>
                  <a:gd name="T10" fmla="*/ 206 w 359"/>
                  <a:gd name="T11" fmla="*/ 795 h 795"/>
                  <a:gd name="T12" fmla="*/ 355 w 359"/>
                  <a:gd name="T13" fmla="*/ 795 h 795"/>
                  <a:gd name="T14" fmla="*/ 359 w 359"/>
                  <a:gd name="T15" fmla="*/ 3 h 795"/>
                  <a:gd name="T16" fmla="*/ 0 w 359"/>
                  <a:gd name="T17" fmla="*/ 0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795">
                    <a:moveTo>
                      <a:pt x="0" y="0"/>
                    </a:moveTo>
                    <a:lnTo>
                      <a:pt x="5" y="795"/>
                    </a:lnTo>
                    <a:lnTo>
                      <a:pt x="154" y="795"/>
                    </a:lnTo>
                    <a:lnTo>
                      <a:pt x="149" y="203"/>
                    </a:lnTo>
                    <a:lnTo>
                      <a:pt x="212" y="203"/>
                    </a:lnTo>
                    <a:lnTo>
                      <a:pt x="206" y="795"/>
                    </a:lnTo>
                    <a:lnTo>
                      <a:pt x="355" y="795"/>
                    </a:lnTo>
                    <a:lnTo>
                      <a:pt x="359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FB4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4" name="Freeform 282"/>
              <p:cNvSpPr>
                <a:spLocks noEditPoints="1"/>
              </p:cNvSpPr>
              <p:nvPr/>
            </p:nvSpPr>
            <p:spPr bwMode="auto">
              <a:xfrm>
                <a:off x="3327400" y="5818188"/>
                <a:ext cx="152400" cy="323850"/>
              </a:xfrm>
              <a:custGeom>
                <a:avLst/>
                <a:gdLst>
                  <a:gd name="T0" fmla="*/ 231 w 384"/>
                  <a:gd name="T1" fmla="*/ 795 h 817"/>
                  <a:gd name="T2" fmla="*/ 355 w 384"/>
                  <a:gd name="T3" fmla="*/ 795 h 817"/>
                  <a:gd name="T4" fmla="*/ 360 w 384"/>
                  <a:gd name="T5" fmla="*/ 25 h 817"/>
                  <a:gd name="T6" fmla="*/ 25 w 384"/>
                  <a:gd name="T7" fmla="*/ 23 h 817"/>
                  <a:gd name="T8" fmla="*/ 30 w 384"/>
                  <a:gd name="T9" fmla="*/ 795 h 817"/>
                  <a:gd name="T10" fmla="*/ 153 w 384"/>
                  <a:gd name="T11" fmla="*/ 795 h 817"/>
                  <a:gd name="T12" fmla="*/ 148 w 384"/>
                  <a:gd name="T13" fmla="*/ 214 h 817"/>
                  <a:gd name="T14" fmla="*/ 150 w 384"/>
                  <a:gd name="T15" fmla="*/ 211 h 817"/>
                  <a:gd name="T16" fmla="*/ 152 w 384"/>
                  <a:gd name="T17" fmla="*/ 207 h 817"/>
                  <a:gd name="T18" fmla="*/ 156 w 384"/>
                  <a:gd name="T19" fmla="*/ 205 h 817"/>
                  <a:gd name="T20" fmla="*/ 161 w 384"/>
                  <a:gd name="T21" fmla="*/ 203 h 817"/>
                  <a:gd name="T22" fmla="*/ 161 w 384"/>
                  <a:gd name="T23" fmla="*/ 203 h 817"/>
                  <a:gd name="T24" fmla="*/ 224 w 384"/>
                  <a:gd name="T25" fmla="*/ 203 h 817"/>
                  <a:gd name="T26" fmla="*/ 229 w 384"/>
                  <a:gd name="T27" fmla="*/ 205 h 817"/>
                  <a:gd name="T28" fmla="*/ 233 w 384"/>
                  <a:gd name="T29" fmla="*/ 207 h 817"/>
                  <a:gd name="T30" fmla="*/ 234 w 384"/>
                  <a:gd name="T31" fmla="*/ 209 h 817"/>
                  <a:gd name="T32" fmla="*/ 235 w 384"/>
                  <a:gd name="T33" fmla="*/ 211 h 817"/>
                  <a:gd name="T34" fmla="*/ 235 w 384"/>
                  <a:gd name="T35" fmla="*/ 213 h 817"/>
                  <a:gd name="T36" fmla="*/ 235 w 384"/>
                  <a:gd name="T37" fmla="*/ 217 h 817"/>
                  <a:gd name="T38" fmla="*/ 231 w 384"/>
                  <a:gd name="T39" fmla="*/ 795 h 817"/>
                  <a:gd name="T40" fmla="*/ 367 w 384"/>
                  <a:gd name="T41" fmla="*/ 817 h 817"/>
                  <a:gd name="T42" fmla="*/ 218 w 384"/>
                  <a:gd name="T43" fmla="*/ 817 h 817"/>
                  <a:gd name="T44" fmla="*/ 213 w 384"/>
                  <a:gd name="T45" fmla="*/ 817 h 817"/>
                  <a:gd name="T46" fmla="*/ 210 w 384"/>
                  <a:gd name="T47" fmla="*/ 814 h 817"/>
                  <a:gd name="T48" fmla="*/ 207 w 384"/>
                  <a:gd name="T49" fmla="*/ 811 h 817"/>
                  <a:gd name="T50" fmla="*/ 206 w 384"/>
                  <a:gd name="T51" fmla="*/ 806 h 817"/>
                  <a:gd name="T52" fmla="*/ 212 w 384"/>
                  <a:gd name="T53" fmla="*/ 228 h 817"/>
                  <a:gd name="T54" fmla="*/ 173 w 384"/>
                  <a:gd name="T55" fmla="*/ 228 h 817"/>
                  <a:gd name="T56" fmla="*/ 178 w 384"/>
                  <a:gd name="T57" fmla="*/ 806 h 817"/>
                  <a:gd name="T58" fmla="*/ 177 w 384"/>
                  <a:gd name="T59" fmla="*/ 811 h 817"/>
                  <a:gd name="T60" fmla="*/ 174 w 384"/>
                  <a:gd name="T61" fmla="*/ 814 h 817"/>
                  <a:gd name="T62" fmla="*/ 171 w 384"/>
                  <a:gd name="T63" fmla="*/ 817 h 817"/>
                  <a:gd name="T64" fmla="*/ 166 w 384"/>
                  <a:gd name="T65" fmla="*/ 817 h 817"/>
                  <a:gd name="T66" fmla="*/ 17 w 384"/>
                  <a:gd name="T67" fmla="*/ 817 h 817"/>
                  <a:gd name="T68" fmla="*/ 12 w 384"/>
                  <a:gd name="T69" fmla="*/ 817 h 817"/>
                  <a:gd name="T70" fmla="*/ 9 w 384"/>
                  <a:gd name="T71" fmla="*/ 814 h 817"/>
                  <a:gd name="T72" fmla="*/ 6 w 384"/>
                  <a:gd name="T73" fmla="*/ 811 h 817"/>
                  <a:gd name="T74" fmla="*/ 5 w 384"/>
                  <a:gd name="T75" fmla="*/ 806 h 817"/>
                  <a:gd name="T76" fmla="*/ 0 w 384"/>
                  <a:gd name="T77" fmla="*/ 11 h 817"/>
                  <a:gd name="T78" fmla="*/ 1 w 384"/>
                  <a:gd name="T79" fmla="*/ 7 h 817"/>
                  <a:gd name="T80" fmla="*/ 4 w 384"/>
                  <a:gd name="T81" fmla="*/ 3 h 817"/>
                  <a:gd name="T82" fmla="*/ 8 w 384"/>
                  <a:gd name="T83" fmla="*/ 0 h 817"/>
                  <a:gd name="T84" fmla="*/ 12 w 384"/>
                  <a:gd name="T85" fmla="*/ 0 h 817"/>
                  <a:gd name="T86" fmla="*/ 12 w 384"/>
                  <a:gd name="T87" fmla="*/ 0 h 817"/>
                  <a:gd name="T88" fmla="*/ 373 w 384"/>
                  <a:gd name="T89" fmla="*/ 0 h 817"/>
                  <a:gd name="T90" fmla="*/ 376 w 384"/>
                  <a:gd name="T91" fmla="*/ 1 h 817"/>
                  <a:gd name="T92" fmla="*/ 380 w 384"/>
                  <a:gd name="T93" fmla="*/ 5 h 817"/>
                  <a:gd name="T94" fmla="*/ 384 w 384"/>
                  <a:gd name="T95" fmla="*/ 9 h 817"/>
                  <a:gd name="T96" fmla="*/ 384 w 384"/>
                  <a:gd name="T97" fmla="*/ 14 h 817"/>
                  <a:gd name="T98" fmla="*/ 379 w 384"/>
                  <a:gd name="T99" fmla="*/ 806 h 817"/>
                  <a:gd name="T100" fmla="*/ 378 w 384"/>
                  <a:gd name="T101" fmla="*/ 811 h 817"/>
                  <a:gd name="T102" fmla="*/ 375 w 384"/>
                  <a:gd name="T103" fmla="*/ 814 h 817"/>
                  <a:gd name="T104" fmla="*/ 371 w 384"/>
                  <a:gd name="T105" fmla="*/ 817 h 817"/>
                  <a:gd name="T106" fmla="*/ 367 w 384"/>
                  <a:gd name="T107" fmla="*/ 817 h 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84" h="817">
                    <a:moveTo>
                      <a:pt x="231" y="795"/>
                    </a:moveTo>
                    <a:lnTo>
                      <a:pt x="355" y="795"/>
                    </a:lnTo>
                    <a:lnTo>
                      <a:pt x="360" y="25"/>
                    </a:lnTo>
                    <a:lnTo>
                      <a:pt x="25" y="23"/>
                    </a:lnTo>
                    <a:lnTo>
                      <a:pt x="30" y="795"/>
                    </a:lnTo>
                    <a:lnTo>
                      <a:pt x="153" y="795"/>
                    </a:lnTo>
                    <a:lnTo>
                      <a:pt x="148" y="214"/>
                    </a:lnTo>
                    <a:lnTo>
                      <a:pt x="150" y="211"/>
                    </a:lnTo>
                    <a:lnTo>
                      <a:pt x="152" y="207"/>
                    </a:lnTo>
                    <a:lnTo>
                      <a:pt x="156" y="205"/>
                    </a:lnTo>
                    <a:lnTo>
                      <a:pt x="161" y="203"/>
                    </a:lnTo>
                    <a:lnTo>
                      <a:pt x="161" y="203"/>
                    </a:lnTo>
                    <a:lnTo>
                      <a:pt x="224" y="203"/>
                    </a:lnTo>
                    <a:lnTo>
                      <a:pt x="229" y="205"/>
                    </a:lnTo>
                    <a:lnTo>
                      <a:pt x="233" y="207"/>
                    </a:lnTo>
                    <a:lnTo>
                      <a:pt x="234" y="209"/>
                    </a:lnTo>
                    <a:lnTo>
                      <a:pt x="235" y="211"/>
                    </a:lnTo>
                    <a:lnTo>
                      <a:pt x="235" y="213"/>
                    </a:lnTo>
                    <a:lnTo>
                      <a:pt x="235" y="217"/>
                    </a:lnTo>
                    <a:lnTo>
                      <a:pt x="231" y="795"/>
                    </a:lnTo>
                    <a:close/>
                    <a:moveTo>
                      <a:pt x="367" y="817"/>
                    </a:moveTo>
                    <a:lnTo>
                      <a:pt x="218" y="817"/>
                    </a:lnTo>
                    <a:lnTo>
                      <a:pt x="213" y="817"/>
                    </a:lnTo>
                    <a:lnTo>
                      <a:pt x="210" y="814"/>
                    </a:lnTo>
                    <a:lnTo>
                      <a:pt x="207" y="811"/>
                    </a:lnTo>
                    <a:lnTo>
                      <a:pt x="206" y="806"/>
                    </a:lnTo>
                    <a:lnTo>
                      <a:pt x="212" y="228"/>
                    </a:lnTo>
                    <a:lnTo>
                      <a:pt x="173" y="228"/>
                    </a:lnTo>
                    <a:lnTo>
                      <a:pt x="178" y="806"/>
                    </a:lnTo>
                    <a:lnTo>
                      <a:pt x="177" y="811"/>
                    </a:lnTo>
                    <a:lnTo>
                      <a:pt x="174" y="814"/>
                    </a:lnTo>
                    <a:lnTo>
                      <a:pt x="171" y="817"/>
                    </a:lnTo>
                    <a:lnTo>
                      <a:pt x="166" y="817"/>
                    </a:lnTo>
                    <a:lnTo>
                      <a:pt x="17" y="817"/>
                    </a:lnTo>
                    <a:lnTo>
                      <a:pt x="12" y="817"/>
                    </a:lnTo>
                    <a:lnTo>
                      <a:pt x="9" y="814"/>
                    </a:lnTo>
                    <a:lnTo>
                      <a:pt x="6" y="811"/>
                    </a:lnTo>
                    <a:lnTo>
                      <a:pt x="5" y="806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4" y="3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373" y="0"/>
                    </a:lnTo>
                    <a:lnTo>
                      <a:pt x="376" y="1"/>
                    </a:lnTo>
                    <a:lnTo>
                      <a:pt x="380" y="5"/>
                    </a:lnTo>
                    <a:lnTo>
                      <a:pt x="384" y="9"/>
                    </a:lnTo>
                    <a:lnTo>
                      <a:pt x="384" y="14"/>
                    </a:lnTo>
                    <a:lnTo>
                      <a:pt x="379" y="806"/>
                    </a:lnTo>
                    <a:lnTo>
                      <a:pt x="378" y="811"/>
                    </a:lnTo>
                    <a:lnTo>
                      <a:pt x="375" y="814"/>
                    </a:lnTo>
                    <a:lnTo>
                      <a:pt x="371" y="817"/>
                    </a:lnTo>
                    <a:lnTo>
                      <a:pt x="367" y="817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5" name="Freeform 283"/>
              <p:cNvSpPr>
                <a:spLocks/>
              </p:cNvSpPr>
              <p:nvPr/>
            </p:nvSpPr>
            <p:spPr bwMode="auto">
              <a:xfrm>
                <a:off x="3363913" y="5756275"/>
                <a:ext cx="80963" cy="52388"/>
              </a:xfrm>
              <a:custGeom>
                <a:avLst/>
                <a:gdLst>
                  <a:gd name="T0" fmla="*/ 190 w 202"/>
                  <a:gd name="T1" fmla="*/ 133 h 133"/>
                  <a:gd name="T2" fmla="*/ 12 w 202"/>
                  <a:gd name="T3" fmla="*/ 133 h 133"/>
                  <a:gd name="T4" fmla="*/ 7 w 202"/>
                  <a:gd name="T5" fmla="*/ 131 h 133"/>
                  <a:gd name="T6" fmla="*/ 4 w 202"/>
                  <a:gd name="T7" fmla="*/ 129 h 133"/>
                  <a:gd name="T8" fmla="*/ 1 w 202"/>
                  <a:gd name="T9" fmla="*/ 126 h 133"/>
                  <a:gd name="T10" fmla="*/ 0 w 202"/>
                  <a:gd name="T11" fmla="*/ 122 h 133"/>
                  <a:gd name="T12" fmla="*/ 0 w 202"/>
                  <a:gd name="T13" fmla="*/ 14 h 133"/>
                  <a:gd name="T14" fmla="*/ 1 w 202"/>
                  <a:gd name="T15" fmla="*/ 10 h 133"/>
                  <a:gd name="T16" fmla="*/ 4 w 202"/>
                  <a:gd name="T17" fmla="*/ 6 h 133"/>
                  <a:gd name="T18" fmla="*/ 7 w 202"/>
                  <a:gd name="T19" fmla="*/ 3 h 133"/>
                  <a:gd name="T20" fmla="*/ 12 w 202"/>
                  <a:gd name="T21" fmla="*/ 2 h 133"/>
                  <a:gd name="T22" fmla="*/ 17 w 202"/>
                  <a:gd name="T23" fmla="*/ 3 h 133"/>
                  <a:gd name="T24" fmla="*/ 21 w 202"/>
                  <a:gd name="T25" fmla="*/ 6 h 133"/>
                  <a:gd name="T26" fmla="*/ 23 w 202"/>
                  <a:gd name="T27" fmla="*/ 10 h 133"/>
                  <a:gd name="T28" fmla="*/ 24 w 202"/>
                  <a:gd name="T29" fmla="*/ 14 h 133"/>
                  <a:gd name="T30" fmla="*/ 24 w 202"/>
                  <a:gd name="T31" fmla="*/ 111 h 133"/>
                  <a:gd name="T32" fmla="*/ 179 w 202"/>
                  <a:gd name="T33" fmla="*/ 111 h 133"/>
                  <a:gd name="T34" fmla="*/ 179 w 202"/>
                  <a:gd name="T35" fmla="*/ 14 h 133"/>
                  <a:gd name="T36" fmla="*/ 179 w 202"/>
                  <a:gd name="T37" fmla="*/ 9 h 133"/>
                  <a:gd name="T38" fmla="*/ 181 w 202"/>
                  <a:gd name="T39" fmla="*/ 4 h 133"/>
                  <a:gd name="T40" fmla="*/ 186 w 202"/>
                  <a:gd name="T41" fmla="*/ 2 h 133"/>
                  <a:gd name="T42" fmla="*/ 190 w 202"/>
                  <a:gd name="T43" fmla="*/ 0 h 133"/>
                  <a:gd name="T44" fmla="*/ 195 w 202"/>
                  <a:gd name="T45" fmla="*/ 2 h 133"/>
                  <a:gd name="T46" fmla="*/ 198 w 202"/>
                  <a:gd name="T47" fmla="*/ 4 h 133"/>
                  <a:gd name="T48" fmla="*/ 201 w 202"/>
                  <a:gd name="T49" fmla="*/ 9 h 133"/>
                  <a:gd name="T50" fmla="*/ 202 w 202"/>
                  <a:gd name="T51" fmla="*/ 14 h 133"/>
                  <a:gd name="T52" fmla="*/ 202 w 202"/>
                  <a:gd name="T53" fmla="*/ 122 h 133"/>
                  <a:gd name="T54" fmla="*/ 201 w 202"/>
                  <a:gd name="T55" fmla="*/ 126 h 133"/>
                  <a:gd name="T56" fmla="*/ 198 w 202"/>
                  <a:gd name="T57" fmla="*/ 129 h 133"/>
                  <a:gd name="T58" fmla="*/ 195 w 202"/>
                  <a:gd name="T59" fmla="*/ 131 h 133"/>
                  <a:gd name="T60" fmla="*/ 190 w 202"/>
                  <a:gd name="T61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02" h="133">
                    <a:moveTo>
                      <a:pt x="190" y="133"/>
                    </a:moveTo>
                    <a:lnTo>
                      <a:pt x="12" y="133"/>
                    </a:lnTo>
                    <a:lnTo>
                      <a:pt x="7" y="131"/>
                    </a:lnTo>
                    <a:lnTo>
                      <a:pt x="4" y="129"/>
                    </a:lnTo>
                    <a:lnTo>
                      <a:pt x="1" y="126"/>
                    </a:lnTo>
                    <a:lnTo>
                      <a:pt x="0" y="122"/>
                    </a:lnTo>
                    <a:lnTo>
                      <a:pt x="0" y="14"/>
                    </a:lnTo>
                    <a:lnTo>
                      <a:pt x="1" y="10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12" y="2"/>
                    </a:lnTo>
                    <a:lnTo>
                      <a:pt x="17" y="3"/>
                    </a:lnTo>
                    <a:lnTo>
                      <a:pt x="21" y="6"/>
                    </a:lnTo>
                    <a:lnTo>
                      <a:pt x="23" y="10"/>
                    </a:lnTo>
                    <a:lnTo>
                      <a:pt x="24" y="14"/>
                    </a:lnTo>
                    <a:lnTo>
                      <a:pt x="24" y="111"/>
                    </a:lnTo>
                    <a:lnTo>
                      <a:pt x="179" y="111"/>
                    </a:lnTo>
                    <a:lnTo>
                      <a:pt x="179" y="14"/>
                    </a:lnTo>
                    <a:lnTo>
                      <a:pt x="179" y="9"/>
                    </a:lnTo>
                    <a:lnTo>
                      <a:pt x="181" y="4"/>
                    </a:lnTo>
                    <a:lnTo>
                      <a:pt x="186" y="2"/>
                    </a:lnTo>
                    <a:lnTo>
                      <a:pt x="190" y="0"/>
                    </a:lnTo>
                    <a:lnTo>
                      <a:pt x="195" y="2"/>
                    </a:lnTo>
                    <a:lnTo>
                      <a:pt x="198" y="4"/>
                    </a:lnTo>
                    <a:lnTo>
                      <a:pt x="201" y="9"/>
                    </a:lnTo>
                    <a:lnTo>
                      <a:pt x="202" y="14"/>
                    </a:lnTo>
                    <a:lnTo>
                      <a:pt x="202" y="122"/>
                    </a:lnTo>
                    <a:lnTo>
                      <a:pt x="201" y="126"/>
                    </a:lnTo>
                    <a:lnTo>
                      <a:pt x="198" y="129"/>
                    </a:lnTo>
                    <a:lnTo>
                      <a:pt x="195" y="131"/>
                    </a:lnTo>
                    <a:lnTo>
                      <a:pt x="190" y="133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6" name="Freeform 284"/>
              <p:cNvSpPr>
                <a:spLocks/>
              </p:cNvSpPr>
              <p:nvPr/>
            </p:nvSpPr>
            <p:spPr bwMode="auto">
              <a:xfrm>
                <a:off x="3363913" y="5689600"/>
                <a:ext cx="80963" cy="46038"/>
              </a:xfrm>
              <a:custGeom>
                <a:avLst/>
                <a:gdLst>
                  <a:gd name="T0" fmla="*/ 12 w 202"/>
                  <a:gd name="T1" fmla="*/ 116 h 116"/>
                  <a:gd name="T2" fmla="*/ 7 w 202"/>
                  <a:gd name="T3" fmla="*/ 115 h 116"/>
                  <a:gd name="T4" fmla="*/ 4 w 202"/>
                  <a:gd name="T5" fmla="*/ 112 h 116"/>
                  <a:gd name="T6" fmla="*/ 1 w 202"/>
                  <a:gd name="T7" fmla="*/ 108 h 116"/>
                  <a:gd name="T8" fmla="*/ 0 w 202"/>
                  <a:gd name="T9" fmla="*/ 103 h 116"/>
                  <a:gd name="T10" fmla="*/ 0 w 202"/>
                  <a:gd name="T11" fmla="*/ 13 h 116"/>
                  <a:gd name="T12" fmla="*/ 1 w 202"/>
                  <a:gd name="T13" fmla="*/ 8 h 116"/>
                  <a:gd name="T14" fmla="*/ 4 w 202"/>
                  <a:gd name="T15" fmla="*/ 4 h 116"/>
                  <a:gd name="T16" fmla="*/ 7 w 202"/>
                  <a:gd name="T17" fmla="*/ 1 h 116"/>
                  <a:gd name="T18" fmla="*/ 12 w 202"/>
                  <a:gd name="T19" fmla="*/ 0 h 116"/>
                  <a:gd name="T20" fmla="*/ 190 w 202"/>
                  <a:gd name="T21" fmla="*/ 0 h 116"/>
                  <a:gd name="T22" fmla="*/ 195 w 202"/>
                  <a:gd name="T23" fmla="*/ 1 h 116"/>
                  <a:gd name="T24" fmla="*/ 198 w 202"/>
                  <a:gd name="T25" fmla="*/ 4 h 116"/>
                  <a:gd name="T26" fmla="*/ 201 w 202"/>
                  <a:gd name="T27" fmla="*/ 8 h 116"/>
                  <a:gd name="T28" fmla="*/ 202 w 202"/>
                  <a:gd name="T29" fmla="*/ 13 h 116"/>
                  <a:gd name="T30" fmla="*/ 202 w 202"/>
                  <a:gd name="T31" fmla="*/ 103 h 116"/>
                  <a:gd name="T32" fmla="*/ 201 w 202"/>
                  <a:gd name="T33" fmla="*/ 106 h 116"/>
                  <a:gd name="T34" fmla="*/ 198 w 202"/>
                  <a:gd name="T35" fmla="*/ 110 h 116"/>
                  <a:gd name="T36" fmla="*/ 195 w 202"/>
                  <a:gd name="T37" fmla="*/ 112 h 116"/>
                  <a:gd name="T38" fmla="*/ 190 w 202"/>
                  <a:gd name="T39" fmla="*/ 114 h 116"/>
                  <a:gd name="T40" fmla="*/ 186 w 202"/>
                  <a:gd name="T41" fmla="*/ 112 h 116"/>
                  <a:gd name="T42" fmla="*/ 181 w 202"/>
                  <a:gd name="T43" fmla="*/ 110 h 116"/>
                  <a:gd name="T44" fmla="*/ 179 w 202"/>
                  <a:gd name="T45" fmla="*/ 106 h 116"/>
                  <a:gd name="T46" fmla="*/ 179 w 202"/>
                  <a:gd name="T47" fmla="*/ 103 h 116"/>
                  <a:gd name="T48" fmla="*/ 179 w 202"/>
                  <a:gd name="T49" fmla="*/ 24 h 116"/>
                  <a:gd name="T50" fmla="*/ 24 w 202"/>
                  <a:gd name="T51" fmla="*/ 24 h 116"/>
                  <a:gd name="T52" fmla="*/ 24 w 202"/>
                  <a:gd name="T53" fmla="*/ 103 h 116"/>
                  <a:gd name="T54" fmla="*/ 23 w 202"/>
                  <a:gd name="T55" fmla="*/ 108 h 116"/>
                  <a:gd name="T56" fmla="*/ 21 w 202"/>
                  <a:gd name="T57" fmla="*/ 112 h 116"/>
                  <a:gd name="T58" fmla="*/ 17 w 202"/>
                  <a:gd name="T59" fmla="*/ 115 h 116"/>
                  <a:gd name="T60" fmla="*/ 12 w 202"/>
                  <a:gd name="T61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02" h="116">
                    <a:moveTo>
                      <a:pt x="12" y="116"/>
                    </a:moveTo>
                    <a:lnTo>
                      <a:pt x="7" y="115"/>
                    </a:lnTo>
                    <a:lnTo>
                      <a:pt x="4" y="112"/>
                    </a:lnTo>
                    <a:lnTo>
                      <a:pt x="1" y="108"/>
                    </a:lnTo>
                    <a:lnTo>
                      <a:pt x="0" y="103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2" y="0"/>
                    </a:lnTo>
                    <a:lnTo>
                      <a:pt x="190" y="0"/>
                    </a:lnTo>
                    <a:lnTo>
                      <a:pt x="195" y="1"/>
                    </a:lnTo>
                    <a:lnTo>
                      <a:pt x="198" y="4"/>
                    </a:lnTo>
                    <a:lnTo>
                      <a:pt x="201" y="8"/>
                    </a:lnTo>
                    <a:lnTo>
                      <a:pt x="202" y="13"/>
                    </a:lnTo>
                    <a:lnTo>
                      <a:pt x="202" y="103"/>
                    </a:lnTo>
                    <a:lnTo>
                      <a:pt x="201" y="106"/>
                    </a:lnTo>
                    <a:lnTo>
                      <a:pt x="198" y="110"/>
                    </a:lnTo>
                    <a:lnTo>
                      <a:pt x="195" y="112"/>
                    </a:lnTo>
                    <a:lnTo>
                      <a:pt x="190" y="114"/>
                    </a:lnTo>
                    <a:lnTo>
                      <a:pt x="186" y="112"/>
                    </a:lnTo>
                    <a:lnTo>
                      <a:pt x="181" y="110"/>
                    </a:lnTo>
                    <a:lnTo>
                      <a:pt x="179" y="106"/>
                    </a:lnTo>
                    <a:lnTo>
                      <a:pt x="179" y="103"/>
                    </a:lnTo>
                    <a:lnTo>
                      <a:pt x="179" y="24"/>
                    </a:lnTo>
                    <a:lnTo>
                      <a:pt x="24" y="24"/>
                    </a:lnTo>
                    <a:lnTo>
                      <a:pt x="24" y="103"/>
                    </a:lnTo>
                    <a:lnTo>
                      <a:pt x="23" y="108"/>
                    </a:lnTo>
                    <a:lnTo>
                      <a:pt x="21" y="112"/>
                    </a:lnTo>
                    <a:lnTo>
                      <a:pt x="17" y="115"/>
                    </a:lnTo>
                    <a:lnTo>
                      <a:pt x="12" y="116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7" name="Freeform 285"/>
              <p:cNvSpPr>
                <a:spLocks/>
              </p:cNvSpPr>
              <p:nvPr/>
            </p:nvSpPr>
            <p:spPr bwMode="auto">
              <a:xfrm>
                <a:off x="3354388" y="5729288"/>
                <a:ext cx="36513" cy="31750"/>
              </a:xfrm>
              <a:custGeom>
                <a:avLst/>
                <a:gdLst>
                  <a:gd name="T0" fmla="*/ 22 w 95"/>
                  <a:gd name="T1" fmla="*/ 82 h 82"/>
                  <a:gd name="T2" fmla="*/ 31 w 95"/>
                  <a:gd name="T3" fmla="*/ 81 h 82"/>
                  <a:gd name="T4" fmla="*/ 52 w 95"/>
                  <a:gd name="T5" fmla="*/ 79 h 82"/>
                  <a:gd name="T6" fmla="*/ 64 w 95"/>
                  <a:gd name="T7" fmla="*/ 77 h 82"/>
                  <a:gd name="T8" fmla="*/ 75 w 95"/>
                  <a:gd name="T9" fmla="*/ 73 h 82"/>
                  <a:gd name="T10" fmla="*/ 81 w 95"/>
                  <a:gd name="T11" fmla="*/ 72 h 82"/>
                  <a:gd name="T12" fmla="*/ 85 w 95"/>
                  <a:gd name="T13" fmla="*/ 70 h 82"/>
                  <a:gd name="T14" fmla="*/ 89 w 95"/>
                  <a:gd name="T15" fmla="*/ 67 h 82"/>
                  <a:gd name="T16" fmla="*/ 91 w 95"/>
                  <a:gd name="T17" fmla="*/ 63 h 82"/>
                  <a:gd name="T18" fmla="*/ 93 w 95"/>
                  <a:gd name="T19" fmla="*/ 59 h 82"/>
                  <a:gd name="T20" fmla="*/ 95 w 95"/>
                  <a:gd name="T21" fmla="*/ 54 h 82"/>
                  <a:gd name="T22" fmla="*/ 95 w 95"/>
                  <a:gd name="T23" fmla="*/ 49 h 82"/>
                  <a:gd name="T24" fmla="*/ 95 w 95"/>
                  <a:gd name="T25" fmla="*/ 43 h 82"/>
                  <a:gd name="T26" fmla="*/ 90 w 95"/>
                  <a:gd name="T27" fmla="*/ 33 h 82"/>
                  <a:gd name="T28" fmla="*/ 84 w 95"/>
                  <a:gd name="T29" fmla="*/ 23 h 82"/>
                  <a:gd name="T30" fmla="*/ 76 w 95"/>
                  <a:gd name="T31" fmla="*/ 13 h 82"/>
                  <a:gd name="T32" fmla="*/ 68 w 95"/>
                  <a:gd name="T33" fmla="*/ 7 h 82"/>
                  <a:gd name="T34" fmla="*/ 64 w 95"/>
                  <a:gd name="T35" fmla="*/ 3 h 82"/>
                  <a:gd name="T36" fmla="*/ 59 w 95"/>
                  <a:gd name="T37" fmla="*/ 2 h 82"/>
                  <a:gd name="T38" fmla="*/ 56 w 95"/>
                  <a:gd name="T39" fmla="*/ 1 h 82"/>
                  <a:gd name="T40" fmla="*/ 52 w 95"/>
                  <a:gd name="T41" fmla="*/ 0 h 82"/>
                  <a:gd name="T42" fmla="*/ 44 w 95"/>
                  <a:gd name="T43" fmla="*/ 2 h 82"/>
                  <a:gd name="T44" fmla="*/ 36 w 95"/>
                  <a:gd name="T45" fmla="*/ 6 h 82"/>
                  <a:gd name="T46" fmla="*/ 27 w 95"/>
                  <a:gd name="T47" fmla="*/ 12 h 82"/>
                  <a:gd name="T48" fmla="*/ 19 w 95"/>
                  <a:gd name="T49" fmla="*/ 18 h 82"/>
                  <a:gd name="T50" fmla="*/ 5 w 95"/>
                  <a:gd name="T51" fmla="*/ 30 h 82"/>
                  <a:gd name="T52" fmla="*/ 0 w 95"/>
                  <a:gd name="T53" fmla="*/ 37 h 82"/>
                  <a:gd name="T54" fmla="*/ 22 w 95"/>
                  <a:gd name="T55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5" h="82">
                    <a:moveTo>
                      <a:pt x="22" y="82"/>
                    </a:moveTo>
                    <a:lnTo>
                      <a:pt x="31" y="81"/>
                    </a:lnTo>
                    <a:lnTo>
                      <a:pt x="52" y="79"/>
                    </a:lnTo>
                    <a:lnTo>
                      <a:pt x="64" y="77"/>
                    </a:lnTo>
                    <a:lnTo>
                      <a:pt x="75" y="73"/>
                    </a:lnTo>
                    <a:lnTo>
                      <a:pt x="81" y="72"/>
                    </a:lnTo>
                    <a:lnTo>
                      <a:pt x="85" y="70"/>
                    </a:lnTo>
                    <a:lnTo>
                      <a:pt x="89" y="67"/>
                    </a:lnTo>
                    <a:lnTo>
                      <a:pt x="91" y="63"/>
                    </a:lnTo>
                    <a:lnTo>
                      <a:pt x="93" y="59"/>
                    </a:lnTo>
                    <a:lnTo>
                      <a:pt x="95" y="54"/>
                    </a:lnTo>
                    <a:lnTo>
                      <a:pt x="95" y="49"/>
                    </a:lnTo>
                    <a:lnTo>
                      <a:pt x="95" y="43"/>
                    </a:lnTo>
                    <a:lnTo>
                      <a:pt x="90" y="33"/>
                    </a:lnTo>
                    <a:lnTo>
                      <a:pt x="84" y="23"/>
                    </a:lnTo>
                    <a:lnTo>
                      <a:pt x="76" y="13"/>
                    </a:lnTo>
                    <a:lnTo>
                      <a:pt x="68" y="7"/>
                    </a:lnTo>
                    <a:lnTo>
                      <a:pt x="64" y="3"/>
                    </a:lnTo>
                    <a:lnTo>
                      <a:pt x="59" y="2"/>
                    </a:lnTo>
                    <a:lnTo>
                      <a:pt x="56" y="1"/>
                    </a:lnTo>
                    <a:lnTo>
                      <a:pt x="52" y="0"/>
                    </a:lnTo>
                    <a:lnTo>
                      <a:pt x="44" y="2"/>
                    </a:lnTo>
                    <a:lnTo>
                      <a:pt x="36" y="6"/>
                    </a:lnTo>
                    <a:lnTo>
                      <a:pt x="27" y="12"/>
                    </a:lnTo>
                    <a:lnTo>
                      <a:pt x="19" y="18"/>
                    </a:lnTo>
                    <a:lnTo>
                      <a:pt x="5" y="30"/>
                    </a:lnTo>
                    <a:lnTo>
                      <a:pt x="0" y="37"/>
                    </a:lnTo>
                    <a:lnTo>
                      <a:pt x="22" y="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8" name="Freeform 286"/>
              <p:cNvSpPr>
                <a:spLocks/>
              </p:cNvSpPr>
              <p:nvPr/>
            </p:nvSpPr>
            <p:spPr bwMode="auto">
              <a:xfrm>
                <a:off x="3349625" y="5724525"/>
                <a:ext cx="46038" cy="41275"/>
              </a:xfrm>
              <a:custGeom>
                <a:avLst/>
                <a:gdLst>
                  <a:gd name="T0" fmla="*/ 37 w 119"/>
                  <a:gd name="T1" fmla="*/ 104 h 104"/>
                  <a:gd name="T2" fmla="*/ 30 w 119"/>
                  <a:gd name="T3" fmla="*/ 103 h 104"/>
                  <a:gd name="T4" fmla="*/ 22 w 119"/>
                  <a:gd name="T5" fmla="*/ 97 h 104"/>
                  <a:gd name="T6" fmla="*/ 23 w 119"/>
                  <a:gd name="T7" fmla="*/ 88 h 104"/>
                  <a:gd name="T8" fmla="*/ 30 w 119"/>
                  <a:gd name="T9" fmla="*/ 81 h 104"/>
                  <a:gd name="T10" fmla="*/ 34 w 119"/>
                  <a:gd name="T11" fmla="*/ 79 h 104"/>
                  <a:gd name="T12" fmla="*/ 54 w 119"/>
                  <a:gd name="T13" fmla="*/ 79 h 104"/>
                  <a:gd name="T14" fmla="*/ 86 w 119"/>
                  <a:gd name="T15" fmla="*/ 73 h 104"/>
                  <a:gd name="T16" fmla="*/ 94 w 119"/>
                  <a:gd name="T17" fmla="*/ 63 h 104"/>
                  <a:gd name="T18" fmla="*/ 92 w 119"/>
                  <a:gd name="T19" fmla="*/ 51 h 104"/>
                  <a:gd name="T20" fmla="*/ 83 w 119"/>
                  <a:gd name="T21" fmla="*/ 38 h 104"/>
                  <a:gd name="T22" fmla="*/ 69 w 119"/>
                  <a:gd name="T23" fmla="*/ 27 h 104"/>
                  <a:gd name="T24" fmla="*/ 64 w 119"/>
                  <a:gd name="T25" fmla="*/ 24 h 104"/>
                  <a:gd name="T26" fmla="*/ 55 w 119"/>
                  <a:gd name="T27" fmla="*/ 28 h 104"/>
                  <a:gd name="T28" fmla="*/ 44 w 119"/>
                  <a:gd name="T29" fmla="*/ 35 h 104"/>
                  <a:gd name="T30" fmla="*/ 21 w 119"/>
                  <a:gd name="T31" fmla="*/ 56 h 104"/>
                  <a:gd name="T32" fmla="*/ 12 w 119"/>
                  <a:gd name="T33" fmla="*/ 60 h 104"/>
                  <a:gd name="T34" fmla="*/ 4 w 119"/>
                  <a:gd name="T35" fmla="*/ 56 h 104"/>
                  <a:gd name="T36" fmla="*/ 0 w 119"/>
                  <a:gd name="T37" fmla="*/ 49 h 104"/>
                  <a:gd name="T38" fmla="*/ 3 w 119"/>
                  <a:gd name="T39" fmla="*/ 40 h 104"/>
                  <a:gd name="T40" fmla="*/ 28 w 119"/>
                  <a:gd name="T41" fmla="*/ 17 h 104"/>
                  <a:gd name="T42" fmla="*/ 47 w 119"/>
                  <a:gd name="T43" fmla="*/ 5 h 104"/>
                  <a:gd name="T44" fmla="*/ 64 w 119"/>
                  <a:gd name="T45" fmla="*/ 0 h 104"/>
                  <a:gd name="T46" fmla="*/ 70 w 119"/>
                  <a:gd name="T47" fmla="*/ 1 h 104"/>
                  <a:gd name="T48" fmla="*/ 83 w 119"/>
                  <a:gd name="T49" fmla="*/ 7 h 104"/>
                  <a:gd name="T50" fmla="*/ 97 w 119"/>
                  <a:gd name="T51" fmla="*/ 17 h 104"/>
                  <a:gd name="T52" fmla="*/ 107 w 119"/>
                  <a:gd name="T53" fmla="*/ 29 h 104"/>
                  <a:gd name="T54" fmla="*/ 114 w 119"/>
                  <a:gd name="T55" fmla="*/ 43 h 104"/>
                  <a:gd name="T56" fmla="*/ 118 w 119"/>
                  <a:gd name="T57" fmla="*/ 54 h 104"/>
                  <a:gd name="T58" fmla="*/ 119 w 119"/>
                  <a:gd name="T59" fmla="*/ 65 h 104"/>
                  <a:gd name="T60" fmla="*/ 117 w 119"/>
                  <a:gd name="T61" fmla="*/ 76 h 104"/>
                  <a:gd name="T62" fmla="*/ 110 w 119"/>
                  <a:gd name="T63" fmla="*/ 84 h 104"/>
                  <a:gd name="T64" fmla="*/ 104 w 119"/>
                  <a:gd name="T65" fmla="*/ 90 h 104"/>
                  <a:gd name="T66" fmla="*/ 90 w 119"/>
                  <a:gd name="T67" fmla="*/ 98 h 104"/>
                  <a:gd name="T68" fmla="*/ 58 w 119"/>
                  <a:gd name="T69" fmla="*/ 10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9" h="104">
                    <a:moveTo>
                      <a:pt x="39" y="104"/>
                    </a:moveTo>
                    <a:lnTo>
                      <a:pt x="37" y="104"/>
                    </a:lnTo>
                    <a:lnTo>
                      <a:pt x="33" y="104"/>
                    </a:lnTo>
                    <a:lnTo>
                      <a:pt x="30" y="103"/>
                    </a:lnTo>
                    <a:lnTo>
                      <a:pt x="26" y="100"/>
                    </a:lnTo>
                    <a:lnTo>
                      <a:pt x="22" y="97"/>
                    </a:lnTo>
                    <a:lnTo>
                      <a:pt x="22" y="93"/>
                    </a:lnTo>
                    <a:lnTo>
                      <a:pt x="23" y="88"/>
                    </a:lnTo>
                    <a:lnTo>
                      <a:pt x="26" y="83"/>
                    </a:lnTo>
                    <a:lnTo>
                      <a:pt x="30" y="81"/>
                    </a:lnTo>
                    <a:lnTo>
                      <a:pt x="34" y="79"/>
                    </a:lnTo>
                    <a:lnTo>
                      <a:pt x="34" y="79"/>
                    </a:lnTo>
                    <a:lnTo>
                      <a:pt x="34" y="79"/>
                    </a:lnTo>
                    <a:lnTo>
                      <a:pt x="54" y="79"/>
                    </a:lnTo>
                    <a:lnTo>
                      <a:pt x="72" y="77"/>
                    </a:lnTo>
                    <a:lnTo>
                      <a:pt x="86" y="73"/>
                    </a:lnTo>
                    <a:lnTo>
                      <a:pt x="93" y="70"/>
                    </a:lnTo>
                    <a:lnTo>
                      <a:pt x="94" y="63"/>
                    </a:lnTo>
                    <a:lnTo>
                      <a:pt x="94" y="57"/>
                    </a:lnTo>
                    <a:lnTo>
                      <a:pt x="92" y="51"/>
                    </a:lnTo>
                    <a:lnTo>
                      <a:pt x="90" y="48"/>
                    </a:lnTo>
                    <a:lnTo>
                      <a:pt x="83" y="38"/>
                    </a:lnTo>
                    <a:lnTo>
                      <a:pt x="76" y="32"/>
                    </a:lnTo>
                    <a:lnTo>
                      <a:pt x="69" y="27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0" y="25"/>
                    </a:lnTo>
                    <a:lnTo>
                      <a:pt x="55" y="28"/>
                    </a:lnTo>
                    <a:lnTo>
                      <a:pt x="50" y="30"/>
                    </a:lnTo>
                    <a:lnTo>
                      <a:pt x="44" y="35"/>
                    </a:lnTo>
                    <a:lnTo>
                      <a:pt x="32" y="45"/>
                    </a:lnTo>
                    <a:lnTo>
                      <a:pt x="21" y="56"/>
                    </a:lnTo>
                    <a:lnTo>
                      <a:pt x="17" y="59"/>
                    </a:lnTo>
                    <a:lnTo>
                      <a:pt x="12" y="60"/>
                    </a:lnTo>
                    <a:lnTo>
                      <a:pt x="7" y="59"/>
                    </a:lnTo>
                    <a:lnTo>
                      <a:pt x="4" y="56"/>
                    </a:lnTo>
                    <a:lnTo>
                      <a:pt x="1" y="52"/>
                    </a:lnTo>
                    <a:lnTo>
                      <a:pt x="0" y="49"/>
                    </a:lnTo>
                    <a:lnTo>
                      <a:pt x="0" y="44"/>
                    </a:lnTo>
                    <a:lnTo>
                      <a:pt x="3" y="40"/>
                    </a:lnTo>
                    <a:lnTo>
                      <a:pt x="14" y="30"/>
                    </a:lnTo>
                    <a:lnTo>
                      <a:pt x="28" y="17"/>
                    </a:lnTo>
                    <a:lnTo>
                      <a:pt x="37" y="11"/>
                    </a:lnTo>
                    <a:lnTo>
                      <a:pt x="47" y="5"/>
                    </a:lnTo>
                    <a:lnTo>
                      <a:pt x="55" y="1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70" y="1"/>
                    </a:lnTo>
                    <a:lnTo>
                      <a:pt x="77" y="3"/>
                    </a:lnTo>
                    <a:lnTo>
                      <a:pt x="83" y="7"/>
                    </a:lnTo>
                    <a:lnTo>
                      <a:pt x="91" y="11"/>
                    </a:lnTo>
                    <a:lnTo>
                      <a:pt x="97" y="17"/>
                    </a:lnTo>
                    <a:lnTo>
                      <a:pt x="102" y="23"/>
                    </a:lnTo>
                    <a:lnTo>
                      <a:pt x="107" y="29"/>
                    </a:lnTo>
                    <a:lnTo>
                      <a:pt x="110" y="37"/>
                    </a:lnTo>
                    <a:lnTo>
                      <a:pt x="114" y="43"/>
                    </a:lnTo>
                    <a:lnTo>
                      <a:pt x="117" y="48"/>
                    </a:lnTo>
                    <a:lnTo>
                      <a:pt x="118" y="54"/>
                    </a:lnTo>
                    <a:lnTo>
                      <a:pt x="119" y="60"/>
                    </a:lnTo>
                    <a:lnTo>
                      <a:pt x="119" y="65"/>
                    </a:lnTo>
                    <a:lnTo>
                      <a:pt x="118" y="71"/>
                    </a:lnTo>
                    <a:lnTo>
                      <a:pt x="117" y="76"/>
                    </a:lnTo>
                    <a:lnTo>
                      <a:pt x="114" y="81"/>
                    </a:lnTo>
                    <a:lnTo>
                      <a:pt x="110" y="84"/>
                    </a:lnTo>
                    <a:lnTo>
                      <a:pt x="108" y="88"/>
                    </a:lnTo>
                    <a:lnTo>
                      <a:pt x="104" y="90"/>
                    </a:lnTo>
                    <a:lnTo>
                      <a:pt x="99" y="93"/>
                    </a:lnTo>
                    <a:lnTo>
                      <a:pt x="90" y="98"/>
                    </a:lnTo>
                    <a:lnTo>
                      <a:pt x="80" y="100"/>
                    </a:lnTo>
                    <a:lnTo>
                      <a:pt x="58" y="103"/>
                    </a:lnTo>
                    <a:lnTo>
                      <a:pt x="39" y="104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59" name="Freeform 287"/>
              <p:cNvSpPr>
                <a:spLocks/>
              </p:cNvSpPr>
              <p:nvPr/>
            </p:nvSpPr>
            <p:spPr bwMode="auto">
              <a:xfrm>
                <a:off x="3257550" y="5740400"/>
                <a:ext cx="107950" cy="80963"/>
              </a:xfrm>
              <a:custGeom>
                <a:avLst/>
                <a:gdLst>
                  <a:gd name="T0" fmla="*/ 239 w 274"/>
                  <a:gd name="T1" fmla="*/ 0 h 206"/>
                  <a:gd name="T2" fmla="*/ 116 w 274"/>
                  <a:gd name="T3" fmla="*/ 60 h 206"/>
                  <a:gd name="T4" fmla="*/ 24 w 274"/>
                  <a:gd name="T5" fmla="*/ 103 h 206"/>
                  <a:gd name="T6" fmla="*/ 15 w 274"/>
                  <a:gd name="T7" fmla="*/ 109 h 206"/>
                  <a:gd name="T8" fmla="*/ 9 w 274"/>
                  <a:gd name="T9" fmla="*/ 116 h 206"/>
                  <a:gd name="T10" fmla="*/ 4 w 274"/>
                  <a:gd name="T11" fmla="*/ 126 h 206"/>
                  <a:gd name="T12" fmla="*/ 2 w 274"/>
                  <a:gd name="T13" fmla="*/ 136 h 206"/>
                  <a:gd name="T14" fmla="*/ 0 w 274"/>
                  <a:gd name="T15" fmla="*/ 147 h 206"/>
                  <a:gd name="T16" fmla="*/ 0 w 274"/>
                  <a:gd name="T17" fmla="*/ 157 h 206"/>
                  <a:gd name="T18" fmla="*/ 3 w 274"/>
                  <a:gd name="T19" fmla="*/ 168 h 206"/>
                  <a:gd name="T20" fmla="*/ 7 w 274"/>
                  <a:gd name="T21" fmla="*/ 178 h 206"/>
                  <a:gd name="T22" fmla="*/ 9 w 274"/>
                  <a:gd name="T23" fmla="*/ 182 h 206"/>
                  <a:gd name="T24" fmla="*/ 13 w 274"/>
                  <a:gd name="T25" fmla="*/ 187 h 206"/>
                  <a:gd name="T26" fmla="*/ 15 w 274"/>
                  <a:gd name="T27" fmla="*/ 192 h 206"/>
                  <a:gd name="T28" fmla="*/ 19 w 274"/>
                  <a:gd name="T29" fmla="*/ 196 h 206"/>
                  <a:gd name="T30" fmla="*/ 27 w 274"/>
                  <a:gd name="T31" fmla="*/ 201 h 206"/>
                  <a:gd name="T32" fmla="*/ 36 w 274"/>
                  <a:gd name="T33" fmla="*/ 204 h 206"/>
                  <a:gd name="T34" fmla="*/ 46 w 274"/>
                  <a:gd name="T35" fmla="*/ 206 h 206"/>
                  <a:gd name="T36" fmla="*/ 56 w 274"/>
                  <a:gd name="T37" fmla="*/ 206 h 206"/>
                  <a:gd name="T38" fmla="*/ 64 w 274"/>
                  <a:gd name="T39" fmla="*/ 203 h 206"/>
                  <a:gd name="T40" fmla="*/ 74 w 274"/>
                  <a:gd name="T41" fmla="*/ 200 h 206"/>
                  <a:gd name="T42" fmla="*/ 274 w 274"/>
                  <a:gd name="T43" fmla="*/ 67 h 206"/>
                  <a:gd name="T44" fmla="*/ 239 w 274"/>
                  <a:gd name="T45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4" h="206">
                    <a:moveTo>
                      <a:pt x="239" y="0"/>
                    </a:moveTo>
                    <a:lnTo>
                      <a:pt x="116" y="60"/>
                    </a:lnTo>
                    <a:lnTo>
                      <a:pt x="24" y="103"/>
                    </a:lnTo>
                    <a:lnTo>
                      <a:pt x="15" y="109"/>
                    </a:lnTo>
                    <a:lnTo>
                      <a:pt x="9" y="116"/>
                    </a:lnTo>
                    <a:lnTo>
                      <a:pt x="4" y="126"/>
                    </a:lnTo>
                    <a:lnTo>
                      <a:pt x="2" y="136"/>
                    </a:lnTo>
                    <a:lnTo>
                      <a:pt x="0" y="147"/>
                    </a:lnTo>
                    <a:lnTo>
                      <a:pt x="0" y="157"/>
                    </a:lnTo>
                    <a:lnTo>
                      <a:pt x="3" y="168"/>
                    </a:lnTo>
                    <a:lnTo>
                      <a:pt x="7" y="178"/>
                    </a:lnTo>
                    <a:lnTo>
                      <a:pt x="9" y="182"/>
                    </a:lnTo>
                    <a:lnTo>
                      <a:pt x="13" y="187"/>
                    </a:lnTo>
                    <a:lnTo>
                      <a:pt x="15" y="192"/>
                    </a:lnTo>
                    <a:lnTo>
                      <a:pt x="19" y="196"/>
                    </a:lnTo>
                    <a:lnTo>
                      <a:pt x="27" y="201"/>
                    </a:lnTo>
                    <a:lnTo>
                      <a:pt x="36" y="204"/>
                    </a:lnTo>
                    <a:lnTo>
                      <a:pt x="46" y="206"/>
                    </a:lnTo>
                    <a:lnTo>
                      <a:pt x="56" y="206"/>
                    </a:lnTo>
                    <a:lnTo>
                      <a:pt x="64" y="203"/>
                    </a:lnTo>
                    <a:lnTo>
                      <a:pt x="74" y="200"/>
                    </a:lnTo>
                    <a:lnTo>
                      <a:pt x="274" y="67"/>
                    </a:lnTo>
                    <a:lnTo>
                      <a:pt x="239" y="0"/>
                    </a:lnTo>
                    <a:close/>
                  </a:path>
                </a:pathLst>
              </a:custGeom>
              <a:solidFill>
                <a:srgbClr val="0097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60" name="Freeform 288"/>
              <p:cNvSpPr>
                <a:spLocks noEditPoints="1"/>
              </p:cNvSpPr>
              <p:nvPr/>
            </p:nvSpPr>
            <p:spPr bwMode="auto">
              <a:xfrm>
                <a:off x="3252788" y="5735638"/>
                <a:ext cx="117475" cy="90488"/>
              </a:xfrm>
              <a:custGeom>
                <a:avLst/>
                <a:gdLst>
                  <a:gd name="T0" fmla="*/ 246 w 298"/>
                  <a:gd name="T1" fmla="*/ 27 h 230"/>
                  <a:gd name="T2" fmla="*/ 41 w 298"/>
                  <a:gd name="T3" fmla="*/ 126 h 230"/>
                  <a:gd name="T4" fmla="*/ 34 w 298"/>
                  <a:gd name="T5" fmla="*/ 131 h 230"/>
                  <a:gd name="T6" fmla="*/ 31 w 298"/>
                  <a:gd name="T7" fmla="*/ 136 h 230"/>
                  <a:gd name="T8" fmla="*/ 27 w 298"/>
                  <a:gd name="T9" fmla="*/ 143 h 230"/>
                  <a:gd name="T10" fmla="*/ 25 w 298"/>
                  <a:gd name="T11" fmla="*/ 150 h 230"/>
                  <a:gd name="T12" fmla="*/ 23 w 298"/>
                  <a:gd name="T13" fmla="*/ 159 h 230"/>
                  <a:gd name="T14" fmla="*/ 25 w 298"/>
                  <a:gd name="T15" fmla="*/ 167 h 230"/>
                  <a:gd name="T16" fmla="*/ 26 w 298"/>
                  <a:gd name="T17" fmla="*/ 176 h 230"/>
                  <a:gd name="T18" fmla="*/ 28 w 298"/>
                  <a:gd name="T19" fmla="*/ 185 h 230"/>
                  <a:gd name="T20" fmla="*/ 33 w 298"/>
                  <a:gd name="T21" fmla="*/ 191 h 230"/>
                  <a:gd name="T22" fmla="*/ 37 w 298"/>
                  <a:gd name="T23" fmla="*/ 197 h 230"/>
                  <a:gd name="T24" fmla="*/ 43 w 298"/>
                  <a:gd name="T25" fmla="*/ 201 h 230"/>
                  <a:gd name="T26" fmla="*/ 48 w 298"/>
                  <a:gd name="T27" fmla="*/ 205 h 230"/>
                  <a:gd name="T28" fmla="*/ 55 w 298"/>
                  <a:gd name="T29" fmla="*/ 207 h 230"/>
                  <a:gd name="T30" fmla="*/ 64 w 298"/>
                  <a:gd name="T31" fmla="*/ 205 h 230"/>
                  <a:gd name="T32" fmla="*/ 71 w 298"/>
                  <a:gd name="T33" fmla="*/ 204 h 230"/>
                  <a:gd name="T34" fmla="*/ 80 w 298"/>
                  <a:gd name="T35" fmla="*/ 201 h 230"/>
                  <a:gd name="T36" fmla="*/ 271 w 298"/>
                  <a:gd name="T37" fmla="*/ 74 h 230"/>
                  <a:gd name="T38" fmla="*/ 246 w 298"/>
                  <a:gd name="T39" fmla="*/ 27 h 230"/>
                  <a:gd name="T40" fmla="*/ 59 w 298"/>
                  <a:gd name="T41" fmla="*/ 230 h 230"/>
                  <a:gd name="T42" fmla="*/ 49 w 298"/>
                  <a:gd name="T43" fmla="*/ 230 h 230"/>
                  <a:gd name="T44" fmla="*/ 41 w 298"/>
                  <a:gd name="T45" fmla="*/ 227 h 230"/>
                  <a:gd name="T46" fmla="*/ 36 w 298"/>
                  <a:gd name="T47" fmla="*/ 225 h 230"/>
                  <a:gd name="T48" fmla="*/ 31 w 298"/>
                  <a:gd name="T49" fmla="*/ 223 h 230"/>
                  <a:gd name="T50" fmla="*/ 26 w 298"/>
                  <a:gd name="T51" fmla="*/ 219 h 230"/>
                  <a:gd name="T52" fmla="*/ 21 w 298"/>
                  <a:gd name="T53" fmla="*/ 215 h 230"/>
                  <a:gd name="T54" fmla="*/ 14 w 298"/>
                  <a:gd name="T55" fmla="*/ 205 h 230"/>
                  <a:gd name="T56" fmla="*/ 7 w 298"/>
                  <a:gd name="T57" fmla="*/ 193 h 230"/>
                  <a:gd name="T58" fmla="*/ 3 w 298"/>
                  <a:gd name="T59" fmla="*/ 182 h 230"/>
                  <a:gd name="T60" fmla="*/ 0 w 298"/>
                  <a:gd name="T61" fmla="*/ 171 h 230"/>
                  <a:gd name="T62" fmla="*/ 0 w 298"/>
                  <a:gd name="T63" fmla="*/ 158 h 230"/>
                  <a:gd name="T64" fmla="*/ 1 w 298"/>
                  <a:gd name="T65" fmla="*/ 145 h 230"/>
                  <a:gd name="T66" fmla="*/ 5 w 298"/>
                  <a:gd name="T67" fmla="*/ 133 h 230"/>
                  <a:gd name="T68" fmla="*/ 11 w 298"/>
                  <a:gd name="T69" fmla="*/ 121 h 230"/>
                  <a:gd name="T70" fmla="*/ 15 w 298"/>
                  <a:gd name="T71" fmla="*/ 116 h 230"/>
                  <a:gd name="T72" fmla="*/ 20 w 298"/>
                  <a:gd name="T73" fmla="*/ 111 h 230"/>
                  <a:gd name="T74" fmla="*/ 23 w 298"/>
                  <a:gd name="T75" fmla="*/ 107 h 230"/>
                  <a:gd name="T76" fmla="*/ 30 w 298"/>
                  <a:gd name="T77" fmla="*/ 104 h 230"/>
                  <a:gd name="T78" fmla="*/ 246 w 298"/>
                  <a:gd name="T79" fmla="*/ 0 h 230"/>
                  <a:gd name="T80" fmla="*/ 251 w 298"/>
                  <a:gd name="T81" fmla="*/ 0 h 230"/>
                  <a:gd name="T82" fmla="*/ 256 w 298"/>
                  <a:gd name="T83" fmla="*/ 0 h 230"/>
                  <a:gd name="T84" fmla="*/ 260 w 298"/>
                  <a:gd name="T85" fmla="*/ 2 h 230"/>
                  <a:gd name="T86" fmla="*/ 262 w 298"/>
                  <a:gd name="T87" fmla="*/ 7 h 230"/>
                  <a:gd name="T88" fmla="*/ 297 w 298"/>
                  <a:gd name="T89" fmla="*/ 74 h 230"/>
                  <a:gd name="T90" fmla="*/ 298 w 298"/>
                  <a:gd name="T91" fmla="*/ 78 h 230"/>
                  <a:gd name="T92" fmla="*/ 298 w 298"/>
                  <a:gd name="T93" fmla="*/ 82 h 230"/>
                  <a:gd name="T94" fmla="*/ 295 w 298"/>
                  <a:gd name="T95" fmla="*/ 85 h 230"/>
                  <a:gd name="T96" fmla="*/ 293 w 298"/>
                  <a:gd name="T97" fmla="*/ 88 h 230"/>
                  <a:gd name="T98" fmla="*/ 92 w 298"/>
                  <a:gd name="T99" fmla="*/ 220 h 230"/>
                  <a:gd name="T100" fmla="*/ 83 w 298"/>
                  <a:gd name="T101" fmla="*/ 225 h 230"/>
                  <a:gd name="T102" fmla="*/ 75 w 298"/>
                  <a:gd name="T103" fmla="*/ 227 h 230"/>
                  <a:gd name="T104" fmla="*/ 66 w 298"/>
                  <a:gd name="T105" fmla="*/ 229 h 230"/>
                  <a:gd name="T106" fmla="*/ 59 w 298"/>
                  <a:gd name="T10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98" h="230">
                    <a:moveTo>
                      <a:pt x="246" y="27"/>
                    </a:moveTo>
                    <a:lnTo>
                      <a:pt x="41" y="126"/>
                    </a:lnTo>
                    <a:lnTo>
                      <a:pt x="34" y="131"/>
                    </a:lnTo>
                    <a:lnTo>
                      <a:pt x="31" y="136"/>
                    </a:lnTo>
                    <a:lnTo>
                      <a:pt x="27" y="143"/>
                    </a:lnTo>
                    <a:lnTo>
                      <a:pt x="25" y="150"/>
                    </a:lnTo>
                    <a:lnTo>
                      <a:pt x="23" y="159"/>
                    </a:lnTo>
                    <a:lnTo>
                      <a:pt x="25" y="167"/>
                    </a:lnTo>
                    <a:lnTo>
                      <a:pt x="26" y="176"/>
                    </a:lnTo>
                    <a:lnTo>
                      <a:pt x="28" y="185"/>
                    </a:lnTo>
                    <a:lnTo>
                      <a:pt x="33" y="191"/>
                    </a:lnTo>
                    <a:lnTo>
                      <a:pt x="37" y="197"/>
                    </a:lnTo>
                    <a:lnTo>
                      <a:pt x="43" y="201"/>
                    </a:lnTo>
                    <a:lnTo>
                      <a:pt x="48" y="205"/>
                    </a:lnTo>
                    <a:lnTo>
                      <a:pt x="55" y="207"/>
                    </a:lnTo>
                    <a:lnTo>
                      <a:pt x="64" y="205"/>
                    </a:lnTo>
                    <a:lnTo>
                      <a:pt x="71" y="204"/>
                    </a:lnTo>
                    <a:lnTo>
                      <a:pt x="80" y="201"/>
                    </a:lnTo>
                    <a:lnTo>
                      <a:pt x="271" y="74"/>
                    </a:lnTo>
                    <a:lnTo>
                      <a:pt x="246" y="27"/>
                    </a:lnTo>
                    <a:close/>
                    <a:moveTo>
                      <a:pt x="59" y="230"/>
                    </a:moveTo>
                    <a:lnTo>
                      <a:pt x="49" y="230"/>
                    </a:lnTo>
                    <a:lnTo>
                      <a:pt x="41" y="227"/>
                    </a:lnTo>
                    <a:lnTo>
                      <a:pt x="36" y="225"/>
                    </a:lnTo>
                    <a:lnTo>
                      <a:pt x="31" y="223"/>
                    </a:lnTo>
                    <a:lnTo>
                      <a:pt x="26" y="219"/>
                    </a:lnTo>
                    <a:lnTo>
                      <a:pt x="21" y="215"/>
                    </a:lnTo>
                    <a:lnTo>
                      <a:pt x="14" y="205"/>
                    </a:lnTo>
                    <a:lnTo>
                      <a:pt x="7" y="193"/>
                    </a:lnTo>
                    <a:lnTo>
                      <a:pt x="3" y="182"/>
                    </a:lnTo>
                    <a:lnTo>
                      <a:pt x="0" y="171"/>
                    </a:lnTo>
                    <a:lnTo>
                      <a:pt x="0" y="158"/>
                    </a:lnTo>
                    <a:lnTo>
                      <a:pt x="1" y="145"/>
                    </a:lnTo>
                    <a:lnTo>
                      <a:pt x="5" y="133"/>
                    </a:lnTo>
                    <a:lnTo>
                      <a:pt x="11" y="121"/>
                    </a:lnTo>
                    <a:lnTo>
                      <a:pt x="15" y="116"/>
                    </a:lnTo>
                    <a:lnTo>
                      <a:pt x="20" y="111"/>
                    </a:lnTo>
                    <a:lnTo>
                      <a:pt x="23" y="107"/>
                    </a:lnTo>
                    <a:lnTo>
                      <a:pt x="30" y="104"/>
                    </a:lnTo>
                    <a:lnTo>
                      <a:pt x="246" y="0"/>
                    </a:lnTo>
                    <a:lnTo>
                      <a:pt x="251" y="0"/>
                    </a:lnTo>
                    <a:lnTo>
                      <a:pt x="256" y="0"/>
                    </a:lnTo>
                    <a:lnTo>
                      <a:pt x="260" y="2"/>
                    </a:lnTo>
                    <a:lnTo>
                      <a:pt x="262" y="7"/>
                    </a:lnTo>
                    <a:lnTo>
                      <a:pt x="297" y="74"/>
                    </a:lnTo>
                    <a:lnTo>
                      <a:pt x="298" y="78"/>
                    </a:lnTo>
                    <a:lnTo>
                      <a:pt x="298" y="82"/>
                    </a:lnTo>
                    <a:lnTo>
                      <a:pt x="295" y="85"/>
                    </a:lnTo>
                    <a:lnTo>
                      <a:pt x="293" y="88"/>
                    </a:lnTo>
                    <a:lnTo>
                      <a:pt x="92" y="220"/>
                    </a:lnTo>
                    <a:lnTo>
                      <a:pt x="83" y="225"/>
                    </a:lnTo>
                    <a:lnTo>
                      <a:pt x="75" y="227"/>
                    </a:lnTo>
                    <a:lnTo>
                      <a:pt x="66" y="229"/>
                    </a:lnTo>
                    <a:lnTo>
                      <a:pt x="59" y="23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61" name="Freeform 289"/>
              <p:cNvSpPr>
                <a:spLocks/>
              </p:cNvSpPr>
              <p:nvPr/>
            </p:nvSpPr>
            <p:spPr bwMode="auto">
              <a:xfrm>
                <a:off x="3252788" y="5627688"/>
                <a:ext cx="303213" cy="169863"/>
              </a:xfrm>
              <a:custGeom>
                <a:avLst/>
                <a:gdLst>
                  <a:gd name="T0" fmla="*/ 750 w 766"/>
                  <a:gd name="T1" fmla="*/ 426 h 427"/>
                  <a:gd name="T2" fmla="*/ 743 w 766"/>
                  <a:gd name="T3" fmla="*/ 421 h 427"/>
                  <a:gd name="T4" fmla="*/ 735 w 766"/>
                  <a:gd name="T5" fmla="*/ 383 h 427"/>
                  <a:gd name="T6" fmla="*/ 721 w 766"/>
                  <a:gd name="T7" fmla="*/ 319 h 427"/>
                  <a:gd name="T8" fmla="*/ 704 w 766"/>
                  <a:gd name="T9" fmla="*/ 262 h 427"/>
                  <a:gd name="T10" fmla="*/ 685 w 766"/>
                  <a:gd name="T11" fmla="*/ 212 h 427"/>
                  <a:gd name="T12" fmla="*/ 659 w 766"/>
                  <a:gd name="T13" fmla="*/ 150 h 427"/>
                  <a:gd name="T14" fmla="*/ 634 w 766"/>
                  <a:gd name="T15" fmla="*/ 99 h 427"/>
                  <a:gd name="T16" fmla="*/ 619 w 766"/>
                  <a:gd name="T17" fmla="*/ 82 h 427"/>
                  <a:gd name="T18" fmla="*/ 598 w 766"/>
                  <a:gd name="T19" fmla="*/ 67 h 427"/>
                  <a:gd name="T20" fmla="*/ 563 w 766"/>
                  <a:gd name="T21" fmla="*/ 50 h 427"/>
                  <a:gd name="T22" fmla="*/ 495 w 766"/>
                  <a:gd name="T23" fmla="*/ 30 h 427"/>
                  <a:gd name="T24" fmla="*/ 392 w 766"/>
                  <a:gd name="T25" fmla="*/ 115 h 427"/>
                  <a:gd name="T26" fmla="*/ 389 w 766"/>
                  <a:gd name="T27" fmla="*/ 119 h 427"/>
                  <a:gd name="T28" fmla="*/ 384 w 766"/>
                  <a:gd name="T29" fmla="*/ 119 h 427"/>
                  <a:gd name="T30" fmla="*/ 379 w 766"/>
                  <a:gd name="T31" fmla="*/ 119 h 427"/>
                  <a:gd name="T32" fmla="*/ 374 w 766"/>
                  <a:gd name="T33" fmla="*/ 115 h 427"/>
                  <a:gd name="T34" fmla="*/ 283 w 766"/>
                  <a:gd name="T35" fmla="*/ 27 h 427"/>
                  <a:gd name="T36" fmla="*/ 244 w 766"/>
                  <a:gd name="T37" fmla="*/ 37 h 427"/>
                  <a:gd name="T38" fmla="*/ 198 w 766"/>
                  <a:gd name="T39" fmla="*/ 53 h 427"/>
                  <a:gd name="T40" fmla="*/ 165 w 766"/>
                  <a:gd name="T41" fmla="*/ 70 h 427"/>
                  <a:gd name="T42" fmla="*/ 146 w 766"/>
                  <a:gd name="T43" fmla="*/ 83 h 427"/>
                  <a:gd name="T44" fmla="*/ 138 w 766"/>
                  <a:gd name="T45" fmla="*/ 90 h 427"/>
                  <a:gd name="T46" fmla="*/ 124 w 766"/>
                  <a:gd name="T47" fmla="*/ 114 h 427"/>
                  <a:gd name="T48" fmla="*/ 92 w 766"/>
                  <a:gd name="T49" fmla="*/ 181 h 427"/>
                  <a:gd name="T50" fmla="*/ 74 w 766"/>
                  <a:gd name="T51" fmla="*/ 229 h 427"/>
                  <a:gd name="T52" fmla="*/ 55 w 766"/>
                  <a:gd name="T53" fmla="*/ 284 h 427"/>
                  <a:gd name="T54" fmla="*/ 38 w 766"/>
                  <a:gd name="T55" fmla="*/ 348 h 427"/>
                  <a:gd name="T56" fmla="*/ 25 w 766"/>
                  <a:gd name="T57" fmla="*/ 416 h 427"/>
                  <a:gd name="T58" fmla="*/ 20 w 766"/>
                  <a:gd name="T59" fmla="*/ 425 h 427"/>
                  <a:gd name="T60" fmla="*/ 11 w 766"/>
                  <a:gd name="T61" fmla="*/ 427 h 427"/>
                  <a:gd name="T62" fmla="*/ 3 w 766"/>
                  <a:gd name="T63" fmla="*/ 421 h 427"/>
                  <a:gd name="T64" fmla="*/ 0 w 766"/>
                  <a:gd name="T65" fmla="*/ 411 h 427"/>
                  <a:gd name="T66" fmla="*/ 15 w 766"/>
                  <a:gd name="T67" fmla="*/ 342 h 427"/>
                  <a:gd name="T68" fmla="*/ 32 w 766"/>
                  <a:gd name="T69" fmla="*/ 278 h 427"/>
                  <a:gd name="T70" fmla="*/ 51 w 766"/>
                  <a:gd name="T71" fmla="*/ 220 h 427"/>
                  <a:gd name="T72" fmla="*/ 70 w 766"/>
                  <a:gd name="T73" fmla="*/ 173 h 427"/>
                  <a:gd name="T74" fmla="*/ 103 w 766"/>
                  <a:gd name="T75" fmla="*/ 103 h 427"/>
                  <a:gd name="T76" fmla="*/ 119 w 766"/>
                  <a:gd name="T77" fmla="*/ 76 h 427"/>
                  <a:gd name="T78" fmla="*/ 141 w 766"/>
                  <a:gd name="T79" fmla="*/ 57 h 427"/>
                  <a:gd name="T80" fmla="*/ 168 w 766"/>
                  <a:gd name="T81" fmla="*/ 42 h 427"/>
                  <a:gd name="T82" fmla="*/ 196 w 766"/>
                  <a:gd name="T83" fmla="*/ 28 h 427"/>
                  <a:gd name="T84" fmla="*/ 226 w 766"/>
                  <a:gd name="T85" fmla="*/ 18 h 427"/>
                  <a:gd name="T86" fmla="*/ 298 w 766"/>
                  <a:gd name="T87" fmla="*/ 0 h 427"/>
                  <a:gd name="T88" fmla="*/ 309 w 766"/>
                  <a:gd name="T89" fmla="*/ 5 h 427"/>
                  <a:gd name="T90" fmla="*/ 450 w 766"/>
                  <a:gd name="T91" fmla="*/ 5 h 427"/>
                  <a:gd name="T92" fmla="*/ 461 w 766"/>
                  <a:gd name="T93" fmla="*/ 0 h 427"/>
                  <a:gd name="T94" fmla="*/ 484 w 766"/>
                  <a:gd name="T95" fmla="*/ 5 h 427"/>
                  <a:gd name="T96" fmla="*/ 534 w 766"/>
                  <a:gd name="T97" fmla="*/ 16 h 427"/>
                  <a:gd name="T98" fmla="*/ 564 w 766"/>
                  <a:gd name="T99" fmla="*/ 26 h 427"/>
                  <a:gd name="T100" fmla="*/ 593 w 766"/>
                  <a:gd name="T101" fmla="*/ 38 h 427"/>
                  <a:gd name="T102" fmla="*/ 621 w 766"/>
                  <a:gd name="T103" fmla="*/ 54 h 427"/>
                  <a:gd name="T104" fmla="*/ 646 w 766"/>
                  <a:gd name="T105" fmla="*/ 75 h 427"/>
                  <a:gd name="T106" fmla="*/ 648 w 766"/>
                  <a:gd name="T107" fmla="*/ 76 h 427"/>
                  <a:gd name="T108" fmla="*/ 667 w 766"/>
                  <a:gd name="T109" fmla="*/ 110 h 427"/>
                  <a:gd name="T110" fmla="*/ 700 w 766"/>
                  <a:gd name="T111" fmla="*/ 181 h 427"/>
                  <a:gd name="T112" fmla="*/ 718 w 766"/>
                  <a:gd name="T113" fmla="*/ 228 h 427"/>
                  <a:gd name="T114" fmla="*/ 737 w 766"/>
                  <a:gd name="T115" fmla="*/ 283 h 427"/>
                  <a:gd name="T116" fmla="*/ 753 w 766"/>
                  <a:gd name="T117" fmla="*/ 344 h 427"/>
                  <a:gd name="T118" fmla="*/ 766 w 766"/>
                  <a:gd name="T119" fmla="*/ 411 h 427"/>
                  <a:gd name="T120" fmla="*/ 764 w 766"/>
                  <a:gd name="T121" fmla="*/ 421 h 427"/>
                  <a:gd name="T122" fmla="*/ 756 w 766"/>
                  <a:gd name="T123" fmla="*/ 427 h 427"/>
                  <a:gd name="T124" fmla="*/ 754 w 766"/>
                  <a:gd name="T125" fmla="*/ 427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66" h="427">
                    <a:moveTo>
                      <a:pt x="754" y="427"/>
                    </a:moveTo>
                    <a:lnTo>
                      <a:pt x="750" y="426"/>
                    </a:lnTo>
                    <a:lnTo>
                      <a:pt x="746" y="425"/>
                    </a:lnTo>
                    <a:lnTo>
                      <a:pt x="743" y="421"/>
                    </a:lnTo>
                    <a:lnTo>
                      <a:pt x="741" y="416"/>
                    </a:lnTo>
                    <a:lnTo>
                      <a:pt x="735" y="383"/>
                    </a:lnTo>
                    <a:lnTo>
                      <a:pt x="729" y="350"/>
                    </a:lnTo>
                    <a:lnTo>
                      <a:pt x="721" y="319"/>
                    </a:lnTo>
                    <a:lnTo>
                      <a:pt x="713" y="290"/>
                    </a:lnTo>
                    <a:lnTo>
                      <a:pt x="704" y="262"/>
                    </a:lnTo>
                    <a:lnTo>
                      <a:pt x="695" y="236"/>
                    </a:lnTo>
                    <a:lnTo>
                      <a:pt x="685" y="212"/>
                    </a:lnTo>
                    <a:lnTo>
                      <a:pt x="677" y="188"/>
                    </a:lnTo>
                    <a:lnTo>
                      <a:pt x="659" y="150"/>
                    </a:lnTo>
                    <a:lnTo>
                      <a:pt x="645" y="120"/>
                    </a:lnTo>
                    <a:lnTo>
                      <a:pt x="634" y="99"/>
                    </a:lnTo>
                    <a:lnTo>
                      <a:pt x="628" y="90"/>
                    </a:lnTo>
                    <a:lnTo>
                      <a:pt x="619" y="82"/>
                    </a:lnTo>
                    <a:lnTo>
                      <a:pt x="609" y="75"/>
                    </a:lnTo>
                    <a:lnTo>
                      <a:pt x="598" y="67"/>
                    </a:lnTo>
                    <a:lnTo>
                      <a:pt x="587" y="61"/>
                    </a:lnTo>
                    <a:lnTo>
                      <a:pt x="563" y="50"/>
                    </a:lnTo>
                    <a:lnTo>
                      <a:pt x="539" y="42"/>
                    </a:lnTo>
                    <a:lnTo>
                      <a:pt x="495" y="30"/>
                    </a:lnTo>
                    <a:lnTo>
                      <a:pt x="465" y="24"/>
                    </a:lnTo>
                    <a:lnTo>
                      <a:pt x="392" y="115"/>
                    </a:lnTo>
                    <a:lnTo>
                      <a:pt x="390" y="117"/>
                    </a:lnTo>
                    <a:lnTo>
                      <a:pt x="389" y="119"/>
                    </a:lnTo>
                    <a:lnTo>
                      <a:pt x="386" y="119"/>
                    </a:lnTo>
                    <a:lnTo>
                      <a:pt x="384" y="119"/>
                    </a:lnTo>
                    <a:lnTo>
                      <a:pt x="381" y="119"/>
                    </a:lnTo>
                    <a:lnTo>
                      <a:pt x="379" y="119"/>
                    </a:lnTo>
                    <a:lnTo>
                      <a:pt x="376" y="117"/>
                    </a:lnTo>
                    <a:lnTo>
                      <a:pt x="374" y="115"/>
                    </a:lnTo>
                    <a:lnTo>
                      <a:pt x="296" y="24"/>
                    </a:lnTo>
                    <a:lnTo>
                      <a:pt x="283" y="27"/>
                    </a:lnTo>
                    <a:lnTo>
                      <a:pt x="265" y="30"/>
                    </a:lnTo>
                    <a:lnTo>
                      <a:pt x="244" y="37"/>
                    </a:lnTo>
                    <a:lnTo>
                      <a:pt x="221" y="44"/>
                    </a:lnTo>
                    <a:lnTo>
                      <a:pt x="198" y="53"/>
                    </a:lnTo>
                    <a:lnTo>
                      <a:pt x="176" y="64"/>
                    </a:lnTo>
                    <a:lnTo>
                      <a:pt x="165" y="70"/>
                    </a:lnTo>
                    <a:lnTo>
                      <a:pt x="155" y="76"/>
                    </a:lnTo>
                    <a:lnTo>
                      <a:pt x="146" y="83"/>
                    </a:lnTo>
                    <a:lnTo>
                      <a:pt x="138" y="90"/>
                    </a:lnTo>
                    <a:lnTo>
                      <a:pt x="138" y="90"/>
                    </a:lnTo>
                    <a:lnTo>
                      <a:pt x="134" y="97"/>
                    </a:lnTo>
                    <a:lnTo>
                      <a:pt x="124" y="114"/>
                    </a:lnTo>
                    <a:lnTo>
                      <a:pt x="111" y="143"/>
                    </a:lnTo>
                    <a:lnTo>
                      <a:pt x="92" y="181"/>
                    </a:lnTo>
                    <a:lnTo>
                      <a:pt x="84" y="204"/>
                    </a:lnTo>
                    <a:lnTo>
                      <a:pt x="74" y="229"/>
                    </a:lnTo>
                    <a:lnTo>
                      <a:pt x="64" y="256"/>
                    </a:lnTo>
                    <a:lnTo>
                      <a:pt x="55" y="284"/>
                    </a:lnTo>
                    <a:lnTo>
                      <a:pt x="47" y="315"/>
                    </a:lnTo>
                    <a:lnTo>
                      <a:pt x="38" y="348"/>
                    </a:lnTo>
                    <a:lnTo>
                      <a:pt x="31" y="381"/>
                    </a:lnTo>
                    <a:lnTo>
                      <a:pt x="25" y="416"/>
                    </a:lnTo>
                    <a:lnTo>
                      <a:pt x="22" y="421"/>
                    </a:lnTo>
                    <a:lnTo>
                      <a:pt x="20" y="425"/>
                    </a:lnTo>
                    <a:lnTo>
                      <a:pt x="15" y="426"/>
                    </a:lnTo>
                    <a:lnTo>
                      <a:pt x="11" y="427"/>
                    </a:lnTo>
                    <a:lnTo>
                      <a:pt x="6" y="425"/>
                    </a:lnTo>
                    <a:lnTo>
                      <a:pt x="3" y="421"/>
                    </a:lnTo>
                    <a:lnTo>
                      <a:pt x="2" y="416"/>
                    </a:lnTo>
                    <a:lnTo>
                      <a:pt x="0" y="411"/>
                    </a:lnTo>
                    <a:lnTo>
                      <a:pt x="8" y="376"/>
                    </a:lnTo>
                    <a:lnTo>
                      <a:pt x="15" y="342"/>
                    </a:lnTo>
                    <a:lnTo>
                      <a:pt x="24" y="308"/>
                    </a:lnTo>
                    <a:lnTo>
                      <a:pt x="32" y="278"/>
                    </a:lnTo>
                    <a:lnTo>
                      <a:pt x="41" y="248"/>
                    </a:lnTo>
                    <a:lnTo>
                      <a:pt x="51" y="220"/>
                    </a:lnTo>
                    <a:lnTo>
                      <a:pt x="60" y="196"/>
                    </a:lnTo>
                    <a:lnTo>
                      <a:pt x="70" y="173"/>
                    </a:lnTo>
                    <a:lnTo>
                      <a:pt x="89" y="133"/>
                    </a:lnTo>
                    <a:lnTo>
                      <a:pt x="103" y="103"/>
                    </a:lnTo>
                    <a:lnTo>
                      <a:pt x="114" y="84"/>
                    </a:lnTo>
                    <a:lnTo>
                      <a:pt x="119" y="76"/>
                    </a:lnTo>
                    <a:lnTo>
                      <a:pt x="129" y="66"/>
                    </a:lnTo>
                    <a:lnTo>
                      <a:pt x="141" y="57"/>
                    </a:lnTo>
                    <a:lnTo>
                      <a:pt x="153" y="49"/>
                    </a:lnTo>
                    <a:lnTo>
                      <a:pt x="168" y="42"/>
                    </a:lnTo>
                    <a:lnTo>
                      <a:pt x="182" y="34"/>
                    </a:lnTo>
                    <a:lnTo>
                      <a:pt x="196" y="28"/>
                    </a:lnTo>
                    <a:lnTo>
                      <a:pt x="211" y="23"/>
                    </a:lnTo>
                    <a:lnTo>
                      <a:pt x="226" y="18"/>
                    </a:lnTo>
                    <a:lnTo>
                      <a:pt x="275" y="5"/>
                    </a:lnTo>
                    <a:lnTo>
                      <a:pt x="298" y="0"/>
                    </a:lnTo>
                    <a:lnTo>
                      <a:pt x="304" y="1"/>
                    </a:lnTo>
                    <a:lnTo>
                      <a:pt x="309" y="5"/>
                    </a:lnTo>
                    <a:lnTo>
                      <a:pt x="383" y="90"/>
                    </a:lnTo>
                    <a:lnTo>
                      <a:pt x="450" y="5"/>
                    </a:lnTo>
                    <a:lnTo>
                      <a:pt x="456" y="1"/>
                    </a:lnTo>
                    <a:lnTo>
                      <a:pt x="461" y="0"/>
                    </a:lnTo>
                    <a:lnTo>
                      <a:pt x="468" y="1"/>
                    </a:lnTo>
                    <a:lnTo>
                      <a:pt x="484" y="5"/>
                    </a:lnTo>
                    <a:lnTo>
                      <a:pt x="506" y="8"/>
                    </a:lnTo>
                    <a:lnTo>
                      <a:pt x="534" y="16"/>
                    </a:lnTo>
                    <a:lnTo>
                      <a:pt x="549" y="21"/>
                    </a:lnTo>
                    <a:lnTo>
                      <a:pt x="564" y="26"/>
                    </a:lnTo>
                    <a:lnTo>
                      <a:pt x="579" y="32"/>
                    </a:lnTo>
                    <a:lnTo>
                      <a:pt x="593" y="38"/>
                    </a:lnTo>
                    <a:lnTo>
                      <a:pt x="608" y="45"/>
                    </a:lnTo>
                    <a:lnTo>
                      <a:pt x="621" y="54"/>
                    </a:lnTo>
                    <a:lnTo>
                      <a:pt x="635" y="64"/>
                    </a:lnTo>
                    <a:lnTo>
                      <a:pt x="646" y="75"/>
                    </a:lnTo>
                    <a:lnTo>
                      <a:pt x="647" y="76"/>
                    </a:lnTo>
                    <a:lnTo>
                      <a:pt x="648" y="76"/>
                    </a:lnTo>
                    <a:lnTo>
                      <a:pt x="655" y="88"/>
                    </a:lnTo>
                    <a:lnTo>
                      <a:pt x="667" y="110"/>
                    </a:lnTo>
                    <a:lnTo>
                      <a:pt x="681" y="141"/>
                    </a:lnTo>
                    <a:lnTo>
                      <a:pt x="700" y="181"/>
                    </a:lnTo>
                    <a:lnTo>
                      <a:pt x="708" y="203"/>
                    </a:lnTo>
                    <a:lnTo>
                      <a:pt x="718" y="228"/>
                    </a:lnTo>
                    <a:lnTo>
                      <a:pt x="727" y="255"/>
                    </a:lnTo>
                    <a:lnTo>
                      <a:pt x="737" y="283"/>
                    </a:lnTo>
                    <a:lnTo>
                      <a:pt x="744" y="313"/>
                    </a:lnTo>
                    <a:lnTo>
                      <a:pt x="753" y="344"/>
                    </a:lnTo>
                    <a:lnTo>
                      <a:pt x="760" y="377"/>
                    </a:lnTo>
                    <a:lnTo>
                      <a:pt x="766" y="411"/>
                    </a:lnTo>
                    <a:lnTo>
                      <a:pt x="766" y="416"/>
                    </a:lnTo>
                    <a:lnTo>
                      <a:pt x="764" y="421"/>
                    </a:lnTo>
                    <a:lnTo>
                      <a:pt x="760" y="425"/>
                    </a:lnTo>
                    <a:lnTo>
                      <a:pt x="756" y="427"/>
                    </a:lnTo>
                    <a:lnTo>
                      <a:pt x="755" y="427"/>
                    </a:lnTo>
                    <a:lnTo>
                      <a:pt x="754" y="427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62" name="Freeform 290"/>
              <p:cNvSpPr>
                <a:spLocks/>
              </p:cNvSpPr>
              <p:nvPr/>
            </p:nvSpPr>
            <p:spPr bwMode="auto">
              <a:xfrm>
                <a:off x="3471863" y="5707063"/>
                <a:ext cx="34925" cy="57150"/>
              </a:xfrm>
              <a:custGeom>
                <a:avLst/>
                <a:gdLst>
                  <a:gd name="T0" fmla="*/ 76 w 87"/>
                  <a:gd name="T1" fmla="*/ 144 h 144"/>
                  <a:gd name="T2" fmla="*/ 72 w 87"/>
                  <a:gd name="T3" fmla="*/ 144 h 144"/>
                  <a:gd name="T4" fmla="*/ 70 w 87"/>
                  <a:gd name="T5" fmla="*/ 143 h 144"/>
                  <a:gd name="T6" fmla="*/ 67 w 87"/>
                  <a:gd name="T7" fmla="*/ 141 h 144"/>
                  <a:gd name="T8" fmla="*/ 65 w 87"/>
                  <a:gd name="T9" fmla="*/ 137 h 144"/>
                  <a:gd name="T10" fmla="*/ 23 w 87"/>
                  <a:gd name="T11" fmla="*/ 59 h 144"/>
                  <a:gd name="T12" fmla="*/ 23 w 87"/>
                  <a:gd name="T13" fmla="*/ 104 h 144"/>
                  <a:gd name="T14" fmla="*/ 22 w 87"/>
                  <a:gd name="T15" fmla="*/ 108 h 144"/>
                  <a:gd name="T16" fmla="*/ 19 w 87"/>
                  <a:gd name="T17" fmla="*/ 111 h 144"/>
                  <a:gd name="T18" fmla="*/ 16 w 87"/>
                  <a:gd name="T19" fmla="*/ 114 h 144"/>
                  <a:gd name="T20" fmla="*/ 11 w 87"/>
                  <a:gd name="T21" fmla="*/ 115 h 144"/>
                  <a:gd name="T22" fmla="*/ 6 w 87"/>
                  <a:gd name="T23" fmla="*/ 114 h 144"/>
                  <a:gd name="T24" fmla="*/ 2 w 87"/>
                  <a:gd name="T25" fmla="*/ 111 h 144"/>
                  <a:gd name="T26" fmla="*/ 0 w 87"/>
                  <a:gd name="T27" fmla="*/ 108 h 144"/>
                  <a:gd name="T28" fmla="*/ 0 w 87"/>
                  <a:gd name="T29" fmla="*/ 104 h 144"/>
                  <a:gd name="T30" fmla="*/ 0 w 87"/>
                  <a:gd name="T31" fmla="*/ 12 h 144"/>
                  <a:gd name="T32" fmla="*/ 0 w 87"/>
                  <a:gd name="T33" fmla="*/ 8 h 144"/>
                  <a:gd name="T34" fmla="*/ 2 w 87"/>
                  <a:gd name="T35" fmla="*/ 5 h 144"/>
                  <a:gd name="T36" fmla="*/ 5 w 87"/>
                  <a:gd name="T37" fmla="*/ 2 h 144"/>
                  <a:gd name="T38" fmla="*/ 8 w 87"/>
                  <a:gd name="T39" fmla="*/ 0 h 144"/>
                  <a:gd name="T40" fmla="*/ 12 w 87"/>
                  <a:gd name="T41" fmla="*/ 0 h 144"/>
                  <a:gd name="T42" fmla="*/ 16 w 87"/>
                  <a:gd name="T43" fmla="*/ 0 h 144"/>
                  <a:gd name="T44" fmla="*/ 19 w 87"/>
                  <a:gd name="T45" fmla="*/ 2 h 144"/>
                  <a:gd name="T46" fmla="*/ 22 w 87"/>
                  <a:gd name="T47" fmla="*/ 7 h 144"/>
                  <a:gd name="T48" fmla="*/ 86 w 87"/>
                  <a:gd name="T49" fmla="*/ 126 h 144"/>
                  <a:gd name="T50" fmla="*/ 87 w 87"/>
                  <a:gd name="T51" fmla="*/ 131 h 144"/>
                  <a:gd name="T52" fmla="*/ 87 w 87"/>
                  <a:gd name="T53" fmla="*/ 136 h 144"/>
                  <a:gd name="T54" fmla="*/ 84 w 87"/>
                  <a:gd name="T55" fmla="*/ 140 h 144"/>
                  <a:gd name="T56" fmla="*/ 81 w 87"/>
                  <a:gd name="T57" fmla="*/ 142 h 144"/>
                  <a:gd name="T58" fmla="*/ 78 w 87"/>
                  <a:gd name="T59" fmla="*/ 144 h 144"/>
                  <a:gd name="T60" fmla="*/ 76 w 87"/>
                  <a:gd name="T6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7" h="144">
                    <a:moveTo>
                      <a:pt x="76" y="144"/>
                    </a:moveTo>
                    <a:lnTo>
                      <a:pt x="72" y="144"/>
                    </a:lnTo>
                    <a:lnTo>
                      <a:pt x="70" y="143"/>
                    </a:lnTo>
                    <a:lnTo>
                      <a:pt x="67" y="141"/>
                    </a:lnTo>
                    <a:lnTo>
                      <a:pt x="65" y="137"/>
                    </a:lnTo>
                    <a:lnTo>
                      <a:pt x="23" y="59"/>
                    </a:lnTo>
                    <a:lnTo>
                      <a:pt x="23" y="104"/>
                    </a:lnTo>
                    <a:lnTo>
                      <a:pt x="22" y="108"/>
                    </a:lnTo>
                    <a:lnTo>
                      <a:pt x="19" y="111"/>
                    </a:lnTo>
                    <a:lnTo>
                      <a:pt x="16" y="114"/>
                    </a:lnTo>
                    <a:lnTo>
                      <a:pt x="11" y="115"/>
                    </a:lnTo>
                    <a:lnTo>
                      <a:pt x="6" y="114"/>
                    </a:lnTo>
                    <a:lnTo>
                      <a:pt x="2" y="111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5"/>
                    </a:lnTo>
                    <a:lnTo>
                      <a:pt x="5" y="2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9" y="2"/>
                    </a:lnTo>
                    <a:lnTo>
                      <a:pt x="22" y="7"/>
                    </a:lnTo>
                    <a:lnTo>
                      <a:pt x="86" y="126"/>
                    </a:lnTo>
                    <a:lnTo>
                      <a:pt x="87" y="131"/>
                    </a:lnTo>
                    <a:lnTo>
                      <a:pt x="87" y="136"/>
                    </a:lnTo>
                    <a:lnTo>
                      <a:pt x="84" y="140"/>
                    </a:lnTo>
                    <a:lnTo>
                      <a:pt x="81" y="142"/>
                    </a:lnTo>
                    <a:lnTo>
                      <a:pt x="78" y="144"/>
                    </a:lnTo>
                    <a:lnTo>
                      <a:pt x="76" y="144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63" name="Freeform 291"/>
              <p:cNvSpPr>
                <a:spLocks/>
              </p:cNvSpPr>
              <p:nvPr/>
            </p:nvSpPr>
            <p:spPr bwMode="auto">
              <a:xfrm>
                <a:off x="3417888" y="5729288"/>
                <a:ext cx="36513" cy="31750"/>
              </a:xfrm>
              <a:custGeom>
                <a:avLst/>
                <a:gdLst>
                  <a:gd name="T0" fmla="*/ 73 w 94"/>
                  <a:gd name="T1" fmla="*/ 82 h 82"/>
                  <a:gd name="T2" fmla="*/ 63 w 94"/>
                  <a:gd name="T3" fmla="*/ 81 h 82"/>
                  <a:gd name="T4" fmla="*/ 43 w 94"/>
                  <a:gd name="T5" fmla="*/ 79 h 82"/>
                  <a:gd name="T6" fmla="*/ 30 w 94"/>
                  <a:gd name="T7" fmla="*/ 77 h 82"/>
                  <a:gd name="T8" fmla="*/ 19 w 94"/>
                  <a:gd name="T9" fmla="*/ 73 h 82"/>
                  <a:gd name="T10" fmla="*/ 14 w 94"/>
                  <a:gd name="T11" fmla="*/ 72 h 82"/>
                  <a:gd name="T12" fmla="*/ 9 w 94"/>
                  <a:gd name="T13" fmla="*/ 70 h 82"/>
                  <a:gd name="T14" fmla="*/ 6 w 94"/>
                  <a:gd name="T15" fmla="*/ 67 h 82"/>
                  <a:gd name="T16" fmla="*/ 3 w 94"/>
                  <a:gd name="T17" fmla="*/ 63 h 82"/>
                  <a:gd name="T18" fmla="*/ 1 w 94"/>
                  <a:gd name="T19" fmla="*/ 59 h 82"/>
                  <a:gd name="T20" fmla="*/ 0 w 94"/>
                  <a:gd name="T21" fmla="*/ 54 h 82"/>
                  <a:gd name="T22" fmla="*/ 0 w 94"/>
                  <a:gd name="T23" fmla="*/ 49 h 82"/>
                  <a:gd name="T24" fmla="*/ 1 w 94"/>
                  <a:gd name="T25" fmla="*/ 43 h 82"/>
                  <a:gd name="T26" fmla="*/ 5 w 94"/>
                  <a:gd name="T27" fmla="*/ 33 h 82"/>
                  <a:gd name="T28" fmla="*/ 11 w 94"/>
                  <a:gd name="T29" fmla="*/ 23 h 82"/>
                  <a:gd name="T30" fmla="*/ 18 w 94"/>
                  <a:gd name="T31" fmla="*/ 13 h 82"/>
                  <a:gd name="T32" fmla="*/ 27 w 94"/>
                  <a:gd name="T33" fmla="*/ 7 h 82"/>
                  <a:gd name="T34" fmla="*/ 30 w 94"/>
                  <a:gd name="T35" fmla="*/ 3 h 82"/>
                  <a:gd name="T36" fmla="*/ 35 w 94"/>
                  <a:gd name="T37" fmla="*/ 2 h 82"/>
                  <a:gd name="T38" fmla="*/ 39 w 94"/>
                  <a:gd name="T39" fmla="*/ 1 h 82"/>
                  <a:gd name="T40" fmla="*/ 43 w 94"/>
                  <a:gd name="T41" fmla="*/ 0 h 82"/>
                  <a:gd name="T42" fmla="*/ 50 w 94"/>
                  <a:gd name="T43" fmla="*/ 2 h 82"/>
                  <a:gd name="T44" fmla="*/ 58 w 94"/>
                  <a:gd name="T45" fmla="*/ 6 h 82"/>
                  <a:gd name="T46" fmla="*/ 67 w 94"/>
                  <a:gd name="T47" fmla="*/ 12 h 82"/>
                  <a:gd name="T48" fmla="*/ 76 w 94"/>
                  <a:gd name="T49" fmla="*/ 18 h 82"/>
                  <a:gd name="T50" fmla="*/ 89 w 94"/>
                  <a:gd name="T51" fmla="*/ 30 h 82"/>
                  <a:gd name="T52" fmla="*/ 94 w 94"/>
                  <a:gd name="T53" fmla="*/ 37 h 82"/>
                  <a:gd name="T54" fmla="*/ 73 w 94"/>
                  <a:gd name="T55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" h="82">
                    <a:moveTo>
                      <a:pt x="73" y="82"/>
                    </a:moveTo>
                    <a:lnTo>
                      <a:pt x="63" y="81"/>
                    </a:lnTo>
                    <a:lnTo>
                      <a:pt x="43" y="79"/>
                    </a:lnTo>
                    <a:lnTo>
                      <a:pt x="30" y="77"/>
                    </a:lnTo>
                    <a:lnTo>
                      <a:pt x="19" y="73"/>
                    </a:lnTo>
                    <a:lnTo>
                      <a:pt x="14" y="72"/>
                    </a:lnTo>
                    <a:lnTo>
                      <a:pt x="9" y="70"/>
                    </a:lnTo>
                    <a:lnTo>
                      <a:pt x="6" y="67"/>
                    </a:lnTo>
                    <a:lnTo>
                      <a:pt x="3" y="63"/>
                    </a:lnTo>
                    <a:lnTo>
                      <a:pt x="1" y="59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1" y="43"/>
                    </a:lnTo>
                    <a:lnTo>
                      <a:pt x="5" y="33"/>
                    </a:lnTo>
                    <a:lnTo>
                      <a:pt x="11" y="23"/>
                    </a:lnTo>
                    <a:lnTo>
                      <a:pt x="18" y="13"/>
                    </a:lnTo>
                    <a:lnTo>
                      <a:pt x="27" y="7"/>
                    </a:lnTo>
                    <a:lnTo>
                      <a:pt x="30" y="3"/>
                    </a:lnTo>
                    <a:lnTo>
                      <a:pt x="35" y="2"/>
                    </a:lnTo>
                    <a:lnTo>
                      <a:pt x="39" y="1"/>
                    </a:lnTo>
                    <a:lnTo>
                      <a:pt x="43" y="0"/>
                    </a:lnTo>
                    <a:lnTo>
                      <a:pt x="50" y="2"/>
                    </a:lnTo>
                    <a:lnTo>
                      <a:pt x="58" y="6"/>
                    </a:lnTo>
                    <a:lnTo>
                      <a:pt x="67" y="12"/>
                    </a:lnTo>
                    <a:lnTo>
                      <a:pt x="76" y="18"/>
                    </a:lnTo>
                    <a:lnTo>
                      <a:pt x="89" y="30"/>
                    </a:lnTo>
                    <a:lnTo>
                      <a:pt x="94" y="37"/>
                    </a:lnTo>
                    <a:lnTo>
                      <a:pt x="73" y="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64" name="Freeform 292"/>
              <p:cNvSpPr>
                <a:spLocks/>
              </p:cNvSpPr>
              <p:nvPr/>
            </p:nvSpPr>
            <p:spPr bwMode="auto">
              <a:xfrm>
                <a:off x="3413125" y="5724525"/>
                <a:ext cx="46038" cy="41275"/>
              </a:xfrm>
              <a:custGeom>
                <a:avLst/>
                <a:gdLst>
                  <a:gd name="T0" fmla="*/ 62 w 119"/>
                  <a:gd name="T1" fmla="*/ 103 h 104"/>
                  <a:gd name="T2" fmla="*/ 30 w 119"/>
                  <a:gd name="T3" fmla="*/ 98 h 104"/>
                  <a:gd name="T4" fmla="*/ 16 w 119"/>
                  <a:gd name="T5" fmla="*/ 90 h 104"/>
                  <a:gd name="T6" fmla="*/ 9 w 119"/>
                  <a:gd name="T7" fmla="*/ 84 h 104"/>
                  <a:gd name="T8" fmla="*/ 3 w 119"/>
                  <a:gd name="T9" fmla="*/ 76 h 104"/>
                  <a:gd name="T10" fmla="*/ 0 w 119"/>
                  <a:gd name="T11" fmla="*/ 65 h 104"/>
                  <a:gd name="T12" fmla="*/ 2 w 119"/>
                  <a:gd name="T13" fmla="*/ 54 h 104"/>
                  <a:gd name="T14" fmla="*/ 5 w 119"/>
                  <a:gd name="T15" fmla="*/ 43 h 104"/>
                  <a:gd name="T16" fmla="*/ 13 w 119"/>
                  <a:gd name="T17" fmla="*/ 29 h 104"/>
                  <a:gd name="T18" fmla="*/ 22 w 119"/>
                  <a:gd name="T19" fmla="*/ 17 h 104"/>
                  <a:gd name="T20" fmla="*/ 36 w 119"/>
                  <a:gd name="T21" fmla="*/ 7 h 104"/>
                  <a:gd name="T22" fmla="*/ 49 w 119"/>
                  <a:gd name="T23" fmla="*/ 1 h 104"/>
                  <a:gd name="T24" fmla="*/ 56 w 119"/>
                  <a:gd name="T25" fmla="*/ 0 h 104"/>
                  <a:gd name="T26" fmla="*/ 74 w 119"/>
                  <a:gd name="T27" fmla="*/ 5 h 104"/>
                  <a:gd name="T28" fmla="*/ 91 w 119"/>
                  <a:gd name="T29" fmla="*/ 17 h 104"/>
                  <a:gd name="T30" fmla="*/ 117 w 119"/>
                  <a:gd name="T31" fmla="*/ 40 h 104"/>
                  <a:gd name="T32" fmla="*/ 119 w 119"/>
                  <a:gd name="T33" fmla="*/ 49 h 104"/>
                  <a:gd name="T34" fmla="*/ 116 w 119"/>
                  <a:gd name="T35" fmla="*/ 56 h 104"/>
                  <a:gd name="T36" fmla="*/ 107 w 119"/>
                  <a:gd name="T37" fmla="*/ 60 h 104"/>
                  <a:gd name="T38" fmla="*/ 98 w 119"/>
                  <a:gd name="T39" fmla="*/ 56 h 104"/>
                  <a:gd name="T40" fmla="*/ 75 w 119"/>
                  <a:gd name="T41" fmla="*/ 35 h 104"/>
                  <a:gd name="T42" fmla="*/ 64 w 119"/>
                  <a:gd name="T43" fmla="*/ 28 h 104"/>
                  <a:gd name="T44" fmla="*/ 56 w 119"/>
                  <a:gd name="T45" fmla="*/ 24 h 104"/>
                  <a:gd name="T46" fmla="*/ 56 w 119"/>
                  <a:gd name="T47" fmla="*/ 24 h 104"/>
                  <a:gd name="T48" fmla="*/ 43 w 119"/>
                  <a:gd name="T49" fmla="*/ 32 h 104"/>
                  <a:gd name="T50" fmla="*/ 30 w 119"/>
                  <a:gd name="T51" fmla="*/ 48 h 104"/>
                  <a:gd name="T52" fmla="*/ 25 w 119"/>
                  <a:gd name="T53" fmla="*/ 57 h 104"/>
                  <a:gd name="T54" fmla="*/ 26 w 119"/>
                  <a:gd name="T55" fmla="*/ 70 h 104"/>
                  <a:gd name="T56" fmla="*/ 47 w 119"/>
                  <a:gd name="T57" fmla="*/ 77 h 104"/>
                  <a:gd name="T58" fmla="*/ 85 w 119"/>
                  <a:gd name="T59" fmla="*/ 79 h 104"/>
                  <a:gd name="T60" fmla="*/ 86 w 119"/>
                  <a:gd name="T61" fmla="*/ 79 h 104"/>
                  <a:gd name="T62" fmla="*/ 93 w 119"/>
                  <a:gd name="T63" fmla="*/ 83 h 104"/>
                  <a:gd name="T64" fmla="*/ 97 w 119"/>
                  <a:gd name="T65" fmla="*/ 93 h 104"/>
                  <a:gd name="T66" fmla="*/ 95 w 119"/>
                  <a:gd name="T67" fmla="*/ 100 h 104"/>
                  <a:gd name="T68" fmla="*/ 86 w 119"/>
                  <a:gd name="T69" fmla="*/ 104 h 104"/>
                  <a:gd name="T70" fmla="*/ 80 w 119"/>
                  <a:gd name="T71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19" h="104">
                    <a:moveTo>
                      <a:pt x="80" y="104"/>
                    </a:moveTo>
                    <a:lnTo>
                      <a:pt x="62" y="103"/>
                    </a:lnTo>
                    <a:lnTo>
                      <a:pt x="41" y="100"/>
                    </a:lnTo>
                    <a:lnTo>
                      <a:pt x="30" y="98"/>
                    </a:lnTo>
                    <a:lnTo>
                      <a:pt x="20" y="93"/>
                    </a:lnTo>
                    <a:lnTo>
                      <a:pt x="16" y="90"/>
                    </a:lnTo>
                    <a:lnTo>
                      <a:pt x="11" y="88"/>
                    </a:lnTo>
                    <a:lnTo>
                      <a:pt x="9" y="84"/>
                    </a:lnTo>
                    <a:lnTo>
                      <a:pt x="7" y="81"/>
                    </a:lnTo>
                    <a:lnTo>
                      <a:pt x="3" y="76"/>
                    </a:lnTo>
                    <a:lnTo>
                      <a:pt x="2" y="71"/>
                    </a:lnTo>
                    <a:lnTo>
                      <a:pt x="0" y="65"/>
                    </a:lnTo>
                    <a:lnTo>
                      <a:pt x="0" y="60"/>
                    </a:lnTo>
                    <a:lnTo>
                      <a:pt x="2" y="54"/>
                    </a:lnTo>
                    <a:lnTo>
                      <a:pt x="3" y="48"/>
                    </a:lnTo>
                    <a:lnTo>
                      <a:pt x="5" y="43"/>
                    </a:lnTo>
                    <a:lnTo>
                      <a:pt x="9" y="37"/>
                    </a:lnTo>
                    <a:lnTo>
                      <a:pt x="13" y="29"/>
                    </a:lnTo>
                    <a:lnTo>
                      <a:pt x="18" y="23"/>
                    </a:lnTo>
                    <a:lnTo>
                      <a:pt x="22" y="17"/>
                    </a:lnTo>
                    <a:lnTo>
                      <a:pt x="29" y="11"/>
                    </a:lnTo>
                    <a:lnTo>
                      <a:pt x="36" y="7"/>
                    </a:lnTo>
                    <a:lnTo>
                      <a:pt x="42" y="3"/>
                    </a:lnTo>
                    <a:lnTo>
                      <a:pt x="49" y="1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4" y="1"/>
                    </a:lnTo>
                    <a:lnTo>
                      <a:pt x="74" y="5"/>
                    </a:lnTo>
                    <a:lnTo>
                      <a:pt x="82" y="11"/>
                    </a:lnTo>
                    <a:lnTo>
                      <a:pt x="91" y="17"/>
                    </a:lnTo>
                    <a:lnTo>
                      <a:pt x="106" y="30"/>
                    </a:lnTo>
                    <a:lnTo>
                      <a:pt x="117" y="40"/>
                    </a:lnTo>
                    <a:lnTo>
                      <a:pt x="119" y="44"/>
                    </a:lnTo>
                    <a:lnTo>
                      <a:pt x="119" y="49"/>
                    </a:lnTo>
                    <a:lnTo>
                      <a:pt x="118" y="52"/>
                    </a:lnTo>
                    <a:lnTo>
                      <a:pt x="116" y="56"/>
                    </a:lnTo>
                    <a:lnTo>
                      <a:pt x="112" y="59"/>
                    </a:lnTo>
                    <a:lnTo>
                      <a:pt x="107" y="60"/>
                    </a:lnTo>
                    <a:lnTo>
                      <a:pt x="102" y="59"/>
                    </a:lnTo>
                    <a:lnTo>
                      <a:pt x="98" y="56"/>
                    </a:lnTo>
                    <a:lnTo>
                      <a:pt x="87" y="45"/>
                    </a:lnTo>
                    <a:lnTo>
                      <a:pt x="75" y="35"/>
                    </a:lnTo>
                    <a:lnTo>
                      <a:pt x="69" y="30"/>
                    </a:lnTo>
                    <a:lnTo>
                      <a:pt x="64" y="28"/>
                    </a:lnTo>
                    <a:lnTo>
                      <a:pt x="59" y="25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1" y="27"/>
                    </a:lnTo>
                    <a:lnTo>
                      <a:pt x="43" y="32"/>
                    </a:lnTo>
                    <a:lnTo>
                      <a:pt x="36" y="38"/>
                    </a:lnTo>
                    <a:lnTo>
                      <a:pt x="30" y="48"/>
                    </a:lnTo>
                    <a:lnTo>
                      <a:pt x="27" y="51"/>
                    </a:lnTo>
                    <a:lnTo>
                      <a:pt x="25" y="57"/>
                    </a:lnTo>
                    <a:lnTo>
                      <a:pt x="25" y="63"/>
                    </a:lnTo>
                    <a:lnTo>
                      <a:pt x="26" y="70"/>
                    </a:lnTo>
                    <a:lnTo>
                      <a:pt x="33" y="73"/>
                    </a:lnTo>
                    <a:lnTo>
                      <a:pt x="47" y="77"/>
                    </a:lnTo>
                    <a:lnTo>
                      <a:pt x="65" y="79"/>
                    </a:lnTo>
                    <a:lnTo>
                      <a:pt x="85" y="79"/>
                    </a:lnTo>
                    <a:lnTo>
                      <a:pt x="85" y="79"/>
                    </a:lnTo>
                    <a:lnTo>
                      <a:pt x="86" y="79"/>
                    </a:lnTo>
                    <a:lnTo>
                      <a:pt x="90" y="81"/>
                    </a:lnTo>
                    <a:lnTo>
                      <a:pt x="93" y="83"/>
                    </a:lnTo>
                    <a:lnTo>
                      <a:pt x="96" y="88"/>
                    </a:lnTo>
                    <a:lnTo>
                      <a:pt x="97" y="93"/>
                    </a:lnTo>
                    <a:lnTo>
                      <a:pt x="97" y="97"/>
                    </a:lnTo>
                    <a:lnTo>
                      <a:pt x="95" y="100"/>
                    </a:lnTo>
                    <a:lnTo>
                      <a:pt x="91" y="103"/>
                    </a:lnTo>
                    <a:lnTo>
                      <a:pt x="86" y="104"/>
                    </a:lnTo>
                    <a:lnTo>
                      <a:pt x="82" y="104"/>
                    </a:lnTo>
                    <a:lnTo>
                      <a:pt x="80" y="104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65" name="Freeform 293"/>
              <p:cNvSpPr>
                <a:spLocks/>
              </p:cNvSpPr>
              <p:nvPr/>
            </p:nvSpPr>
            <p:spPr bwMode="auto">
              <a:xfrm>
                <a:off x="3443288" y="5740400"/>
                <a:ext cx="107950" cy="80963"/>
              </a:xfrm>
              <a:custGeom>
                <a:avLst/>
                <a:gdLst>
                  <a:gd name="T0" fmla="*/ 33 w 273"/>
                  <a:gd name="T1" fmla="*/ 0 h 206"/>
                  <a:gd name="T2" fmla="*/ 159 w 273"/>
                  <a:gd name="T3" fmla="*/ 60 h 206"/>
                  <a:gd name="T4" fmla="*/ 251 w 273"/>
                  <a:gd name="T5" fmla="*/ 103 h 206"/>
                  <a:gd name="T6" fmla="*/ 258 w 273"/>
                  <a:gd name="T7" fmla="*/ 109 h 206"/>
                  <a:gd name="T8" fmla="*/ 264 w 273"/>
                  <a:gd name="T9" fmla="*/ 116 h 206"/>
                  <a:gd name="T10" fmla="*/ 269 w 273"/>
                  <a:gd name="T11" fmla="*/ 126 h 206"/>
                  <a:gd name="T12" fmla="*/ 272 w 273"/>
                  <a:gd name="T13" fmla="*/ 136 h 206"/>
                  <a:gd name="T14" fmla="*/ 273 w 273"/>
                  <a:gd name="T15" fmla="*/ 147 h 206"/>
                  <a:gd name="T16" fmla="*/ 273 w 273"/>
                  <a:gd name="T17" fmla="*/ 157 h 206"/>
                  <a:gd name="T18" fmla="*/ 271 w 273"/>
                  <a:gd name="T19" fmla="*/ 168 h 206"/>
                  <a:gd name="T20" fmla="*/ 267 w 273"/>
                  <a:gd name="T21" fmla="*/ 178 h 206"/>
                  <a:gd name="T22" fmla="*/ 264 w 273"/>
                  <a:gd name="T23" fmla="*/ 182 h 206"/>
                  <a:gd name="T24" fmla="*/ 262 w 273"/>
                  <a:gd name="T25" fmla="*/ 187 h 206"/>
                  <a:gd name="T26" fmla="*/ 258 w 273"/>
                  <a:gd name="T27" fmla="*/ 192 h 206"/>
                  <a:gd name="T28" fmla="*/ 255 w 273"/>
                  <a:gd name="T29" fmla="*/ 196 h 206"/>
                  <a:gd name="T30" fmla="*/ 246 w 273"/>
                  <a:gd name="T31" fmla="*/ 201 h 206"/>
                  <a:gd name="T32" fmla="*/ 237 w 273"/>
                  <a:gd name="T33" fmla="*/ 204 h 206"/>
                  <a:gd name="T34" fmla="*/ 228 w 273"/>
                  <a:gd name="T35" fmla="*/ 206 h 206"/>
                  <a:gd name="T36" fmla="*/ 219 w 273"/>
                  <a:gd name="T37" fmla="*/ 206 h 206"/>
                  <a:gd name="T38" fmla="*/ 209 w 273"/>
                  <a:gd name="T39" fmla="*/ 203 h 206"/>
                  <a:gd name="T40" fmla="*/ 201 w 273"/>
                  <a:gd name="T41" fmla="*/ 200 h 206"/>
                  <a:gd name="T42" fmla="*/ 0 w 273"/>
                  <a:gd name="T43" fmla="*/ 67 h 206"/>
                  <a:gd name="T44" fmla="*/ 33 w 273"/>
                  <a:gd name="T45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3" h="206">
                    <a:moveTo>
                      <a:pt x="33" y="0"/>
                    </a:moveTo>
                    <a:lnTo>
                      <a:pt x="159" y="60"/>
                    </a:lnTo>
                    <a:lnTo>
                      <a:pt x="251" y="103"/>
                    </a:lnTo>
                    <a:lnTo>
                      <a:pt x="258" y="109"/>
                    </a:lnTo>
                    <a:lnTo>
                      <a:pt x="264" y="116"/>
                    </a:lnTo>
                    <a:lnTo>
                      <a:pt x="269" y="126"/>
                    </a:lnTo>
                    <a:lnTo>
                      <a:pt x="272" y="136"/>
                    </a:lnTo>
                    <a:lnTo>
                      <a:pt x="273" y="147"/>
                    </a:lnTo>
                    <a:lnTo>
                      <a:pt x="273" y="157"/>
                    </a:lnTo>
                    <a:lnTo>
                      <a:pt x="271" y="168"/>
                    </a:lnTo>
                    <a:lnTo>
                      <a:pt x="267" y="178"/>
                    </a:lnTo>
                    <a:lnTo>
                      <a:pt x="264" y="182"/>
                    </a:lnTo>
                    <a:lnTo>
                      <a:pt x="262" y="187"/>
                    </a:lnTo>
                    <a:lnTo>
                      <a:pt x="258" y="192"/>
                    </a:lnTo>
                    <a:lnTo>
                      <a:pt x="255" y="196"/>
                    </a:lnTo>
                    <a:lnTo>
                      <a:pt x="246" y="201"/>
                    </a:lnTo>
                    <a:lnTo>
                      <a:pt x="237" y="204"/>
                    </a:lnTo>
                    <a:lnTo>
                      <a:pt x="228" y="206"/>
                    </a:lnTo>
                    <a:lnTo>
                      <a:pt x="219" y="206"/>
                    </a:lnTo>
                    <a:lnTo>
                      <a:pt x="209" y="203"/>
                    </a:lnTo>
                    <a:lnTo>
                      <a:pt x="201" y="200"/>
                    </a:lnTo>
                    <a:lnTo>
                      <a:pt x="0" y="67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0097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766" name="Freeform 294"/>
              <p:cNvSpPr>
                <a:spLocks noEditPoints="1"/>
              </p:cNvSpPr>
              <p:nvPr/>
            </p:nvSpPr>
            <p:spPr bwMode="auto">
              <a:xfrm>
                <a:off x="3438525" y="5735638"/>
                <a:ext cx="119063" cy="90488"/>
              </a:xfrm>
              <a:custGeom>
                <a:avLst/>
                <a:gdLst>
                  <a:gd name="T0" fmla="*/ 26 w 297"/>
                  <a:gd name="T1" fmla="*/ 74 h 230"/>
                  <a:gd name="T2" fmla="*/ 219 w 297"/>
                  <a:gd name="T3" fmla="*/ 201 h 230"/>
                  <a:gd name="T4" fmla="*/ 226 w 297"/>
                  <a:gd name="T5" fmla="*/ 204 h 230"/>
                  <a:gd name="T6" fmla="*/ 234 w 297"/>
                  <a:gd name="T7" fmla="*/ 205 h 230"/>
                  <a:gd name="T8" fmla="*/ 241 w 297"/>
                  <a:gd name="T9" fmla="*/ 207 h 230"/>
                  <a:gd name="T10" fmla="*/ 248 w 297"/>
                  <a:gd name="T11" fmla="*/ 205 h 230"/>
                  <a:gd name="T12" fmla="*/ 254 w 297"/>
                  <a:gd name="T13" fmla="*/ 201 h 230"/>
                  <a:gd name="T14" fmla="*/ 259 w 297"/>
                  <a:gd name="T15" fmla="*/ 197 h 230"/>
                  <a:gd name="T16" fmla="*/ 264 w 297"/>
                  <a:gd name="T17" fmla="*/ 191 h 230"/>
                  <a:gd name="T18" fmla="*/ 268 w 297"/>
                  <a:gd name="T19" fmla="*/ 185 h 230"/>
                  <a:gd name="T20" fmla="*/ 271 w 297"/>
                  <a:gd name="T21" fmla="*/ 176 h 230"/>
                  <a:gd name="T22" fmla="*/ 273 w 297"/>
                  <a:gd name="T23" fmla="*/ 167 h 230"/>
                  <a:gd name="T24" fmla="*/ 273 w 297"/>
                  <a:gd name="T25" fmla="*/ 159 h 230"/>
                  <a:gd name="T26" fmla="*/ 273 w 297"/>
                  <a:gd name="T27" fmla="*/ 150 h 230"/>
                  <a:gd name="T28" fmla="*/ 270 w 297"/>
                  <a:gd name="T29" fmla="*/ 143 h 230"/>
                  <a:gd name="T30" fmla="*/ 267 w 297"/>
                  <a:gd name="T31" fmla="*/ 136 h 230"/>
                  <a:gd name="T32" fmla="*/ 262 w 297"/>
                  <a:gd name="T33" fmla="*/ 131 h 230"/>
                  <a:gd name="T34" fmla="*/ 257 w 297"/>
                  <a:gd name="T35" fmla="*/ 126 h 230"/>
                  <a:gd name="T36" fmla="*/ 51 w 297"/>
                  <a:gd name="T37" fmla="*/ 27 h 230"/>
                  <a:gd name="T38" fmla="*/ 26 w 297"/>
                  <a:gd name="T39" fmla="*/ 74 h 230"/>
                  <a:gd name="T40" fmla="*/ 238 w 297"/>
                  <a:gd name="T41" fmla="*/ 230 h 230"/>
                  <a:gd name="T42" fmla="*/ 231 w 297"/>
                  <a:gd name="T43" fmla="*/ 229 h 230"/>
                  <a:gd name="T44" fmla="*/ 222 w 297"/>
                  <a:gd name="T45" fmla="*/ 227 h 230"/>
                  <a:gd name="T46" fmla="*/ 214 w 297"/>
                  <a:gd name="T47" fmla="*/ 225 h 230"/>
                  <a:gd name="T48" fmla="*/ 207 w 297"/>
                  <a:gd name="T49" fmla="*/ 220 h 230"/>
                  <a:gd name="T50" fmla="*/ 4 w 297"/>
                  <a:gd name="T51" fmla="*/ 88 h 230"/>
                  <a:gd name="T52" fmla="*/ 2 w 297"/>
                  <a:gd name="T53" fmla="*/ 85 h 230"/>
                  <a:gd name="T54" fmla="*/ 0 w 297"/>
                  <a:gd name="T55" fmla="*/ 82 h 230"/>
                  <a:gd name="T56" fmla="*/ 0 w 297"/>
                  <a:gd name="T57" fmla="*/ 78 h 230"/>
                  <a:gd name="T58" fmla="*/ 1 w 297"/>
                  <a:gd name="T59" fmla="*/ 74 h 230"/>
                  <a:gd name="T60" fmla="*/ 35 w 297"/>
                  <a:gd name="T61" fmla="*/ 7 h 230"/>
                  <a:gd name="T62" fmla="*/ 38 w 297"/>
                  <a:gd name="T63" fmla="*/ 2 h 230"/>
                  <a:gd name="T64" fmla="*/ 41 w 297"/>
                  <a:gd name="T65" fmla="*/ 0 h 230"/>
                  <a:gd name="T66" fmla="*/ 46 w 297"/>
                  <a:gd name="T67" fmla="*/ 0 h 230"/>
                  <a:gd name="T68" fmla="*/ 51 w 297"/>
                  <a:gd name="T69" fmla="*/ 0 h 230"/>
                  <a:gd name="T70" fmla="*/ 268 w 297"/>
                  <a:gd name="T71" fmla="*/ 104 h 230"/>
                  <a:gd name="T72" fmla="*/ 273 w 297"/>
                  <a:gd name="T73" fmla="*/ 107 h 230"/>
                  <a:gd name="T74" fmla="*/ 278 w 297"/>
                  <a:gd name="T75" fmla="*/ 111 h 230"/>
                  <a:gd name="T76" fmla="*/ 283 w 297"/>
                  <a:gd name="T77" fmla="*/ 116 h 230"/>
                  <a:gd name="T78" fmla="*/ 286 w 297"/>
                  <a:gd name="T79" fmla="*/ 121 h 230"/>
                  <a:gd name="T80" fmla="*/ 292 w 297"/>
                  <a:gd name="T81" fmla="*/ 133 h 230"/>
                  <a:gd name="T82" fmla="*/ 296 w 297"/>
                  <a:gd name="T83" fmla="*/ 145 h 230"/>
                  <a:gd name="T84" fmla="*/ 297 w 297"/>
                  <a:gd name="T85" fmla="*/ 158 h 230"/>
                  <a:gd name="T86" fmla="*/ 297 w 297"/>
                  <a:gd name="T87" fmla="*/ 171 h 230"/>
                  <a:gd name="T88" fmla="*/ 295 w 297"/>
                  <a:gd name="T89" fmla="*/ 182 h 230"/>
                  <a:gd name="T90" fmla="*/ 290 w 297"/>
                  <a:gd name="T91" fmla="*/ 193 h 230"/>
                  <a:gd name="T92" fmla="*/ 284 w 297"/>
                  <a:gd name="T93" fmla="*/ 205 h 230"/>
                  <a:gd name="T94" fmla="*/ 276 w 297"/>
                  <a:gd name="T95" fmla="*/ 215 h 230"/>
                  <a:gd name="T96" fmla="*/ 271 w 297"/>
                  <a:gd name="T97" fmla="*/ 219 h 230"/>
                  <a:gd name="T98" fmla="*/ 267 w 297"/>
                  <a:gd name="T99" fmla="*/ 223 h 230"/>
                  <a:gd name="T100" fmla="*/ 262 w 297"/>
                  <a:gd name="T101" fmla="*/ 225 h 230"/>
                  <a:gd name="T102" fmla="*/ 257 w 297"/>
                  <a:gd name="T103" fmla="*/ 227 h 230"/>
                  <a:gd name="T104" fmla="*/ 248 w 297"/>
                  <a:gd name="T105" fmla="*/ 230 h 230"/>
                  <a:gd name="T106" fmla="*/ 238 w 297"/>
                  <a:gd name="T107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97" h="230">
                    <a:moveTo>
                      <a:pt x="26" y="74"/>
                    </a:moveTo>
                    <a:lnTo>
                      <a:pt x="219" y="201"/>
                    </a:lnTo>
                    <a:lnTo>
                      <a:pt x="226" y="204"/>
                    </a:lnTo>
                    <a:lnTo>
                      <a:pt x="234" y="205"/>
                    </a:lnTo>
                    <a:lnTo>
                      <a:pt x="241" y="207"/>
                    </a:lnTo>
                    <a:lnTo>
                      <a:pt x="248" y="205"/>
                    </a:lnTo>
                    <a:lnTo>
                      <a:pt x="254" y="201"/>
                    </a:lnTo>
                    <a:lnTo>
                      <a:pt x="259" y="197"/>
                    </a:lnTo>
                    <a:lnTo>
                      <a:pt x="264" y="191"/>
                    </a:lnTo>
                    <a:lnTo>
                      <a:pt x="268" y="185"/>
                    </a:lnTo>
                    <a:lnTo>
                      <a:pt x="271" y="176"/>
                    </a:lnTo>
                    <a:lnTo>
                      <a:pt x="273" y="167"/>
                    </a:lnTo>
                    <a:lnTo>
                      <a:pt x="273" y="159"/>
                    </a:lnTo>
                    <a:lnTo>
                      <a:pt x="273" y="150"/>
                    </a:lnTo>
                    <a:lnTo>
                      <a:pt x="270" y="143"/>
                    </a:lnTo>
                    <a:lnTo>
                      <a:pt x="267" y="136"/>
                    </a:lnTo>
                    <a:lnTo>
                      <a:pt x="262" y="131"/>
                    </a:lnTo>
                    <a:lnTo>
                      <a:pt x="257" y="126"/>
                    </a:lnTo>
                    <a:lnTo>
                      <a:pt x="51" y="27"/>
                    </a:lnTo>
                    <a:lnTo>
                      <a:pt x="26" y="74"/>
                    </a:lnTo>
                    <a:close/>
                    <a:moveTo>
                      <a:pt x="238" y="230"/>
                    </a:moveTo>
                    <a:lnTo>
                      <a:pt x="231" y="229"/>
                    </a:lnTo>
                    <a:lnTo>
                      <a:pt x="222" y="227"/>
                    </a:lnTo>
                    <a:lnTo>
                      <a:pt x="214" y="225"/>
                    </a:lnTo>
                    <a:lnTo>
                      <a:pt x="207" y="220"/>
                    </a:lnTo>
                    <a:lnTo>
                      <a:pt x="4" y="88"/>
                    </a:lnTo>
                    <a:lnTo>
                      <a:pt x="2" y="85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1" y="74"/>
                    </a:lnTo>
                    <a:lnTo>
                      <a:pt x="35" y="7"/>
                    </a:lnTo>
                    <a:lnTo>
                      <a:pt x="38" y="2"/>
                    </a:lnTo>
                    <a:lnTo>
                      <a:pt x="41" y="0"/>
                    </a:lnTo>
                    <a:lnTo>
                      <a:pt x="46" y="0"/>
                    </a:lnTo>
                    <a:lnTo>
                      <a:pt x="51" y="0"/>
                    </a:lnTo>
                    <a:lnTo>
                      <a:pt x="268" y="104"/>
                    </a:lnTo>
                    <a:lnTo>
                      <a:pt x="273" y="107"/>
                    </a:lnTo>
                    <a:lnTo>
                      <a:pt x="278" y="111"/>
                    </a:lnTo>
                    <a:lnTo>
                      <a:pt x="283" y="116"/>
                    </a:lnTo>
                    <a:lnTo>
                      <a:pt x="286" y="121"/>
                    </a:lnTo>
                    <a:lnTo>
                      <a:pt x="292" y="133"/>
                    </a:lnTo>
                    <a:lnTo>
                      <a:pt x="296" y="145"/>
                    </a:lnTo>
                    <a:lnTo>
                      <a:pt x="297" y="158"/>
                    </a:lnTo>
                    <a:lnTo>
                      <a:pt x="297" y="171"/>
                    </a:lnTo>
                    <a:lnTo>
                      <a:pt x="295" y="182"/>
                    </a:lnTo>
                    <a:lnTo>
                      <a:pt x="290" y="193"/>
                    </a:lnTo>
                    <a:lnTo>
                      <a:pt x="284" y="205"/>
                    </a:lnTo>
                    <a:lnTo>
                      <a:pt x="276" y="215"/>
                    </a:lnTo>
                    <a:lnTo>
                      <a:pt x="271" y="219"/>
                    </a:lnTo>
                    <a:lnTo>
                      <a:pt x="267" y="223"/>
                    </a:lnTo>
                    <a:lnTo>
                      <a:pt x="262" y="225"/>
                    </a:lnTo>
                    <a:lnTo>
                      <a:pt x="257" y="227"/>
                    </a:lnTo>
                    <a:lnTo>
                      <a:pt x="248" y="230"/>
                    </a:lnTo>
                    <a:lnTo>
                      <a:pt x="238" y="230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</p:grpSp>
        <p:sp>
          <p:nvSpPr>
            <p:cNvPr id="732" name="Овал 731"/>
            <p:cNvSpPr/>
            <p:nvPr/>
          </p:nvSpPr>
          <p:spPr>
            <a:xfrm>
              <a:off x="582596" y="4208193"/>
              <a:ext cx="234074" cy="252916"/>
            </a:xfrm>
            <a:prstGeom prst="ellipse">
              <a:avLst/>
            </a:prstGeom>
            <a:noFill/>
            <a:ln w="28575">
              <a:solidFill>
                <a:srgbClr val="4569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733" name="Прямая соединительная линия 732"/>
            <p:cNvCxnSpPr>
              <a:stCxn id="732" idx="3"/>
              <a:endCxn id="732" idx="7"/>
            </p:cNvCxnSpPr>
            <p:nvPr/>
          </p:nvCxnSpPr>
          <p:spPr>
            <a:xfrm flipV="1">
              <a:off x="616875" y="4245231"/>
              <a:ext cx="165515" cy="178838"/>
            </a:xfrm>
            <a:prstGeom prst="line">
              <a:avLst/>
            </a:prstGeom>
            <a:ln w="28575">
              <a:solidFill>
                <a:srgbClr val="45691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2" name="Прямоугольник 381"/>
          <p:cNvSpPr/>
          <p:nvPr/>
        </p:nvSpPr>
        <p:spPr>
          <a:xfrm>
            <a:off x="3728220" y="2374486"/>
            <a:ext cx="1548172" cy="479972"/>
          </a:xfrm>
          <a:prstGeom prst="rect">
            <a:avLst/>
          </a:prstGeom>
          <a:solidFill>
            <a:schemeClr val="bg1">
              <a:alpha val="37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ru-RU" sz="600" b="1" dirty="0" smtClean="0">
                <a:solidFill>
                  <a:schemeClr val="bg1">
                    <a:lumMod val="95000"/>
                  </a:schemeClr>
                </a:solidFill>
              </a:rPr>
              <a:t>Предел </a:t>
            </a:r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погрешности: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Масса – 0,5%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Объем – 0,4%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Плотность ср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– 1,0 кг/м</a:t>
            </a:r>
            <a:r>
              <a:rPr lang="ru-RU" sz="600" baseline="30000" dirty="0">
                <a:solidFill>
                  <a:schemeClr val="bg1">
                    <a:lumMod val="95000"/>
                  </a:schemeClr>
                </a:solidFill>
              </a:rPr>
              <a:t>3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*</a:t>
            </a:r>
          </a:p>
          <a:p>
            <a:pPr marL="69056" indent="-69056">
              <a:buFont typeface="Arial" panose="020B0604020202020204" pitchFamily="34" charset="0"/>
              <a:buChar char="•"/>
            </a:pPr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Температура ср </a:t>
            </a:r>
            <a:r>
              <a:rPr lang="ru-RU" sz="600" dirty="0">
                <a:solidFill>
                  <a:schemeClr val="bg1">
                    <a:lumMod val="95000"/>
                  </a:schemeClr>
                </a:solidFill>
              </a:rPr>
              <a:t>– 0,5 С</a:t>
            </a:r>
          </a:p>
        </p:txBody>
      </p:sp>
      <p:sp>
        <p:nvSpPr>
          <p:cNvPr id="643" name="Прямоугольник 642"/>
          <p:cNvSpPr/>
          <p:nvPr/>
        </p:nvSpPr>
        <p:spPr>
          <a:xfrm>
            <a:off x="1979712" y="2173141"/>
            <a:ext cx="1548172" cy="180020"/>
          </a:xfrm>
          <a:prstGeom prst="rect">
            <a:avLst/>
          </a:prstGeom>
          <a:solidFill>
            <a:srgbClr val="EF6213">
              <a:alpha val="57000"/>
            </a:srgbClr>
          </a:solidFill>
          <a:ln w="317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ru-RU" sz="600" b="1" dirty="0">
                <a:solidFill>
                  <a:schemeClr val="bg1">
                    <a:lumMod val="95000"/>
                  </a:schemeClr>
                </a:solidFill>
              </a:rPr>
              <a:t>Автоматизированный учет при сливе </a:t>
            </a:r>
            <a:r>
              <a:rPr lang="ru-RU" sz="600" b="1" dirty="0" smtClean="0">
                <a:solidFill>
                  <a:schemeClr val="bg1">
                    <a:lumMod val="95000"/>
                  </a:schemeClr>
                </a:solidFill>
              </a:rPr>
              <a:t>ЖД-цистерн</a:t>
            </a:r>
            <a:endParaRPr lang="ru-RU" sz="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22" name="Прямоугольник 521"/>
          <p:cNvSpPr/>
          <p:nvPr/>
        </p:nvSpPr>
        <p:spPr>
          <a:xfrm>
            <a:off x="425888" y="4570374"/>
            <a:ext cx="6126332" cy="16291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450"/>
              </a:spcBef>
            </a:pPr>
            <a:r>
              <a:rPr lang="ru-RU" sz="500" b="1" i="1" dirty="0" smtClean="0">
                <a:solidFill>
                  <a:schemeClr val="bg1">
                    <a:lumMod val="50000"/>
                  </a:schemeClr>
                </a:solidFill>
              </a:rPr>
              <a:t>* ИС установлены во всех резервуарах и емкостях, кроме аварийных</a:t>
            </a:r>
            <a:endParaRPr lang="en-US" sz="500" b="1" i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500" b="1" i="1" dirty="0" smtClean="0">
                <a:solidFill>
                  <a:schemeClr val="bg1">
                    <a:lumMod val="50000"/>
                  </a:schemeClr>
                </a:solidFill>
              </a:rPr>
              <a:t>*</a:t>
            </a:r>
            <a:r>
              <a:rPr lang="ru-RU" sz="500" b="1" i="1" dirty="0" smtClean="0">
                <a:solidFill>
                  <a:schemeClr val="bg1">
                    <a:lumMod val="50000"/>
                  </a:schemeClr>
                </a:solidFill>
              </a:rPr>
              <a:t> * Нецелевые нефтебаз – это нефтебазы, которые эксплуатируются до момента окончания СМР на целевых нефтебазах и будут выведены из эксплуатации в течение 3-х лет. </a:t>
            </a:r>
            <a:endParaRPr lang="ru-RU" sz="500" b="1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78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Прямоугольник 343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328258" y="4013475"/>
            <a:ext cx="1201079" cy="683543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Контур 4 </a:t>
            </a:r>
          </a:p>
          <a:p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Система управления и интеграции</a:t>
            </a:r>
            <a:endParaRPr lang="ru-RU" sz="9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43" name="Прямоугольник 342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328258" y="3179599"/>
            <a:ext cx="1201079" cy="683543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b="1">
                <a:solidFill>
                  <a:schemeClr val="bg1">
                    <a:lumMod val="95000"/>
                  </a:schemeClr>
                </a:solidFill>
              </a:rPr>
              <a:t>Контур 3</a:t>
            </a:r>
            <a:endParaRPr lang="en-US" sz="900" b="1">
              <a:solidFill>
                <a:schemeClr val="bg1">
                  <a:lumMod val="95000"/>
                </a:schemeClr>
              </a:solidFill>
            </a:endParaRPr>
          </a:p>
          <a:p>
            <a:r>
              <a:rPr lang="ru-RU" sz="900" b="1">
                <a:solidFill>
                  <a:schemeClr val="bg1">
                    <a:lumMod val="95000"/>
                  </a:schemeClr>
                </a:solidFill>
              </a:rPr>
              <a:t>Отпуск НП</a:t>
            </a:r>
            <a:endParaRPr lang="ru-RU" sz="9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42" name="Прямоугольник 341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328258" y="2345722"/>
            <a:ext cx="1201079" cy="683543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Контур  2</a:t>
            </a:r>
            <a:endParaRPr lang="en-US" sz="900" b="1" dirty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Хранение НП</a:t>
            </a:r>
          </a:p>
        </p:txBody>
      </p:sp>
      <p:sp>
        <p:nvSpPr>
          <p:cNvPr id="340" name="Прямоугольник 339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328258" y="1511845"/>
            <a:ext cx="1201079" cy="683543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Контур 1</a:t>
            </a:r>
            <a:endParaRPr lang="en-US" sz="900" b="1" dirty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Прием НП</a:t>
            </a:r>
          </a:p>
        </p:txBody>
      </p:sp>
      <p:sp>
        <p:nvSpPr>
          <p:cNvPr id="1035" name="Прямоугольник 1034"/>
          <p:cNvSpPr/>
          <p:nvPr/>
        </p:nvSpPr>
        <p:spPr>
          <a:xfrm flipH="1">
            <a:off x="7671884" y="1889213"/>
            <a:ext cx="2300717" cy="2050689"/>
          </a:xfrm>
          <a:prstGeom prst="rect">
            <a:avLst/>
          </a:prstGeom>
          <a:noFill/>
          <a:ln w="12700"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rgbClr val="3C3C3C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437363" y="2042035"/>
            <a:ext cx="460200" cy="452059"/>
          </a:xfrm>
          <a:prstGeom prst="rect">
            <a:avLst/>
          </a:prstGeom>
          <a:solidFill>
            <a:srgbClr val="3C3C3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29" name="Прямоугольник 1028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0" y="699542"/>
            <a:ext cx="9144000" cy="466467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450"/>
              </a:spcBef>
            </a:pPr>
            <a:endParaRPr lang="ru-RU" sz="1050" b="1" dirty="0">
              <a:solidFill>
                <a:schemeClr val="bg1"/>
              </a:solidFill>
              <a:latin typeface="DINPro-Medium" panose="02000503030000020004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2279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4" y="62900"/>
            <a:ext cx="789671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3"/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Технологическое 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оснащение контуров </a:t>
            </a:r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нефтебаз АО 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«</a:t>
            </a:r>
            <a:r>
              <a:rPr lang="ru-RU" sz="1600" b="1" dirty="0" err="1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Газпромнефть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-Терминал</a:t>
            </a:r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»</a:t>
            </a:r>
          </a:p>
          <a:p>
            <a:pPr defTabSz="914363"/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в 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рамках Программы внедрения системы </a:t>
            </a:r>
            <a:r>
              <a:rPr lang="ru-RU" sz="1600" b="1" dirty="0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«</a:t>
            </a:r>
            <a:r>
              <a:rPr lang="ru-RU" sz="1600" b="1" dirty="0" err="1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Нефтеконтроль</a:t>
            </a:r>
            <a:r>
              <a:rPr lang="ru-RU" sz="1600" b="1" dirty="0" smtClean="0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»</a:t>
            </a:r>
            <a:endParaRPr lang="ru-RU" sz="1600" b="1" dirty="0">
              <a:solidFill>
                <a:srgbClr val="DE5307"/>
              </a:solidFill>
              <a:latin typeface="DIN Pro" panose="020B0504020101010102" pitchFamily="34" charset="0"/>
              <a:cs typeface="DIN Pro" panose="020B0504020101010102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chemeClr val="tx1"/>
              </a:solidFill>
            </a:endParaRPr>
          </a:p>
        </p:txBody>
      </p:sp>
      <p:sp>
        <p:nvSpPr>
          <p:cNvPr id="563" name="Текст 85"/>
          <p:cNvSpPr txBox="1">
            <a:spLocks/>
          </p:cNvSpPr>
          <p:nvPr/>
        </p:nvSpPr>
        <p:spPr>
          <a:xfrm>
            <a:off x="734194" y="850095"/>
            <a:ext cx="7920880" cy="300960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В </a:t>
            </a: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текущем состоянии НБ отсутствуют системы сбора данных, все измерения и ввод данных производится </a:t>
            </a: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вручную</a:t>
            </a:r>
            <a:endParaRPr lang="ru-RU" sz="9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02" name="Прямоугольник 1001"/>
          <p:cNvSpPr/>
          <p:nvPr/>
        </p:nvSpPr>
        <p:spPr>
          <a:xfrm>
            <a:off x="1691680" y="1609011"/>
            <a:ext cx="2520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900" dirty="0" smtClean="0">
                <a:solidFill>
                  <a:schemeClr val="bg1">
                    <a:lumMod val="95000"/>
                  </a:schemeClr>
                </a:solidFill>
              </a:rPr>
              <a:t>Размещение 2-х </a:t>
            </a:r>
            <a:r>
              <a:rPr lang="ru-RU" sz="900" dirty="0">
                <a:solidFill>
                  <a:schemeClr val="bg1">
                    <a:lumMod val="95000"/>
                  </a:schemeClr>
                </a:solidFill>
              </a:rPr>
              <a:t>узлов учета на каждый пост слива на ЖД эстакаде с локальной </a:t>
            </a:r>
            <a:r>
              <a:rPr lang="ru-RU" sz="900" dirty="0" smtClean="0">
                <a:solidFill>
                  <a:schemeClr val="bg1">
                    <a:lumMod val="95000"/>
                  </a:schemeClr>
                </a:solidFill>
              </a:rPr>
              <a:t>системой управления</a:t>
            </a:r>
            <a:endParaRPr lang="ru-RU" sz="9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03" name="Прямоугольник 1002"/>
          <p:cNvSpPr/>
          <p:nvPr/>
        </p:nvSpPr>
        <p:spPr>
          <a:xfrm>
            <a:off x="1691680" y="2427734"/>
            <a:ext cx="2520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900" dirty="0" smtClean="0">
                <a:solidFill>
                  <a:schemeClr val="bg1">
                    <a:lumMod val="95000"/>
                  </a:schemeClr>
                </a:solidFill>
              </a:rPr>
              <a:t>Установка </a:t>
            </a:r>
            <a:r>
              <a:rPr lang="ru-RU" sz="900" dirty="0">
                <a:solidFill>
                  <a:schemeClr val="bg1">
                    <a:lumMod val="95000"/>
                  </a:schemeClr>
                </a:solidFill>
              </a:rPr>
              <a:t>систем измерения массы в РВС/РГС с локальной системой управления</a:t>
            </a:r>
          </a:p>
        </p:txBody>
      </p:sp>
      <p:sp>
        <p:nvSpPr>
          <p:cNvPr id="1004" name="Прямоугольник 1003"/>
          <p:cNvSpPr/>
          <p:nvPr/>
        </p:nvSpPr>
        <p:spPr>
          <a:xfrm>
            <a:off x="1691680" y="3291830"/>
            <a:ext cx="252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900" dirty="0">
                <a:solidFill>
                  <a:schemeClr val="bg1">
                    <a:lumMod val="95000"/>
                  </a:schemeClr>
                </a:solidFill>
              </a:rPr>
              <a:t>Сооружение АСН на отпуске с локальной системой управления</a:t>
            </a:r>
          </a:p>
        </p:txBody>
      </p:sp>
      <p:sp>
        <p:nvSpPr>
          <p:cNvPr id="1011" name="Прямоугольник 1010"/>
          <p:cNvSpPr/>
          <p:nvPr/>
        </p:nvSpPr>
        <p:spPr>
          <a:xfrm>
            <a:off x="7819184" y="2042035"/>
            <a:ext cx="112990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bg1">
                    <a:lumMod val="95000"/>
                  </a:schemeClr>
                </a:solidFill>
              </a:rPr>
              <a:t>Предусмотрено привлечение российских </a:t>
            </a:r>
            <a:r>
              <a:rPr lang="ru-RU" sz="900" dirty="0" smtClean="0">
                <a:solidFill>
                  <a:schemeClr val="bg1">
                    <a:lumMod val="95000"/>
                  </a:schemeClr>
                </a:solidFill>
              </a:rPr>
              <a:t>поставщиков</a:t>
            </a:r>
            <a:endParaRPr lang="ru-RU" sz="900" dirty="0">
              <a:solidFill>
                <a:schemeClr val="bg1">
                  <a:lumMod val="95000"/>
                </a:schemeClr>
              </a:solidFill>
            </a:endParaRPr>
          </a:p>
          <a:p>
            <a:endParaRPr lang="en-US" sz="900" b="1" dirty="0" smtClean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ru-RU" sz="900" dirty="0" smtClean="0">
                <a:solidFill>
                  <a:schemeClr val="bg1">
                    <a:lumMod val="95000"/>
                  </a:schemeClr>
                </a:solidFill>
              </a:rPr>
              <a:t>Импортные </a:t>
            </a:r>
            <a:r>
              <a:rPr lang="ru-RU" sz="900" dirty="0">
                <a:solidFill>
                  <a:schemeClr val="bg1">
                    <a:lumMod val="95000"/>
                  </a:schemeClr>
                </a:solidFill>
              </a:rPr>
              <a:t>комплектующие в составе Программы не более 13% от общей стоимости </a:t>
            </a:r>
            <a:r>
              <a:rPr lang="ru-RU" sz="900" dirty="0" smtClean="0">
                <a:solidFill>
                  <a:schemeClr val="bg1">
                    <a:lumMod val="95000"/>
                  </a:schemeClr>
                </a:solidFill>
              </a:rPr>
              <a:t>оборудования</a:t>
            </a:r>
            <a:endParaRPr lang="ru-RU" sz="900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380312" y="4434550"/>
            <a:ext cx="1539306" cy="298740"/>
            <a:chOff x="4850105" y="4434550"/>
            <a:chExt cx="1539306" cy="298740"/>
          </a:xfrm>
        </p:grpSpPr>
        <p:sp>
          <p:nvSpPr>
            <p:cNvPr id="1012" name="arrow2_3_line"/>
            <p:cNvSpPr>
              <a:spLocks noChangeShapeType="1"/>
            </p:cNvSpPr>
            <p:nvPr/>
          </p:nvSpPr>
          <p:spPr bwMode="auto">
            <a:xfrm>
              <a:off x="4850105" y="4528808"/>
              <a:ext cx="270000" cy="0"/>
            </a:xfrm>
            <a:prstGeom prst="line">
              <a:avLst/>
            </a:prstGeom>
            <a:ln w="19050">
              <a:solidFill>
                <a:schemeClr val="accent3"/>
              </a:solidFill>
              <a:headEnd/>
              <a:tailEnd type="triangle" w="med" len="lg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wrap="none" lIns="0" tIns="0" anchor="ctr"/>
            <a:lstStyle/>
            <a:p>
              <a:endParaRPr lang="ru-RU" sz="1350" dirty="0">
                <a:latin typeface="Arial" pitchFamily="34" charset="0"/>
              </a:endParaRPr>
            </a:p>
          </p:txBody>
        </p:sp>
        <p:sp>
          <p:nvSpPr>
            <p:cNvPr id="1013" name="Прямоугольник 1012"/>
            <p:cNvSpPr/>
            <p:nvPr/>
          </p:nvSpPr>
          <p:spPr>
            <a:xfrm>
              <a:off x="4896036" y="4434550"/>
              <a:ext cx="1493375" cy="184666"/>
            </a:xfrm>
            <a:prstGeom prst="rect">
              <a:avLst/>
            </a:prstGeom>
            <a:ln w="1270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sz="600" dirty="0">
                  <a:solidFill>
                    <a:schemeClr val="accent3"/>
                  </a:solidFill>
                </a:rPr>
                <a:t>- Движение нефтепродуктов</a:t>
              </a:r>
            </a:p>
          </p:txBody>
        </p:sp>
        <p:sp>
          <p:nvSpPr>
            <p:cNvPr id="1014" name="arrow2_3_line"/>
            <p:cNvSpPr>
              <a:spLocks noChangeShapeType="1"/>
            </p:cNvSpPr>
            <p:nvPr/>
          </p:nvSpPr>
          <p:spPr bwMode="auto">
            <a:xfrm>
              <a:off x="4855463" y="4634774"/>
              <a:ext cx="270000" cy="0"/>
            </a:xfrm>
            <a:prstGeom prst="line">
              <a:avLst/>
            </a:prstGeom>
            <a:ln w="12700">
              <a:solidFill>
                <a:srgbClr val="FF9933"/>
              </a:solidFill>
              <a:prstDash val="lgDashDot"/>
              <a:headEnd/>
              <a:tailEnd type="triangle" w="med" len="lg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wrap="none" lIns="0" tIns="0" anchor="ctr"/>
            <a:lstStyle/>
            <a:p>
              <a:endParaRPr lang="ru-RU" sz="1350" dirty="0">
                <a:latin typeface="Arial" pitchFamily="34" charset="0"/>
              </a:endParaRPr>
            </a:p>
          </p:txBody>
        </p:sp>
        <p:sp>
          <p:nvSpPr>
            <p:cNvPr id="1015" name="Прямоугольник 1014"/>
            <p:cNvSpPr/>
            <p:nvPr/>
          </p:nvSpPr>
          <p:spPr>
            <a:xfrm>
              <a:off x="4914490" y="4548624"/>
              <a:ext cx="1138160" cy="184666"/>
            </a:xfrm>
            <a:prstGeom prst="rect">
              <a:avLst/>
            </a:prstGeom>
            <a:ln w="1270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sz="600" dirty="0">
                  <a:solidFill>
                    <a:schemeClr val="accent3"/>
                  </a:solidFill>
                </a:rPr>
                <a:t>- Передача данных</a:t>
              </a:r>
            </a:p>
          </p:txBody>
        </p:sp>
      </p:grpSp>
      <p:pic>
        <p:nvPicPr>
          <p:cNvPr id="719" name="Picture 6" descr="\\gazprom-neft.local\dfs\Газпром нефть\Папки пользователей\Личные папки\Driker.AA\Desktop\Инфографика\С заливкой\Переработка_и_сбыт\емкость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158" y="2727203"/>
            <a:ext cx="395819" cy="393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20" name="knot_z"/>
          <p:cNvGrpSpPr>
            <a:grpSpLocks noChangeAspect="1"/>
          </p:cNvGrpSpPr>
          <p:nvPr/>
        </p:nvGrpSpPr>
        <p:grpSpPr>
          <a:xfrm>
            <a:off x="4901332" y="2604784"/>
            <a:ext cx="58495" cy="103018"/>
            <a:chOff x="5915026" y="4621213"/>
            <a:chExt cx="312738" cy="468313"/>
          </a:xfrm>
        </p:grpSpPr>
        <p:sp>
          <p:nvSpPr>
            <p:cNvPr id="721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2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3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4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5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6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7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728" name="Прямая соединительная линия 727"/>
          <p:cNvCxnSpPr/>
          <p:nvPr/>
        </p:nvCxnSpPr>
        <p:spPr>
          <a:xfrm flipV="1">
            <a:off x="4928860" y="2710784"/>
            <a:ext cx="0" cy="367839"/>
          </a:xfrm>
          <a:prstGeom prst="line">
            <a:avLst/>
          </a:prstGeom>
          <a:ln w="38100" cap="rnd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9" name="Прямая соединительная линия 728"/>
          <p:cNvCxnSpPr/>
          <p:nvPr/>
        </p:nvCxnSpPr>
        <p:spPr>
          <a:xfrm flipV="1">
            <a:off x="4928715" y="2881499"/>
            <a:ext cx="0" cy="202313"/>
          </a:xfrm>
          <a:prstGeom prst="line">
            <a:avLst/>
          </a:prstGeom>
          <a:ln w="12700" cap="rnd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0" name="Соединительная линия уступом 729"/>
          <p:cNvCxnSpPr>
            <a:stCxn id="762" idx="3"/>
          </p:cNvCxnSpPr>
          <p:nvPr/>
        </p:nvCxnSpPr>
        <p:spPr>
          <a:xfrm flipV="1">
            <a:off x="4563604" y="2536807"/>
            <a:ext cx="1633505" cy="147198"/>
          </a:xfrm>
          <a:prstGeom prst="bentConnector3">
            <a:avLst>
              <a:gd name="adj1" fmla="val 6850"/>
            </a:avLst>
          </a:prstGeom>
          <a:ln w="9525">
            <a:solidFill>
              <a:schemeClr val="accent6"/>
            </a:solidFill>
            <a:prstDash val="lgDashDot"/>
            <a:headEnd type="triangle" w="sm" len="sm"/>
            <a:tailEnd type="non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1" name="Picture 6" descr="\\gazprom-neft.local\dfs\Газпром нефть\Папки пользователей\Личные папки\Driker.AA\Desktop\Инфографика\С заливкой\Переработка_и_сбыт\емкость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0822" y="2727203"/>
            <a:ext cx="395819" cy="393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32" name="knot_z"/>
          <p:cNvGrpSpPr>
            <a:grpSpLocks noChangeAspect="1"/>
          </p:cNvGrpSpPr>
          <p:nvPr/>
        </p:nvGrpSpPr>
        <p:grpSpPr>
          <a:xfrm>
            <a:off x="5412997" y="2604784"/>
            <a:ext cx="58495" cy="103018"/>
            <a:chOff x="5915026" y="4621213"/>
            <a:chExt cx="312738" cy="468313"/>
          </a:xfrm>
        </p:grpSpPr>
        <p:sp>
          <p:nvSpPr>
            <p:cNvPr id="733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4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5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6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7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8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9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740" name="Прямая соединительная линия 739"/>
          <p:cNvCxnSpPr/>
          <p:nvPr/>
        </p:nvCxnSpPr>
        <p:spPr>
          <a:xfrm flipV="1">
            <a:off x="5439573" y="2710784"/>
            <a:ext cx="0" cy="367839"/>
          </a:xfrm>
          <a:prstGeom prst="line">
            <a:avLst/>
          </a:prstGeom>
          <a:ln w="38100" cap="rnd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1" name="Прямая соединительная линия 138"/>
          <p:cNvCxnSpPr/>
          <p:nvPr/>
        </p:nvCxnSpPr>
        <p:spPr>
          <a:xfrm flipV="1">
            <a:off x="5477871" y="2535746"/>
            <a:ext cx="108798" cy="90689"/>
          </a:xfrm>
          <a:prstGeom prst="bentConnector3">
            <a:avLst>
              <a:gd name="adj1" fmla="val 81471"/>
            </a:avLst>
          </a:prstGeom>
          <a:ln w="9525">
            <a:solidFill>
              <a:schemeClr val="accent6"/>
            </a:solidFill>
            <a:prstDash val="lgDashDot"/>
            <a:miter lim="800000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2" name="Picture 35" descr="C:\Users\Driker.AA\Desktop\Инфографика\С заливкой\Транспорт\цистерна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368" y="2917538"/>
            <a:ext cx="280257" cy="18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43" name="knot_z"/>
          <p:cNvGrpSpPr>
            <a:grpSpLocks noChangeAspect="1"/>
          </p:cNvGrpSpPr>
          <p:nvPr/>
        </p:nvGrpSpPr>
        <p:grpSpPr>
          <a:xfrm>
            <a:off x="5867308" y="2788175"/>
            <a:ext cx="58495" cy="103018"/>
            <a:chOff x="5915026" y="4621213"/>
            <a:chExt cx="312738" cy="468313"/>
          </a:xfrm>
        </p:grpSpPr>
        <p:sp>
          <p:nvSpPr>
            <p:cNvPr id="744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5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6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7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8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9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50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751" name="Прямая соединительная линия 750"/>
          <p:cNvCxnSpPr/>
          <p:nvPr/>
        </p:nvCxnSpPr>
        <p:spPr>
          <a:xfrm flipV="1">
            <a:off x="5896556" y="2883832"/>
            <a:ext cx="0" cy="187969"/>
          </a:xfrm>
          <a:prstGeom prst="line">
            <a:avLst/>
          </a:prstGeom>
          <a:ln w="38100" cap="rnd" cmpd="dbl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Прямая соединительная линия 138"/>
          <p:cNvCxnSpPr/>
          <p:nvPr/>
        </p:nvCxnSpPr>
        <p:spPr>
          <a:xfrm rot="5400000" flipH="1" flipV="1">
            <a:off x="5814935" y="2636181"/>
            <a:ext cx="283160" cy="82292"/>
          </a:xfrm>
          <a:prstGeom prst="bentConnector3">
            <a:avLst>
              <a:gd name="adj1" fmla="val 1016"/>
            </a:avLst>
          </a:prstGeom>
          <a:ln w="9525">
            <a:solidFill>
              <a:schemeClr val="accent6"/>
            </a:solidFill>
            <a:prstDash val="lgDashDot"/>
            <a:miter lim="800000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3" name="Прямая соединительная линия 752"/>
          <p:cNvCxnSpPr/>
          <p:nvPr/>
        </p:nvCxnSpPr>
        <p:spPr>
          <a:xfrm flipV="1">
            <a:off x="5439540" y="3022625"/>
            <a:ext cx="0" cy="58603"/>
          </a:xfrm>
          <a:prstGeom prst="line">
            <a:avLst/>
          </a:prstGeom>
          <a:ln w="12700" cap="rnd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4" name="Прямая соединительная линия 753"/>
          <p:cNvCxnSpPr/>
          <p:nvPr/>
        </p:nvCxnSpPr>
        <p:spPr>
          <a:xfrm flipV="1">
            <a:off x="5896157" y="2977816"/>
            <a:ext cx="548" cy="99683"/>
          </a:xfrm>
          <a:prstGeom prst="line">
            <a:avLst/>
          </a:prstGeom>
          <a:ln w="12700" cap="rnd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5" name="Picture 79" descr="C:\Users\Driker.AA\Desktop\Инфографика\С заливкой\Гидрометеорология\акватория,_свободная_ото_льда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374" y="2883832"/>
            <a:ext cx="344603" cy="22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6" name="Picture 79" descr="C:\Users\Driker.AA\Desktop\Инфографика\С заливкой\Гидрометеорология\акватория,_свободная_ото_льда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69"/>
          <a:stretch/>
        </p:blipFill>
        <p:spPr bwMode="auto">
          <a:xfrm>
            <a:off x="5376049" y="3012184"/>
            <a:ext cx="344603" cy="9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7" name="Picture 79" descr="C:\Users\Driker.AA\Desktop\Инфографика\С заливкой\Гидрометеорология\акватория,_свободная_ото_льда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69"/>
          <a:stretch/>
        </p:blipFill>
        <p:spPr bwMode="auto">
          <a:xfrm>
            <a:off x="5829668" y="2971452"/>
            <a:ext cx="245234" cy="107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8" name="Picture 6" descr="\\gazprom-neft.local\dfs\Газпром нефть\Папки пользователей\Личные папки\Driker.AA\Desktop\Инфографика\С заливкой\Переработка_и_сбыт\емкость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2784819"/>
            <a:ext cx="270692" cy="333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59" name="knot_z"/>
          <p:cNvGrpSpPr>
            <a:grpSpLocks noChangeAspect="1"/>
          </p:cNvGrpSpPr>
          <p:nvPr/>
        </p:nvGrpSpPr>
        <p:grpSpPr>
          <a:xfrm>
            <a:off x="4510158" y="2649433"/>
            <a:ext cx="58495" cy="103018"/>
            <a:chOff x="5915026" y="4621213"/>
            <a:chExt cx="312738" cy="468313"/>
          </a:xfrm>
        </p:grpSpPr>
        <p:sp>
          <p:nvSpPr>
            <p:cNvPr id="760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1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2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3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4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5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6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767" name="Прямая соединительная линия 766"/>
          <p:cNvCxnSpPr/>
          <p:nvPr/>
        </p:nvCxnSpPr>
        <p:spPr>
          <a:xfrm flipH="1" flipV="1">
            <a:off x="4537540" y="2756953"/>
            <a:ext cx="146" cy="319338"/>
          </a:xfrm>
          <a:prstGeom prst="line">
            <a:avLst/>
          </a:prstGeom>
          <a:ln w="38100" cap="rnd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8" name="Прямая соединительная линия 767"/>
          <p:cNvCxnSpPr/>
          <p:nvPr/>
        </p:nvCxnSpPr>
        <p:spPr>
          <a:xfrm flipV="1">
            <a:off x="4537540" y="2942635"/>
            <a:ext cx="0" cy="138845"/>
          </a:xfrm>
          <a:prstGeom prst="line">
            <a:avLst/>
          </a:prstGeom>
          <a:ln w="12700" cap="rnd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9" name="Picture 79" descr="C:\Users\Driker.AA\Desktop\Инфографика\С заливкой\Гидрометеорология\акватория,_свободная_ото_льда.pn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53"/>
          <a:stretch/>
        </p:blipFill>
        <p:spPr bwMode="auto">
          <a:xfrm>
            <a:off x="4455575" y="2931450"/>
            <a:ext cx="243101" cy="174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0" name="Прямая соединительная линия 138"/>
          <p:cNvCxnSpPr/>
          <p:nvPr/>
        </p:nvCxnSpPr>
        <p:spPr>
          <a:xfrm flipV="1">
            <a:off x="4962668" y="2536807"/>
            <a:ext cx="108798" cy="90689"/>
          </a:xfrm>
          <a:prstGeom prst="bentConnector3">
            <a:avLst>
              <a:gd name="adj1" fmla="val 81471"/>
            </a:avLst>
          </a:prstGeom>
          <a:ln w="9525">
            <a:solidFill>
              <a:schemeClr val="accent6"/>
            </a:solidFill>
            <a:prstDash val="lgDashDot"/>
            <a:miter lim="800000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1" name="Picture85"/>
          <p:cNvSpPr>
            <a:spLocks noChangeAspect="1" noEditPoints="1"/>
          </p:cNvSpPr>
          <p:nvPr/>
        </p:nvSpPr>
        <p:spPr bwMode="auto">
          <a:xfrm>
            <a:off x="6577137" y="2607754"/>
            <a:ext cx="211744" cy="141245"/>
          </a:xfrm>
          <a:custGeom>
            <a:avLst/>
            <a:gdLst>
              <a:gd name="T0" fmla="*/ 1190 w 1700"/>
              <a:gd name="T1" fmla="*/ 0 h 1134"/>
              <a:gd name="T2" fmla="*/ 1190 w 1700"/>
              <a:gd name="T3" fmla="*/ 1134 h 1134"/>
              <a:gd name="T4" fmla="*/ 1700 w 1700"/>
              <a:gd name="T5" fmla="*/ 1134 h 1134"/>
              <a:gd name="T6" fmla="*/ 1700 w 1700"/>
              <a:gd name="T7" fmla="*/ 0 h 1134"/>
              <a:gd name="T8" fmla="*/ 1190 w 1700"/>
              <a:gd name="T9" fmla="*/ 0 h 1134"/>
              <a:gd name="T10" fmla="*/ 1644 w 1700"/>
              <a:gd name="T11" fmla="*/ 738 h 1134"/>
              <a:gd name="T12" fmla="*/ 1588 w 1700"/>
              <a:gd name="T13" fmla="*/ 738 h 1134"/>
              <a:gd name="T14" fmla="*/ 1588 w 1700"/>
              <a:gd name="T15" fmla="*/ 680 h 1134"/>
              <a:gd name="T16" fmla="*/ 1644 w 1700"/>
              <a:gd name="T17" fmla="*/ 680 h 1134"/>
              <a:gd name="T18" fmla="*/ 1644 w 1700"/>
              <a:gd name="T19" fmla="*/ 738 h 1134"/>
              <a:gd name="T20" fmla="*/ 1644 w 1700"/>
              <a:gd name="T21" fmla="*/ 510 h 1134"/>
              <a:gd name="T22" fmla="*/ 1248 w 1700"/>
              <a:gd name="T23" fmla="*/ 510 h 1134"/>
              <a:gd name="T24" fmla="*/ 1248 w 1700"/>
              <a:gd name="T25" fmla="*/ 454 h 1134"/>
              <a:gd name="T26" fmla="*/ 1644 w 1700"/>
              <a:gd name="T27" fmla="*/ 454 h 1134"/>
              <a:gd name="T28" fmla="*/ 1644 w 1700"/>
              <a:gd name="T29" fmla="*/ 510 h 1134"/>
              <a:gd name="T30" fmla="*/ 1644 w 1700"/>
              <a:gd name="T31" fmla="*/ 340 h 1134"/>
              <a:gd name="T32" fmla="*/ 1248 w 1700"/>
              <a:gd name="T33" fmla="*/ 340 h 1134"/>
              <a:gd name="T34" fmla="*/ 1248 w 1700"/>
              <a:gd name="T35" fmla="*/ 284 h 1134"/>
              <a:gd name="T36" fmla="*/ 1644 w 1700"/>
              <a:gd name="T37" fmla="*/ 284 h 1134"/>
              <a:gd name="T38" fmla="*/ 1644 w 1700"/>
              <a:gd name="T39" fmla="*/ 340 h 1134"/>
              <a:gd name="T40" fmla="*/ 1644 w 1700"/>
              <a:gd name="T41" fmla="*/ 170 h 1134"/>
              <a:gd name="T42" fmla="*/ 1248 w 1700"/>
              <a:gd name="T43" fmla="*/ 170 h 1134"/>
              <a:gd name="T44" fmla="*/ 1248 w 1700"/>
              <a:gd name="T45" fmla="*/ 114 h 1134"/>
              <a:gd name="T46" fmla="*/ 1644 w 1700"/>
              <a:gd name="T47" fmla="*/ 114 h 1134"/>
              <a:gd name="T48" fmla="*/ 1644 w 1700"/>
              <a:gd name="T49" fmla="*/ 170 h 1134"/>
              <a:gd name="T50" fmla="*/ 0 w 1700"/>
              <a:gd name="T51" fmla="*/ 964 h 1134"/>
              <a:gd name="T52" fmla="*/ 396 w 1700"/>
              <a:gd name="T53" fmla="*/ 964 h 1134"/>
              <a:gd name="T54" fmla="*/ 396 w 1700"/>
              <a:gd name="T55" fmla="*/ 1078 h 1134"/>
              <a:gd name="T56" fmla="*/ 284 w 1700"/>
              <a:gd name="T57" fmla="*/ 1078 h 1134"/>
              <a:gd name="T58" fmla="*/ 284 w 1700"/>
              <a:gd name="T59" fmla="*/ 1134 h 1134"/>
              <a:gd name="T60" fmla="*/ 794 w 1700"/>
              <a:gd name="T61" fmla="*/ 1134 h 1134"/>
              <a:gd name="T62" fmla="*/ 794 w 1700"/>
              <a:gd name="T63" fmla="*/ 1078 h 1134"/>
              <a:gd name="T64" fmla="*/ 680 w 1700"/>
              <a:gd name="T65" fmla="*/ 1078 h 1134"/>
              <a:gd name="T66" fmla="*/ 680 w 1700"/>
              <a:gd name="T67" fmla="*/ 964 h 1134"/>
              <a:gd name="T68" fmla="*/ 1078 w 1700"/>
              <a:gd name="T69" fmla="*/ 964 h 1134"/>
              <a:gd name="T70" fmla="*/ 1078 w 1700"/>
              <a:gd name="T71" fmla="*/ 170 h 1134"/>
              <a:gd name="T72" fmla="*/ 0 w 1700"/>
              <a:gd name="T73" fmla="*/ 170 h 1134"/>
              <a:gd name="T74" fmla="*/ 0 w 1700"/>
              <a:gd name="T75" fmla="*/ 964 h 1134"/>
              <a:gd name="T76" fmla="*/ 964 w 1700"/>
              <a:gd name="T77" fmla="*/ 908 h 1134"/>
              <a:gd name="T78" fmla="*/ 908 w 1700"/>
              <a:gd name="T79" fmla="*/ 908 h 1134"/>
              <a:gd name="T80" fmla="*/ 908 w 1700"/>
              <a:gd name="T81" fmla="*/ 850 h 1134"/>
              <a:gd name="T82" fmla="*/ 964 w 1700"/>
              <a:gd name="T83" fmla="*/ 850 h 1134"/>
              <a:gd name="T84" fmla="*/ 964 w 1700"/>
              <a:gd name="T85" fmla="*/ 908 h 1134"/>
              <a:gd name="T86" fmla="*/ 114 w 1700"/>
              <a:gd name="T87" fmla="*/ 284 h 1134"/>
              <a:gd name="T88" fmla="*/ 964 w 1700"/>
              <a:gd name="T89" fmla="*/ 284 h 1134"/>
              <a:gd name="T90" fmla="*/ 964 w 1700"/>
              <a:gd name="T91" fmla="*/ 794 h 1134"/>
              <a:gd name="T92" fmla="*/ 114 w 1700"/>
              <a:gd name="T93" fmla="*/ 794 h 1134"/>
              <a:gd name="T94" fmla="*/ 114 w 1700"/>
              <a:gd name="T95" fmla="*/ 284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00" h="1134">
                <a:moveTo>
                  <a:pt x="1190" y="0"/>
                </a:moveTo>
                <a:lnTo>
                  <a:pt x="1190" y="1134"/>
                </a:lnTo>
                <a:lnTo>
                  <a:pt x="1700" y="1134"/>
                </a:lnTo>
                <a:lnTo>
                  <a:pt x="1700" y="0"/>
                </a:lnTo>
                <a:lnTo>
                  <a:pt x="1190" y="0"/>
                </a:lnTo>
                <a:close/>
                <a:moveTo>
                  <a:pt x="1644" y="738"/>
                </a:moveTo>
                <a:lnTo>
                  <a:pt x="1588" y="738"/>
                </a:lnTo>
                <a:lnTo>
                  <a:pt x="1588" y="680"/>
                </a:lnTo>
                <a:lnTo>
                  <a:pt x="1644" y="680"/>
                </a:lnTo>
                <a:lnTo>
                  <a:pt x="1644" y="738"/>
                </a:lnTo>
                <a:close/>
                <a:moveTo>
                  <a:pt x="1644" y="510"/>
                </a:moveTo>
                <a:lnTo>
                  <a:pt x="1248" y="510"/>
                </a:lnTo>
                <a:lnTo>
                  <a:pt x="1248" y="454"/>
                </a:lnTo>
                <a:lnTo>
                  <a:pt x="1644" y="454"/>
                </a:lnTo>
                <a:lnTo>
                  <a:pt x="1644" y="510"/>
                </a:lnTo>
                <a:close/>
                <a:moveTo>
                  <a:pt x="1644" y="340"/>
                </a:moveTo>
                <a:lnTo>
                  <a:pt x="1248" y="340"/>
                </a:lnTo>
                <a:lnTo>
                  <a:pt x="1248" y="284"/>
                </a:lnTo>
                <a:lnTo>
                  <a:pt x="1644" y="284"/>
                </a:lnTo>
                <a:lnTo>
                  <a:pt x="1644" y="340"/>
                </a:lnTo>
                <a:close/>
                <a:moveTo>
                  <a:pt x="1644" y="170"/>
                </a:moveTo>
                <a:lnTo>
                  <a:pt x="1248" y="170"/>
                </a:lnTo>
                <a:lnTo>
                  <a:pt x="1248" y="114"/>
                </a:lnTo>
                <a:lnTo>
                  <a:pt x="1644" y="114"/>
                </a:lnTo>
                <a:lnTo>
                  <a:pt x="1644" y="170"/>
                </a:lnTo>
                <a:close/>
                <a:moveTo>
                  <a:pt x="0" y="964"/>
                </a:moveTo>
                <a:lnTo>
                  <a:pt x="396" y="964"/>
                </a:lnTo>
                <a:lnTo>
                  <a:pt x="396" y="1078"/>
                </a:lnTo>
                <a:lnTo>
                  <a:pt x="284" y="1078"/>
                </a:lnTo>
                <a:lnTo>
                  <a:pt x="284" y="1134"/>
                </a:lnTo>
                <a:lnTo>
                  <a:pt x="794" y="1134"/>
                </a:lnTo>
                <a:lnTo>
                  <a:pt x="794" y="1078"/>
                </a:lnTo>
                <a:lnTo>
                  <a:pt x="680" y="1078"/>
                </a:lnTo>
                <a:lnTo>
                  <a:pt x="680" y="964"/>
                </a:lnTo>
                <a:lnTo>
                  <a:pt x="1078" y="964"/>
                </a:lnTo>
                <a:lnTo>
                  <a:pt x="1078" y="170"/>
                </a:lnTo>
                <a:lnTo>
                  <a:pt x="0" y="170"/>
                </a:lnTo>
                <a:lnTo>
                  <a:pt x="0" y="964"/>
                </a:lnTo>
                <a:close/>
                <a:moveTo>
                  <a:pt x="964" y="908"/>
                </a:moveTo>
                <a:lnTo>
                  <a:pt x="908" y="908"/>
                </a:lnTo>
                <a:lnTo>
                  <a:pt x="908" y="850"/>
                </a:lnTo>
                <a:lnTo>
                  <a:pt x="964" y="850"/>
                </a:lnTo>
                <a:lnTo>
                  <a:pt x="964" y="908"/>
                </a:lnTo>
                <a:close/>
                <a:moveTo>
                  <a:pt x="114" y="284"/>
                </a:moveTo>
                <a:lnTo>
                  <a:pt x="964" y="284"/>
                </a:lnTo>
                <a:lnTo>
                  <a:pt x="964" y="794"/>
                </a:lnTo>
                <a:lnTo>
                  <a:pt x="114" y="794"/>
                </a:lnTo>
                <a:lnTo>
                  <a:pt x="114" y="2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sp>
        <p:nvSpPr>
          <p:cNvPr id="772" name="Прямоугольник 771"/>
          <p:cNvSpPr/>
          <p:nvPr/>
        </p:nvSpPr>
        <p:spPr>
          <a:xfrm>
            <a:off x="6361113" y="2787774"/>
            <a:ext cx="582699" cy="276999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600" dirty="0">
                <a:solidFill>
                  <a:schemeClr val="accent3"/>
                </a:solidFill>
              </a:rPr>
              <a:t>Локальная АСУТП</a:t>
            </a:r>
          </a:p>
        </p:txBody>
      </p:sp>
      <p:sp>
        <p:nvSpPr>
          <p:cNvPr id="1017" name="Прямоугольник 1016"/>
          <p:cNvSpPr/>
          <p:nvPr/>
        </p:nvSpPr>
        <p:spPr>
          <a:xfrm>
            <a:off x="4319972" y="2391730"/>
            <a:ext cx="2556284" cy="792000"/>
          </a:xfrm>
          <a:prstGeom prst="rect">
            <a:avLst/>
          </a:prstGeom>
          <a:noFill/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05" name="Прямоугольник 1004"/>
          <p:cNvSpPr/>
          <p:nvPr/>
        </p:nvSpPr>
        <p:spPr>
          <a:xfrm>
            <a:off x="5742129" y="4391282"/>
            <a:ext cx="1062119" cy="270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500" dirty="0" smtClean="0">
                <a:solidFill>
                  <a:schemeClr val="bg1">
                    <a:lumMod val="95000"/>
                  </a:schemeClr>
                </a:solidFill>
              </a:rPr>
              <a:t>АСУТП НБ</a:t>
            </a:r>
            <a:endParaRPr lang="ru-RU" sz="5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06" name="Прямоугольник 1005"/>
          <p:cNvSpPr/>
          <p:nvPr/>
        </p:nvSpPr>
        <p:spPr>
          <a:xfrm>
            <a:off x="5015698" y="4416600"/>
            <a:ext cx="561301" cy="20867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525" dirty="0">
                <a:solidFill>
                  <a:schemeClr val="bg1">
                    <a:lumMod val="95000"/>
                  </a:schemeClr>
                </a:solidFill>
              </a:rPr>
              <a:t>АСУП </a:t>
            </a:r>
            <a:r>
              <a:rPr lang="ru-RU" sz="525" dirty="0" smtClean="0">
                <a:solidFill>
                  <a:schemeClr val="bg1">
                    <a:lumMod val="95000"/>
                  </a:schemeClr>
                </a:solidFill>
              </a:rPr>
              <a:t>НБ </a:t>
            </a:r>
            <a:r>
              <a:rPr lang="ru-RU" sz="525" dirty="0">
                <a:solidFill>
                  <a:schemeClr val="bg1">
                    <a:lumMod val="95000"/>
                  </a:schemeClr>
                </a:solidFill>
              </a:rPr>
              <a:t>(</a:t>
            </a:r>
            <a:r>
              <a:rPr lang="en-US" sz="525" dirty="0">
                <a:solidFill>
                  <a:schemeClr val="bg1">
                    <a:lumMod val="95000"/>
                  </a:schemeClr>
                </a:solidFill>
              </a:rPr>
              <a:t>MES</a:t>
            </a:r>
            <a:r>
              <a:rPr lang="ru-RU" sz="525" dirty="0">
                <a:solidFill>
                  <a:schemeClr val="bg1">
                    <a:lumMod val="95000"/>
                  </a:schemeClr>
                </a:solidFill>
              </a:rPr>
              <a:t>)</a:t>
            </a:r>
          </a:p>
        </p:txBody>
      </p:sp>
      <p:sp>
        <p:nvSpPr>
          <p:cNvPr id="1007" name="Picture82"/>
          <p:cNvSpPr>
            <a:spLocks noEditPoints="1"/>
          </p:cNvSpPr>
          <p:nvPr/>
        </p:nvSpPr>
        <p:spPr bwMode="auto">
          <a:xfrm>
            <a:off x="6213422" y="4119922"/>
            <a:ext cx="209543" cy="294742"/>
          </a:xfrm>
          <a:custGeom>
            <a:avLst/>
            <a:gdLst>
              <a:gd name="T0" fmla="*/ 91 w 912"/>
              <a:gd name="T1" fmla="*/ 91 h 915"/>
              <a:gd name="T2" fmla="*/ 821 w 912"/>
              <a:gd name="T3" fmla="*/ 275 h 915"/>
              <a:gd name="T4" fmla="*/ 182 w 912"/>
              <a:gd name="T5" fmla="*/ 214 h 915"/>
              <a:gd name="T6" fmla="*/ 152 w 912"/>
              <a:gd name="T7" fmla="*/ 184 h 915"/>
              <a:gd name="T8" fmla="*/ 182 w 912"/>
              <a:gd name="T9" fmla="*/ 214 h 915"/>
              <a:gd name="T10" fmla="*/ 213 w 912"/>
              <a:gd name="T11" fmla="*/ 214 h 915"/>
              <a:gd name="T12" fmla="*/ 243 w 912"/>
              <a:gd name="T13" fmla="*/ 184 h 915"/>
              <a:gd name="T14" fmla="*/ 760 w 912"/>
              <a:gd name="T15" fmla="*/ 214 h 915"/>
              <a:gd name="T16" fmla="*/ 425 w 912"/>
              <a:gd name="T17" fmla="*/ 153 h 915"/>
              <a:gd name="T18" fmla="*/ 760 w 912"/>
              <a:gd name="T19" fmla="*/ 214 h 915"/>
              <a:gd name="T20" fmla="*/ 0 w 912"/>
              <a:gd name="T21" fmla="*/ 854 h 915"/>
              <a:gd name="T22" fmla="*/ 91 w 912"/>
              <a:gd name="T23" fmla="*/ 854 h 915"/>
              <a:gd name="T24" fmla="*/ 243 w 912"/>
              <a:gd name="T25" fmla="*/ 915 h 915"/>
              <a:gd name="T26" fmla="*/ 669 w 912"/>
              <a:gd name="T27" fmla="*/ 854 h 915"/>
              <a:gd name="T28" fmla="*/ 821 w 912"/>
              <a:gd name="T29" fmla="*/ 915 h 915"/>
              <a:gd name="T30" fmla="*/ 912 w 912"/>
              <a:gd name="T31" fmla="*/ 854 h 915"/>
              <a:gd name="T32" fmla="*/ 912 w 912"/>
              <a:gd name="T33" fmla="*/ 0 h 915"/>
              <a:gd name="T34" fmla="*/ 851 w 912"/>
              <a:gd name="T35" fmla="*/ 792 h 915"/>
              <a:gd name="T36" fmla="*/ 61 w 912"/>
              <a:gd name="T37" fmla="*/ 61 h 915"/>
              <a:gd name="T38" fmla="*/ 851 w 912"/>
              <a:gd name="T39" fmla="*/ 792 h 915"/>
              <a:gd name="T40" fmla="*/ 91 w 912"/>
              <a:gd name="T41" fmla="*/ 335 h 915"/>
              <a:gd name="T42" fmla="*/ 821 w 912"/>
              <a:gd name="T43" fmla="*/ 518 h 915"/>
              <a:gd name="T44" fmla="*/ 182 w 912"/>
              <a:gd name="T45" fmla="*/ 458 h 915"/>
              <a:gd name="T46" fmla="*/ 152 w 912"/>
              <a:gd name="T47" fmla="*/ 427 h 915"/>
              <a:gd name="T48" fmla="*/ 182 w 912"/>
              <a:gd name="T49" fmla="*/ 458 h 915"/>
              <a:gd name="T50" fmla="*/ 213 w 912"/>
              <a:gd name="T51" fmla="*/ 458 h 915"/>
              <a:gd name="T52" fmla="*/ 243 w 912"/>
              <a:gd name="T53" fmla="*/ 427 h 915"/>
              <a:gd name="T54" fmla="*/ 760 w 912"/>
              <a:gd name="T55" fmla="*/ 458 h 915"/>
              <a:gd name="T56" fmla="*/ 425 w 912"/>
              <a:gd name="T57" fmla="*/ 397 h 915"/>
              <a:gd name="T58" fmla="*/ 760 w 912"/>
              <a:gd name="T59" fmla="*/ 458 h 915"/>
              <a:gd name="T60" fmla="*/ 91 w 912"/>
              <a:gd name="T61" fmla="*/ 580 h 915"/>
              <a:gd name="T62" fmla="*/ 821 w 912"/>
              <a:gd name="T63" fmla="*/ 762 h 915"/>
              <a:gd name="T64" fmla="*/ 182 w 912"/>
              <a:gd name="T65" fmla="*/ 701 h 915"/>
              <a:gd name="T66" fmla="*/ 152 w 912"/>
              <a:gd name="T67" fmla="*/ 671 h 915"/>
              <a:gd name="T68" fmla="*/ 182 w 912"/>
              <a:gd name="T69" fmla="*/ 701 h 915"/>
              <a:gd name="T70" fmla="*/ 213 w 912"/>
              <a:gd name="T71" fmla="*/ 701 h 915"/>
              <a:gd name="T72" fmla="*/ 243 w 912"/>
              <a:gd name="T73" fmla="*/ 671 h 915"/>
              <a:gd name="T74" fmla="*/ 760 w 912"/>
              <a:gd name="T75" fmla="*/ 701 h 915"/>
              <a:gd name="T76" fmla="*/ 425 w 912"/>
              <a:gd name="T77" fmla="*/ 641 h 915"/>
              <a:gd name="T78" fmla="*/ 760 w 912"/>
              <a:gd name="T79" fmla="*/ 701 h 9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12" h="915">
                <a:moveTo>
                  <a:pt x="821" y="91"/>
                </a:moveTo>
                <a:lnTo>
                  <a:pt x="91" y="91"/>
                </a:lnTo>
                <a:lnTo>
                  <a:pt x="91" y="275"/>
                </a:lnTo>
                <a:lnTo>
                  <a:pt x="821" y="275"/>
                </a:lnTo>
                <a:lnTo>
                  <a:pt x="821" y="91"/>
                </a:lnTo>
                <a:close/>
                <a:moveTo>
                  <a:pt x="182" y="214"/>
                </a:moveTo>
                <a:lnTo>
                  <a:pt x="152" y="214"/>
                </a:lnTo>
                <a:lnTo>
                  <a:pt x="152" y="184"/>
                </a:lnTo>
                <a:lnTo>
                  <a:pt x="182" y="184"/>
                </a:lnTo>
                <a:lnTo>
                  <a:pt x="182" y="214"/>
                </a:lnTo>
                <a:close/>
                <a:moveTo>
                  <a:pt x="243" y="214"/>
                </a:moveTo>
                <a:lnTo>
                  <a:pt x="213" y="214"/>
                </a:lnTo>
                <a:lnTo>
                  <a:pt x="213" y="184"/>
                </a:lnTo>
                <a:lnTo>
                  <a:pt x="243" y="184"/>
                </a:lnTo>
                <a:lnTo>
                  <a:pt x="243" y="214"/>
                </a:lnTo>
                <a:close/>
                <a:moveTo>
                  <a:pt x="760" y="214"/>
                </a:moveTo>
                <a:lnTo>
                  <a:pt x="425" y="214"/>
                </a:lnTo>
                <a:lnTo>
                  <a:pt x="425" y="153"/>
                </a:lnTo>
                <a:lnTo>
                  <a:pt x="760" y="153"/>
                </a:lnTo>
                <a:lnTo>
                  <a:pt x="760" y="214"/>
                </a:lnTo>
                <a:close/>
                <a:moveTo>
                  <a:pt x="0" y="0"/>
                </a:moveTo>
                <a:lnTo>
                  <a:pt x="0" y="854"/>
                </a:lnTo>
                <a:lnTo>
                  <a:pt x="0" y="854"/>
                </a:lnTo>
                <a:lnTo>
                  <a:pt x="91" y="854"/>
                </a:lnTo>
                <a:lnTo>
                  <a:pt x="91" y="915"/>
                </a:lnTo>
                <a:lnTo>
                  <a:pt x="243" y="915"/>
                </a:lnTo>
                <a:lnTo>
                  <a:pt x="243" y="854"/>
                </a:lnTo>
                <a:lnTo>
                  <a:pt x="669" y="854"/>
                </a:lnTo>
                <a:lnTo>
                  <a:pt x="669" y="915"/>
                </a:lnTo>
                <a:lnTo>
                  <a:pt x="821" y="915"/>
                </a:lnTo>
                <a:lnTo>
                  <a:pt x="821" y="854"/>
                </a:lnTo>
                <a:lnTo>
                  <a:pt x="912" y="854"/>
                </a:lnTo>
                <a:lnTo>
                  <a:pt x="912" y="854"/>
                </a:lnTo>
                <a:lnTo>
                  <a:pt x="912" y="0"/>
                </a:lnTo>
                <a:lnTo>
                  <a:pt x="0" y="0"/>
                </a:lnTo>
                <a:close/>
                <a:moveTo>
                  <a:pt x="851" y="792"/>
                </a:moveTo>
                <a:lnTo>
                  <a:pt x="61" y="792"/>
                </a:lnTo>
                <a:lnTo>
                  <a:pt x="61" y="61"/>
                </a:lnTo>
                <a:lnTo>
                  <a:pt x="851" y="61"/>
                </a:lnTo>
                <a:lnTo>
                  <a:pt x="851" y="792"/>
                </a:lnTo>
                <a:close/>
                <a:moveTo>
                  <a:pt x="821" y="335"/>
                </a:moveTo>
                <a:lnTo>
                  <a:pt x="91" y="335"/>
                </a:lnTo>
                <a:lnTo>
                  <a:pt x="91" y="518"/>
                </a:lnTo>
                <a:lnTo>
                  <a:pt x="821" y="518"/>
                </a:lnTo>
                <a:lnTo>
                  <a:pt x="821" y="335"/>
                </a:lnTo>
                <a:close/>
                <a:moveTo>
                  <a:pt x="182" y="458"/>
                </a:moveTo>
                <a:lnTo>
                  <a:pt x="152" y="458"/>
                </a:lnTo>
                <a:lnTo>
                  <a:pt x="152" y="427"/>
                </a:lnTo>
                <a:lnTo>
                  <a:pt x="182" y="427"/>
                </a:lnTo>
                <a:lnTo>
                  <a:pt x="182" y="458"/>
                </a:lnTo>
                <a:close/>
                <a:moveTo>
                  <a:pt x="243" y="458"/>
                </a:moveTo>
                <a:lnTo>
                  <a:pt x="213" y="458"/>
                </a:lnTo>
                <a:lnTo>
                  <a:pt x="213" y="427"/>
                </a:lnTo>
                <a:lnTo>
                  <a:pt x="243" y="427"/>
                </a:lnTo>
                <a:lnTo>
                  <a:pt x="243" y="458"/>
                </a:lnTo>
                <a:close/>
                <a:moveTo>
                  <a:pt x="760" y="458"/>
                </a:moveTo>
                <a:lnTo>
                  <a:pt x="425" y="458"/>
                </a:lnTo>
                <a:lnTo>
                  <a:pt x="425" y="397"/>
                </a:lnTo>
                <a:lnTo>
                  <a:pt x="760" y="397"/>
                </a:lnTo>
                <a:lnTo>
                  <a:pt x="760" y="458"/>
                </a:lnTo>
                <a:close/>
                <a:moveTo>
                  <a:pt x="821" y="580"/>
                </a:moveTo>
                <a:lnTo>
                  <a:pt x="91" y="580"/>
                </a:lnTo>
                <a:lnTo>
                  <a:pt x="91" y="762"/>
                </a:lnTo>
                <a:lnTo>
                  <a:pt x="821" y="762"/>
                </a:lnTo>
                <a:lnTo>
                  <a:pt x="821" y="580"/>
                </a:lnTo>
                <a:close/>
                <a:moveTo>
                  <a:pt x="182" y="701"/>
                </a:moveTo>
                <a:lnTo>
                  <a:pt x="152" y="701"/>
                </a:lnTo>
                <a:lnTo>
                  <a:pt x="152" y="671"/>
                </a:lnTo>
                <a:lnTo>
                  <a:pt x="182" y="671"/>
                </a:lnTo>
                <a:lnTo>
                  <a:pt x="182" y="701"/>
                </a:lnTo>
                <a:close/>
                <a:moveTo>
                  <a:pt x="243" y="701"/>
                </a:moveTo>
                <a:lnTo>
                  <a:pt x="213" y="701"/>
                </a:lnTo>
                <a:lnTo>
                  <a:pt x="213" y="671"/>
                </a:lnTo>
                <a:lnTo>
                  <a:pt x="243" y="671"/>
                </a:lnTo>
                <a:lnTo>
                  <a:pt x="243" y="701"/>
                </a:lnTo>
                <a:close/>
                <a:moveTo>
                  <a:pt x="760" y="701"/>
                </a:moveTo>
                <a:lnTo>
                  <a:pt x="425" y="701"/>
                </a:lnTo>
                <a:lnTo>
                  <a:pt x="425" y="641"/>
                </a:lnTo>
                <a:lnTo>
                  <a:pt x="760" y="641"/>
                </a:lnTo>
                <a:lnTo>
                  <a:pt x="760" y="70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sp>
        <p:nvSpPr>
          <p:cNvPr id="1008" name="Picture84"/>
          <p:cNvSpPr>
            <a:spLocks noEditPoints="1"/>
          </p:cNvSpPr>
          <p:nvPr/>
        </p:nvSpPr>
        <p:spPr bwMode="auto">
          <a:xfrm>
            <a:off x="5165057" y="4119922"/>
            <a:ext cx="262585" cy="240930"/>
          </a:xfrm>
          <a:custGeom>
            <a:avLst/>
            <a:gdLst>
              <a:gd name="T0" fmla="*/ 761 w 912"/>
              <a:gd name="T1" fmla="*/ 91 h 609"/>
              <a:gd name="T2" fmla="*/ 761 w 912"/>
              <a:gd name="T3" fmla="*/ 61 h 609"/>
              <a:gd name="T4" fmla="*/ 912 w 912"/>
              <a:gd name="T5" fmla="*/ 61 h 609"/>
              <a:gd name="T6" fmla="*/ 912 w 912"/>
              <a:gd name="T7" fmla="*/ 30 h 609"/>
              <a:gd name="T8" fmla="*/ 761 w 912"/>
              <a:gd name="T9" fmla="*/ 30 h 609"/>
              <a:gd name="T10" fmla="*/ 761 w 912"/>
              <a:gd name="T11" fmla="*/ 0 h 609"/>
              <a:gd name="T12" fmla="*/ 670 w 912"/>
              <a:gd name="T13" fmla="*/ 0 h 609"/>
              <a:gd name="T14" fmla="*/ 670 w 912"/>
              <a:gd name="T15" fmla="*/ 30 h 609"/>
              <a:gd name="T16" fmla="*/ 244 w 912"/>
              <a:gd name="T17" fmla="*/ 30 h 609"/>
              <a:gd name="T18" fmla="*/ 244 w 912"/>
              <a:gd name="T19" fmla="*/ 0 h 609"/>
              <a:gd name="T20" fmla="*/ 152 w 912"/>
              <a:gd name="T21" fmla="*/ 0 h 609"/>
              <a:gd name="T22" fmla="*/ 152 w 912"/>
              <a:gd name="T23" fmla="*/ 30 h 609"/>
              <a:gd name="T24" fmla="*/ 0 w 912"/>
              <a:gd name="T25" fmla="*/ 30 h 609"/>
              <a:gd name="T26" fmla="*/ 0 w 912"/>
              <a:gd name="T27" fmla="*/ 61 h 609"/>
              <a:gd name="T28" fmla="*/ 152 w 912"/>
              <a:gd name="T29" fmla="*/ 61 h 609"/>
              <a:gd name="T30" fmla="*/ 152 w 912"/>
              <a:gd name="T31" fmla="*/ 91 h 609"/>
              <a:gd name="T32" fmla="*/ 182 w 912"/>
              <a:gd name="T33" fmla="*/ 91 h 609"/>
              <a:gd name="T34" fmla="*/ 182 w 912"/>
              <a:gd name="T35" fmla="*/ 214 h 609"/>
              <a:gd name="T36" fmla="*/ 0 w 912"/>
              <a:gd name="T37" fmla="*/ 214 h 609"/>
              <a:gd name="T38" fmla="*/ 0 w 912"/>
              <a:gd name="T39" fmla="*/ 518 h 609"/>
              <a:gd name="T40" fmla="*/ 152 w 912"/>
              <a:gd name="T41" fmla="*/ 518 h 609"/>
              <a:gd name="T42" fmla="*/ 152 w 912"/>
              <a:gd name="T43" fmla="*/ 579 h 609"/>
              <a:gd name="T44" fmla="*/ 91 w 912"/>
              <a:gd name="T45" fmla="*/ 579 h 609"/>
              <a:gd name="T46" fmla="*/ 91 w 912"/>
              <a:gd name="T47" fmla="*/ 609 h 609"/>
              <a:gd name="T48" fmla="*/ 304 w 912"/>
              <a:gd name="T49" fmla="*/ 609 h 609"/>
              <a:gd name="T50" fmla="*/ 304 w 912"/>
              <a:gd name="T51" fmla="*/ 579 h 609"/>
              <a:gd name="T52" fmla="*/ 244 w 912"/>
              <a:gd name="T53" fmla="*/ 579 h 609"/>
              <a:gd name="T54" fmla="*/ 244 w 912"/>
              <a:gd name="T55" fmla="*/ 518 h 609"/>
              <a:gd name="T56" fmla="*/ 396 w 912"/>
              <a:gd name="T57" fmla="*/ 518 h 609"/>
              <a:gd name="T58" fmla="*/ 396 w 912"/>
              <a:gd name="T59" fmla="*/ 214 h 609"/>
              <a:gd name="T60" fmla="*/ 212 w 912"/>
              <a:gd name="T61" fmla="*/ 214 h 609"/>
              <a:gd name="T62" fmla="*/ 212 w 912"/>
              <a:gd name="T63" fmla="*/ 91 h 609"/>
              <a:gd name="T64" fmla="*/ 244 w 912"/>
              <a:gd name="T65" fmla="*/ 91 h 609"/>
              <a:gd name="T66" fmla="*/ 244 w 912"/>
              <a:gd name="T67" fmla="*/ 61 h 609"/>
              <a:gd name="T68" fmla="*/ 670 w 912"/>
              <a:gd name="T69" fmla="*/ 61 h 609"/>
              <a:gd name="T70" fmla="*/ 670 w 912"/>
              <a:gd name="T71" fmla="*/ 91 h 609"/>
              <a:gd name="T72" fmla="*/ 700 w 912"/>
              <a:gd name="T73" fmla="*/ 91 h 609"/>
              <a:gd name="T74" fmla="*/ 700 w 912"/>
              <a:gd name="T75" fmla="*/ 214 h 609"/>
              <a:gd name="T76" fmla="*/ 517 w 912"/>
              <a:gd name="T77" fmla="*/ 214 h 609"/>
              <a:gd name="T78" fmla="*/ 517 w 912"/>
              <a:gd name="T79" fmla="*/ 518 h 609"/>
              <a:gd name="T80" fmla="*/ 670 w 912"/>
              <a:gd name="T81" fmla="*/ 518 h 609"/>
              <a:gd name="T82" fmla="*/ 670 w 912"/>
              <a:gd name="T83" fmla="*/ 579 h 609"/>
              <a:gd name="T84" fmla="*/ 608 w 912"/>
              <a:gd name="T85" fmla="*/ 579 h 609"/>
              <a:gd name="T86" fmla="*/ 608 w 912"/>
              <a:gd name="T87" fmla="*/ 609 h 609"/>
              <a:gd name="T88" fmla="*/ 821 w 912"/>
              <a:gd name="T89" fmla="*/ 609 h 609"/>
              <a:gd name="T90" fmla="*/ 821 w 912"/>
              <a:gd name="T91" fmla="*/ 579 h 609"/>
              <a:gd name="T92" fmla="*/ 761 w 912"/>
              <a:gd name="T93" fmla="*/ 579 h 609"/>
              <a:gd name="T94" fmla="*/ 761 w 912"/>
              <a:gd name="T95" fmla="*/ 518 h 609"/>
              <a:gd name="T96" fmla="*/ 912 w 912"/>
              <a:gd name="T97" fmla="*/ 518 h 609"/>
              <a:gd name="T98" fmla="*/ 912 w 912"/>
              <a:gd name="T99" fmla="*/ 214 h 609"/>
              <a:gd name="T100" fmla="*/ 730 w 912"/>
              <a:gd name="T101" fmla="*/ 214 h 609"/>
              <a:gd name="T102" fmla="*/ 730 w 912"/>
              <a:gd name="T103" fmla="*/ 91 h 609"/>
              <a:gd name="T104" fmla="*/ 761 w 912"/>
              <a:gd name="T105" fmla="*/ 91 h 609"/>
              <a:gd name="T106" fmla="*/ 335 w 912"/>
              <a:gd name="T107" fmla="*/ 456 h 609"/>
              <a:gd name="T108" fmla="*/ 61 w 912"/>
              <a:gd name="T109" fmla="*/ 456 h 609"/>
              <a:gd name="T110" fmla="*/ 61 w 912"/>
              <a:gd name="T111" fmla="*/ 274 h 609"/>
              <a:gd name="T112" fmla="*/ 335 w 912"/>
              <a:gd name="T113" fmla="*/ 274 h 609"/>
              <a:gd name="T114" fmla="*/ 335 w 912"/>
              <a:gd name="T115" fmla="*/ 456 h 609"/>
              <a:gd name="T116" fmla="*/ 852 w 912"/>
              <a:gd name="T117" fmla="*/ 456 h 609"/>
              <a:gd name="T118" fmla="*/ 578 w 912"/>
              <a:gd name="T119" fmla="*/ 456 h 609"/>
              <a:gd name="T120" fmla="*/ 578 w 912"/>
              <a:gd name="T121" fmla="*/ 274 h 609"/>
              <a:gd name="T122" fmla="*/ 852 w 912"/>
              <a:gd name="T123" fmla="*/ 274 h 609"/>
              <a:gd name="T124" fmla="*/ 852 w 912"/>
              <a:gd name="T125" fmla="*/ 456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2" h="609">
                <a:moveTo>
                  <a:pt x="761" y="91"/>
                </a:moveTo>
                <a:lnTo>
                  <a:pt x="761" y="61"/>
                </a:lnTo>
                <a:lnTo>
                  <a:pt x="912" y="61"/>
                </a:lnTo>
                <a:lnTo>
                  <a:pt x="912" y="30"/>
                </a:lnTo>
                <a:lnTo>
                  <a:pt x="761" y="30"/>
                </a:lnTo>
                <a:lnTo>
                  <a:pt x="761" y="0"/>
                </a:lnTo>
                <a:lnTo>
                  <a:pt x="670" y="0"/>
                </a:lnTo>
                <a:lnTo>
                  <a:pt x="670" y="30"/>
                </a:lnTo>
                <a:lnTo>
                  <a:pt x="244" y="30"/>
                </a:lnTo>
                <a:lnTo>
                  <a:pt x="244" y="0"/>
                </a:lnTo>
                <a:lnTo>
                  <a:pt x="152" y="0"/>
                </a:lnTo>
                <a:lnTo>
                  <a:pt x="152" y="30"/>
                </a:lnTo>
                <a:lnTo>
                  <a:pt x="0" y="30"/>
                </a:lnTo>
                <a:lnTo>
                  <a:pt x="0" y="61"/>
                </a:lnTo>
                <a:lnTo>
                  <a:pt x="152" y="61"/>
                </a:lnTo>
                <a:lnTo>
                  <a:pt x="152" y="91"/>
                </a:lnTo>
                <a:lnTo>
                  <a:pt x="182" y="91"/>
                </a:lnTo>
                <a:lnTo>
                  <a:pt x="182" y="214"/>
                </a:lnTo>
                <a:lnTo>
                  <a:pt x="0" y="214"/>
                </a:lnTo>
                <a:lnTo>
                  <a:pt x="0" y="518"/>
                </a:lnTo>
                <a:lnTo>
                  <a:pt x="152" y="518"/>
                </a:lnTo>
                <a:lnTo>
                  <a:pt x="152" y="579"/>
                </a:lnTo>
                <a:lnTo>
                  <a:pt x="91" y="579"/>
                </a:lnTo>
                <a:lnTo>
                  <a:pt x="91" y="609"/>
                </a:lnTo>
                <a:lnTo>
                  <a:pt x="304" y="609"/>
                </a:lnTo>
                <a:lnTo>
                  <a:pt x="304" y="579"/>
                </a:lnTo>
                <a:lnTo>
                  <a:pt x="244" y="579"/>
                </a:lnTo>
                <a:lnTo>
                  <a:pt x="244" y="518"/>
                </a:lnTo>
                <a:lnTo>
                  <a:pt x="396" y="518"/>
                </a:lnTo>
                <a:lnTo>
                  <a:pt x="396" y="214"/>
                </a:lnTo>
                <a:lnTo>
                  <a:pt x="212" y="214"/>
                </a:lnTo>
                <a:lnTo>
                  <a:pt x="212" y="91"/>
                </a:lnTo>
                <a:lnTo>
                  <a:pt x="244" y="91"/>
                </a:lnTo>
                <a:lnTo>
                  <a:pt x="244" y="61"/>
                </a:lnTo>
                <a:lnTo>
                  <a:pt x="670" y="61"/>
                </a:lnTo>
                <a:lnTo>
                  <a:pt x="670" y="91"/>
                </a:lnTo>
                <a:lnTo>
                  <a:pt x="700" y="91"/>
                </a:lnTo>
                <a:lnTo>
                  <a:pt x="700" y="214"/>
                </a:lnTo>
                <a:lnTo>
                  <a:pt x="517" y="214"/>
                </a:lnTo>
                <a:lnTo>
                  <a:pt x="517" y="518"/>
                </a:lnTo>
                <a:lnTo>
                  <a:pt x="670" y="518"/>
                </a:lnTo>
                <a:lnTo>
                  <a:pt x="670" y="579"/>
                </a:lnTo>
                <a:lnTo>
                  <a:pt x="608" y="579"/>
                </a:lnTo>
                <a:lnTo>
                  <a:pt x="608" y="609"/>
                </a:lnTo>
                <a:lnTo>
                  <a:pt x="821" y="609"/>
                </a:lnTo>
                <a:lnTo>
                  <a:pt x="821" y="579"/>
                </a:lnTo>
                <a:lnTo>
                  <a:pt x="761" y="579"/>
                </a:lnTo>
                <a:lnTo>
                  <a:pt x="761" y="518"/>
                </a:lnTo>
                <a:lnTo>
                  <a:pt x="912" y="518"/>
                </a:lnTo>
                <a:lnTo>
                  <a:pt x="912" y="214"/>
                </a:lnTo>
                <a:lnTo>
                  <a:pt x="730" y="214"/>
                </a:lnTo>
                <a:lnTo>
                  <a:pt x="730" y="91"/>
                </a:lnTo>
                <a:lnTo>
                  <a:pt x="761" y="91"/>
                </a:lnTo>
                <a:close/>
                <a:moveTo>
                  <a:pt x="335" y="456"/>
                </a:moveTo>
                <a:lnTo>
                  <a:pt x="61" y="456"/>
                </a:lnTo>
                <a:lnTo>
                  <a:pt x="61" y="274"/>
                </a:lnTo>
                <a:lnTo>
                  <a:pt x="335" y="274"/>
                </a:lnTo>
                <a:lnTo>
                  <a:pt x="335" y="456"/>
                </a:lnTo>
                <a:close/>
                <a:moveTo>
                  <a:pt x="852" y="456"/>
                </a:moveTo>
                <a:lnTo>
                  <a:pt x="578" y="456"/>
                </a:lnTo>
                <a:lnTo>
                  <a:pt x="578" y="274"/>
                </a:lnTo>
                <a:lnTo>
                  <a:pt x="852" y="274"/>
                </a:lnTo>
                <a:lnTo>
                  <a:pt x="852" y="45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cxnSp>
        <p:nvCxnSpPr>
          <p:cNvPr id="1009" name="Прямая со стрелкой 1008"/>
          <p:cNvCxnSpPr/>
          <p:nvPr/>
        </p:nvCxnSpPr>
        <p:spPr>
          <a:xfrm flipH="1">
            <a:off x="5487331" y="4263938"/>
            <a:ext cx="659561" cy="0"/>
          </a:xfrm>
          <a:prstGeom prst="straightConnector1">
            <a:avLst/>
          </a:prstGeom>
          <a:ln w="9525">
            <a:solidFill>
              <a:srgbClr val="FF9933"/>
            </a:solidFill>
            <a:prstDash val="lgDashDot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9" name="Прямоугольник 1018"/>
          <p:cNvSpPr/>
          <p:nvPr/>
        </p:nvSpPr>
        <p:spPr>
          <a:xfrm>
            <a:off x="4319972" y="4047915"/>
            <a:ext cx="2556284" cy="648071"/>
          </a:xfrm>
          <a:prstGeom prst="rect">
            <a:avLst/>
          </a:prstGeom>
          <a:noFill/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cxnSp>
        <p:nvCxnSpPr>
          <p:cNvPr id="714" name="Прямая соединительная линия 138"/>
          <p:cNvCxnSpPr/>
          <p:nvPr/>
        </p:nvCxnSpPr>
        <p:spPr>
          <a:xfrm>
            <a:off x="4683142" y="2046320"/>
            <a:ext cx="157566" cy="245914"/>
          </a:xfrm>
          <a:prstGeom prst="bentConnector2">
            <a:avLst/>
          </a:prstGeom>
          <a:ln w="9525">
            <a:solidFill>
              <a:schemeClr val="accent6"/>
            </a:solidFill>
            <a:prstDash val="lgDashDot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7" name="Picture 2" descr="\\gazprom-neft.local\dfs\Газпром нефть\Папки пользователей\Личные папки\Driker.AA\Desktop\Инфографика\С заливкой\Транспорт\ж_д_цистерна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9865" y="1563638"/>
            <a:ext cx="354921" cy="2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8" name="Picture 2" descr="\\gazprom-neft.local\dfs\Газпром нефть\Папки пользователей\Личные папки\Driker.AA\Desktop\Инфографика\С заливкой\Транспорт\ж_д_цистерна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5128" y="1563638"/>
            <a:ext cx="354921" cy="2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9" name="Picture 2" descr="\\gazprom-neft.local\dfs\Газпром нефть\Папки пользователей\Личные папки\Driker.AA\Desktop\Инфографика\С заливкой\Транспорт\ж_д_цистерна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8706" y="1563638"/>
            <a:ext cx="354921" cy="2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80" name="knot_z"/>
          <p:cNvGrpSpPr>
            <a:grpSpLocks noChangeAspect="1"/>
          </p:cNvGrpSpPr>
          <p:nvPr/>
        </p:nvGrpSpPr>
        <p:grpSpPr>
          <a:xfrm rot="5400000">
            <a:off x="5031172" y="1994661"/>
            <a:ext cx="168450" cy="118746"/>
            <a:chOff x="5645151" y="4616451"/>
            <a:chExt cx="854075" cy="681038"/>
          </a:xfrm>
        </p:grpSpPr>
        <p:sp>
          <p:nvSpPr>
            <p:cNvPr id="881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2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3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4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5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6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7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8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9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0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1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2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3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4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5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6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7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8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9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0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1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902" name="knot_z"/>
          <p:cNvGrpSpPr>
            <a:grpSpLocks noChangeAspect="1"/>
          </p:cNvGrpSpPr>
          <p:nvPr/>
        </p:nvGrpSpPr>
        <p:grpSpPr>
          <a:xfrm rot="5400000">
            <a:off x="5477238" y="2005490"/>
            <a:ext cx="168450" cy="118746"/>
            <a:chOff x="5645151" y="4616451"/>
            <a:chExt cx="854075" cy="681038"/>
          </a:xfrm>
        </p:grpSpPr>
        <p:sp>
          <p:nvSpPr>
            <p:cNvPr id="903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4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5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6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7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8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9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0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1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2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3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4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5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6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7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8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9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0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1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2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3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924" name="knot_z"/>
          <p:cNvGrpSpPr>
            <a:grpSpLocks noChangeAspect="1"/>
          </p:cNvGrpSpPr>
          <p:nvPr/>
        </p:nvGrpSpPr>
        <p:grpSpPr>
          <a:xfrm rot="5400000">
            <a:off x="5941510" y="1994504"/>
            <a:ext cx="168450" cy="118746"/>
            <a:chOff x="5645151" y="4616451"/>
            <a:chExt cx="854075" cy="681038"/>
          </a:xfrm>
        </p:grpSpPr>
        <p:sp>
          <p:nvSpPr>
            <p:cNvPr id="925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6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7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8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9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0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1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2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3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4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5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6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7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8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9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0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1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2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3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4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5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946" name="Прямая соединительная линия 138"/>
          <p:cNvCxnSpPr/>
          <p:nvPr/>
        </p:nvCxnSpPr>
        <p:spPr>
          <a:xfrm rot="16200000" flipH="1">
            <a:off x="5587670" y="2102767"/>
            <a:ext cx="234346" cy="173031"/>
          </a:xfrm>
          <a:prstGeom prst="bentConnector3">
            <a:avLst>
              <a:gd name="adj1" fmla="val -1803"/>
            </a:avLst>
          </a:prstGeom>
          <a:ln w="9525">
            <a:solidFill>
              <a:schemeClr val="accent6"/>
            </a:solidFill>
            <a:prstDash val="lgDashDot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7" name="knot_z"/>
          <p:cNvGrpSpPr>
            <a:grpSpLocks noChangeAspect="1"/>
          </p:cNvGrpSpPr>
          <p:nvPr/>
        </p:nvGrpSpPr>
        <p:grpSpPr>
          <a:xfrm>
            <a:off x="4867664" y="2129363"/>
            <a:ext cx="433091" cy="140057"/>
            <a:chOff x="5658028" y="5019676"/>
            <a:chExt cx="836436" cy="273050"/>
          </a:xfrm>
        </p:grpSpPr>
        <p:sp>
          <p:nvSpPr>
            <p:cNvPr id="948" name="Rectangle 231"/>
            <p:cNvSpPr>
              <a:spLocks noChangeArrowheads="1"/>
            </p:cNvSpPr>
            <p:nvPr/>
          </p:nvSpPr>
          <p:spPr bwMode="auto">
            <a:xfrm>
              <a:off x="5686424" y="5089527"/>
              <a:ext cx="771526" cy="126614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ru-RU" sz="300" dirty="0"/>
                <a:t>АИ </a:t>
              </a:r>
              <a:r>
                <a:rPr lang="en-US" sz="300" dirty="0"/>
                <a:t>9</a:t>
              </a:r>
              <a:r>
                <a:rPr lang="ru-RU" sz="300" dirty="0"/>
                <a:t>2</a:t>
              </a:r>
              <a:r>
                <a:rPr lang="ru-RU" sz="300" dirty="0">
                  <a:sym typeface="Wingdings" panose="05000000000000000000" pitchFamily="2" charset="2"/>
                </a:rPr>
                <a:t> в РВС</a:t>
              </a:r>
              <a:endParaRPr lang="ru-RU" sz="300" dirty="0"/>
            </a:p>
          </p:txBody>
        </p:sp>
        <p:sp>
          <p:nvSpPr>
            <p:cNvPr id="949" name="Rectangle 234"/>
            <p:cNvSpPr>
              <a:spLocks noChangeArrowheads="1"/>
            </p:cNvSpPr>
            <p:nvPr/>
          </p:nvSpPr>
          <p:spPr bwMode="auto">
            <a:xfrm>
              <a:off x="5658028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50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951" name="knot_z"/>
          <p:cNvGrpSpPr>
            <a:grpSpLocks noChangeAspect="1"/>
          </p:cNvGrpSpPr>
          <p:nvPr/>
        </p:nvGrpSpPr>
        <p:grpSpPr>
          <a:xfrm>
            <a:off x="5357039" y="2129273"/>
            <a:ext cx="404254" cy="140057"/>
            <a:chOff x="5649913" y="5019676"/>
            <a:chExt cx="836436" cy="273050"/>
          </a:xfrm>
        </p:grpSpPr>
        <p:sp>
          <p:nvSpPr>
            <p:cNvPr id="952" name="Rectangle 231"/>
            <p:cNvSpPr>
              <a:spLocks noChangeArrowheads="1"/>
            </p:cNvSpPr>
            <p:nvPr/>
          </p:nvSpPr>
          <p:spPr bwMode="auto">
            <a:xfrm>
              <a:off x="5678311" y="5089527"/>
              <a:ext cx="771526" cy="126615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ru-RU" sz="300" dirty="0"/>
                <a:t>АИ </a:t>
              </a:r>
              <a:r>
                <a:rPr lang="en-US" sz="300" dirty="0"/>
                <a:t>95</a:t>
              </a:r>
              <a:r>
                <a:rPr lang="ru-RU" sz="300" dirty="0">
                  <a:sym typeface="Wingdings" panose="05000000000000000000" pitchFamily="2" charset="2"/>
                </a:rPr>
                <a:t> в РВС</a:t>
              </a:r>
              <a:endParaRPr lang="ru-RU" sz="300" dirty="0"/>
            </a:p>
          </p:txBody>
        </p:sp>
        <p:sp>
          <p:nvSpPr>
            <p:cNvPr id="953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54" name="Rectangle 235"/>
            <p:cNvSpPr>
              <a:spLocks noChangeArrowheads="1"/>
            </p:cNvSpPr>
            <p:nvPr/>
          </p:nvSpPr>
          <p:spPr bwMode="auto">
            <a:xfrm>
              <a:off x="6449836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955" name="Равнобедренный треугольник 954"/>
          <p:cNvSpPr/>
          <p:nvPr/>
        </p:nvSpPr>
        <p:spPr>
          <a:xfrm flipV="1">
            <a:off x="4994842" y="2023195"/>
            <a:ext cx="29550" cy="56700"/>
          </a:xfrm>
          <a:prstGeom prst="triangle">
            <a:avLst/>
          </a:prstGeom>
          <a:solidFill>
            <a:srgbClr val="FFFF0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56" name="Равнобедренный треугольник 955"/>
          <p:cNvSpPr/>
          <p:nvPr/>
        </p:nvSpPr>
        <p:spPr>
          <a:xfrm flipV="1">
            <a:off x="5452865" y="2023195"/>
            <a:ext cx="29550" cy="56700"/>
          </a:xfrm>
          <a:prstGeom prst="triangle">
            <a:avLst/>
          </a:prstGeom>
          <a:solidFill>
            <a:srgbClr val="00B05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57" name="TextBox 956"/>
          <p:cNvSpPr txBox="1"/>
          <p:nvPr/>
        </p:nvSpPr>
        <p:spPr>
          <a:xfrm>
            <a:off x="5006194" y="1595287"/>
            <a:ext cx="185948" cy="17312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525" dirty="0"/>
              <a:t>АИ 92</a:t>
            </a:r>
          </a:p>
        </p:txBody>
      </p:sp>
      <p:sp>
        <p:nvSpPr>
          <p:cNvPr id="958" name="TextBox 957"/>
          <p:cNvSpPr txBox="1"/>
          <p:nvPr/>
        </p:nvSpPr>
        <p:spPr>
          <a:xfrm>
            <a:off x="5460149" y="1595287"/>
            <a:ext cx="185948" cy="17312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525" dirty="0"/>
              <a:t>АИ 95</a:t>
            </a:r>
          </a:p>
        </p:txBody>
      </p:sp>
      <p:sp>
        <p:nvSpPr>
          <p:cNvPr id="959" name="TextBox 958"/>
          <p:cNvSpPr txBox="1"/>
          <p:nvPr/>
        </p:nvSpPr>
        <p:spPr>
          <a:xfrm>
            <a:off x="5845757" y="1595287"/>
            <a:ext cx="315792" cy="17312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525" dirty="0"/>
              <a:t>АИ 98/100</a:t>
            </a:r>
          </a:p>
        </p:txBody>
      </p:sp>
      <p:pic>
        <p:nvPicPr>
          <p:cNvPr id="960" name="Picture 2" descr="\\gazprom-neft.local\dfs\Газпром нефть\Папки пользователей\Личные папки\Driker.AA\Desktop\Инфографика\С заливкой\Транспорт\ж_д_цистерна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7718" y="1560220"/>
            <a:ext cx="354921" cy="2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61" name="knot_z"/>
          <p:cNvGrpSpPr>
            <a:grpSpLocks noChangeAspect="1"/>
          </p:cNvGrpSpPr>
          <p:nvPr/>
        </p:nvGrpSpPr>
        <p:grpSpPr>
          <a:xfrm rot="5400000">
            <a:off x="4569028" y="1991244"/>
            <a:ext cx="168450" cy="118746"/>
            <a:chOff x="5645154" y="4616453"/>
            <a:chExt cx="854075" cy="681041"/>
          </a:xfrm>
        </p:grpSpPr>
        <p:sp>
          <p:nvSpPr>
            <p:cNvPr id="962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3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4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5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6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7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8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9" name="Rectangle 231"/>
            <p:cNvSpPr>
              <a:spLocks noChangeArrowheads="1"/>
            </p:cNvSpPr>
            <p:nvPr/>
          </p:nvSpPr>
          <p:spPr bwMode="auto">
            <a:xfrm>
              <a:off x="5919784" y="5089566"/>
              <a:ext cx="304800" cy="133351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0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1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2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3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4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5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6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7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8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9" name="Freeform 241"/>
            <p:cNvSpPr>
              <a:spLocks noEditPoints="1"/>
            </p:cNvSpPr>
            <p:nvPr/>
          </p:nvSpPr>
          <p:spPr bwMode="auto">
            <a:xfrm>
              <a:off x="5645154" y="4616453"/>
              <a:ext cx="854075" cy="681041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80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81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82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983" name="knot_z"/>
          <p:cNvGrpSpPr>
            <a:grpSpLocks noChangeAspect="1"/>
          </p:cNvGrpSpPr>
          <p:nvPr/>
        </p:nvGrpSpPr>
        <p:grpSpPr>
          <a:xfrm>
            <a:off x="4388973" y="2129138"/>
            <a:ext cx="421978" cy="140280"/>
            <a:chOff x="5563868" y="5019241"/>
            <a:chExt cx="930596" cy="273485"/>
          </a:xfrm>
        </p:grpSpPr>
        <p:sp>
          <p:nvSpPr>
            <p:cNvPr id="984" name="Rectangle 231"/>
            <p:cNvSpPr>
              <a:spLocks noChangeArrowheads="1"/>
            </p:cNvSpPr>
            <p:nvPr/>
          </p:nvSpPr>
          <p:spPr bwMode="auto">
            <a:xfrm>
              <a:off x="5591229" y="5090909"/>
              <a:ext cx="874618" cy="12661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300" dirty="0">
                  <a:solidFill>
                    <a:schemeClr val="bg1"/>
                  </a:solidFill>
                </a:rPr>
                <a:t>ДТ</a:t>
              </a:r>
              <a:r>
                <a:rPr lang="ru-RU" sz="300" dirty="0">
                  <a:solidFill>
                    <a:schemeClr val="bg1"/>
                  </a:solidFill>
                  <a:sym typeface="Wingdings" panose="05000000000000000000" pitchFamily="2" charset="2"/>
                </a:rPr>
                <a:t> в РВС</a:t>
              </a:r>
              <a:endParaRPr lang="ru-RU" sz="300" dirty="0">
                <a:solidFill>
                  <a:schemeClr val="bg1"/>
                </a:solidFill>
              </a:endParaRPr>
            </a:p>
          </p:txBody>
        </p:sp>
        <p:sp>
          <p:nvSpPr>
            <p:cNvPr id="985" name="Rectangle 234"/>
            <p:cNvSpPr>
              <a:spLocks noChangeArrowheads="1"/>
            </p:cNvSpPr>
            <p:nvPr/>
          </p:nvSpPr>
          <p:spPr bwMode="auto">
            <a:xfrm>
              <a:off x="5563868" y="5019241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86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987" name="Равнобедренный треугольник 986"/>
          <p:cNvSpPr/>
          <p:nvPr/>
        </p:nvSpPr>
        <p:spPr>
          <a:xfrm flipV="1">
            <a:off x="4538843" y="2030107"/>
            <a:ext cx="29550" cy="56700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88" name="TextBox 987"/>
          <p:cNvSpPr txBox="1"/>
          <p:nvPr/>
        </p:nvSpPr>
        <p:spPr>
          <a:xfrm>
            <a:off x="4590181" y="1591869"/>
            <a:ext cx="86562" cy="17312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525" dirty="0"/>
              <a:t>ДТ</a:t>
            </a:r>
          </a:p>
        </p:txBody>
      </p:sp>
      <p:cxnSp>
        <p:nvCxnSpPr>
          <p:cNvPr id="989" name="Прямая соединительная линия 138"/>
          <p:cNvCxnSpPr>
            <a:stCxn id="896" idx="0"/>
          </p:cNvCxnSpPr>
          <p:nvPr/>
        </p:nvCxnSpPr>
        <p:spPr>
          <a:xfrm>
            <a:off x="5169234" y="2054035"/>
            <a:ext cx="157566" cy="245914"/>
          </a:xfrm>
          <a:prstGeom prst="bentConnector2">
            <a:avLst/>
          </a:prstGeom>
          <a:ln w="9525">
            <a:solidFill>
              <a:schemeClr val="accent6"/>
            </a:solidFill>
            <a:prstDash val="lgDashDot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0" name="knot_z"/>
          <p:cNvGrpSpPr>
            <a:grpSpLocks noChangeAspect="1"/>
          </p:cNvGrpSpPr>
          <p:nvPr/>
        </p:nvGrpSpPr>
        <p:grpSpPr>
          <a:xfrm>
            <a:off x="5825430" y="2130900"/>
            <a:ext cx="404254" cy="140057"/>
            <a:chOff x="5649913" y="5019676"/>
            <a:chExt cx="836436" cy="273050"/>
          </a:xfrm>
        </p:grpSpPr>
        <p:sp>
          <p:nvSpPr>
            <p:cNvPr id="991" name="Rectangle 231"/>
            <p:cNvSpPr>
              <a:spLocks noChangeArrowheads="1"/>
            </p:cNvSpPr>
            <p:nvPr/>
          </p:nvSpPr>
          <p:spPr bwMode="auto">
            <a:xfrm>
              <a:off x="5678311" y="5089527"/>
              <a:ext cx="771526" cy="126615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ru-RU" sz="300" dirty="0"/>
                <a:t>АИ </a:t>
              </a:r>
              <a:r>
                <a:rPr lang="en-US" sz="300" dirty="0"/>
                <a:t>9</a:t>
              </a:r>
              <a:r>
                <a:rPr lang="ru-RU" sz="300" dirty="0"/>
                <a:t>8</a:t>
              </a:r>
              <a:r>
                <a:rPr lang="ru-RU" sz="300" dirty="0">
                  <a:sym typeface="Wingdings" panose="05000000000000000000" pitchFamily="2" charset="2"/>
                </a:rPr>
                <a:t> в РВС</a:t>
              </a:r>
              <a:endParaRPr lang="ru-RU" sz="300" dirty="0"/>
            </a:p>
          </p:txBody>
        </p:sp>
        <p:sp>
          <p:nvSpPr>
            <p:cNvPr id="992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93" name="Rectangle 235"/>
            <p:cNvSpPr>
              <a:spLocks noChangeArrowheads="1"/>
            </p:cNvSpPr>
            <p:nvPr/>
          </p:nvSpPr>
          <p:spPr bwMode="auto">
            <a:xfrm>
              <a:off x="6449836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994" name="Равнобедренный треугольник 993"/>
          <p:cNvSpPr/>
          <p:nvPr/>
        </p:nvSpPr>
        <p:spPr>
          <a:xfrm flipV="1">
            <a:off x="5894132" y="2028373"/>
            <a:ext cx="29550" cy="567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95" name="Picture85"/>
          <p:cNvSpPr>
            <a:spLocks noChangeAspect="1" noEditPoints="1"/>
          </p:cNvSpPr>
          <p:nvPr/>
        </p:nvSpPr>
        <p:spPr bwMode="auto">
          <a:xfrm>
            <a:off x="6571681" y="1862703"/>
            <a:ext cx="211744" cy="141245"/>
          </a:xfrm>
          <a:custGeom>
            <a:avLst/>
            <a:gdLst>
              <a:gd name="T0" fmla="*/ 1190 w 1700"/>
              <a:gd name="T1" fmla="*/ 0 h 1134"/>
              <a:gd name="T2" fmla="*/ 1190 w 1700"/>
              <a:gd name="T3" fmla="*/ 1134 h 1134"/>
              <a:gd name="T4" fmla="*/ 1700 w 1700"/>
              <a:gd name="T5" fmla="*/ 1134 h 1134"/>
              <a:gd name="T6" fmla="*/ 1700 w 1700"/>
              <a:gd name="T7" fmla="*/ 0 h 1134"/>
              <a:gd name="T8" fmla="*/ 1190 w 1700"/>
              <a:gd name="T9" fmla="*/ 0 h 1134"/>
              <a:gd name="T10" fmla="*/ 1644 w 1700"/>
              <a:gd name="T11" fmla="*/ 738 h 1134"/>
              <a:gd name="T12" fmla="*/ 1588 w 1700"/>
              <a:gd name="T13" fmla="*/ 738 h 1134"/>
              <a:gd name="T14" fmla="*/ 1588 w 1700"/>
              <a:gd name="T15" fmla="*/ 680 h 1134"/>
              <a:gd name="T16" fmla="*/ 1644 w 1700"/>
              <a:gd name="T17" fmla="*/ 680 h 1134"/>
              <a:gd name="T18" fmla="*/ 1644 w 1700"/>
              <a:gd name="T19" fmla="*/ 738 h 1134"/>
              <a:gd name="T20" fmla="*/ 1644 w 1700"/>
              <a:gd name="T21" fmla="*/ 510 h 1134"/>
              <a:gd name="T22" fmla="*/ 1248 w 1700"/>
              <a:gd name="T23" fmla="*/ 510 h 1134"/>
              <a:gd name="T24" fmla="*/ 1248 w 1700"/>
              <a:gd name="T25" fmla="*/ 454 h 1134"/>
              <a:gd name="T26" fmla="*/ 1644 w 1700"/>
              <a:gd name="T27" fmla="*/ 454 h 1134"/>
              <a:gd name="T28" fmla="*/ 1644 w 1700"/>
              <a:gd name="T29" fmla="*/ 510 h 1134"/>
              <a:gd name="T30" fmla="*/ 1644 w 1700"/>
              <a:gd name="T31" fmla="*/ 340 h 1134"/>
              <a:gd name="T32" fmla="*/ 1248 w 1700"/>
              <a:gd name="T33" fmla="*/ 340 h 1134"/>
              <a:gd name="T34" fmla="*/ 1248 w 1700"/>
              <a:gd name="T35" fmla="*/ 284 h 1134"/>
              <a:gd name="T36" fmla="*/ 1644 w 1700"/>
              <a:gd name="T37" fmla="*/ 284 h 1134"/>
              <a:gd name="T38" fmla="*/ 1644 w 1700"/>
              <a:gd name="T39" fmla="*/ 340 h 1134"/>
              <a:gd name="T40" fmla="*/ 1644 w 1700"/>
              <a:gd name="T41" fmla="*/ 170 h 1134"/>
              <a:gd name="T42" fmla="*/ 1248 w 1700"/>
              <a:gd name="T43" fmla="*/ 170 h 1134"/>
              <a:gd name="T44" fmla="*/ 1248 w 1700"/>
              <a:gd name="T45" fmla="*/ 114 h 1134"/>
              <a:gd name="T46" fmla="*/ 1644 w 1700"/>
              <a:gd name="T47" fmla="*/ 114 h 1134"/>
              <a:gd name="T48" fmla="*/ 1644 w 1700"/>
              <a:gd name="T49" fmla="*/ 170 h 1134"/>
              <a:gd name="T50" fmla="*/ 0 w 1700"/>
              <a:gd name="T51" fmla="*/ 964 h 1134"/>
              <a:gd name="T52" fmla="*/ 396 w 1700"/>
              <a:gd name="T53" fmla="*/ 964 h 1134"/>
              <a:gd name="T54" fmla="*/ 396 w 1700"/>
              <a:gd name="T55" fmla="*/ 1078 h 1134"/>
              <a:gd name="T56" fmla="*/ 284 w 1700"/>
              <a:gd name="T57" fmla="*/ 1078 h 1134"/>
              <a:gd name="T58" fmla="*/ 284 w 1700"/>
              <a:gd name="T59" fmla="*/ 1134 h 1134"/>
              <a:gd name="T60" fmla="*/ 794 w 1700"/>
              <a:gd name="T61" fmla="*/ 1134 h 1134"/>
              <a:gd name="T62" fmla="*/ 794 w 1700"/>
              <a:gd name="T63" fmla="*/ 1078 h 1134"/>
              <a:gd name="T64" fmla="*/ 680 w 1700"/>
              <a:gd name="T65" fmla="*/ 1078 h 1134"/>
              <a:gd name="T66" fmla="*/ 680 w 1700"/>
              <a:gd name="T67" fmla="*/ 964 h 1134"/>
              <a:gd name="T68" fmla="*/ 1078 w 1700"/>
              <a:gd name="T69" fmla="*/ 964 h 1134"/>
              <a:gd name="T70" fmla="*/ 1078 w 1700"/>
              <a:gd name="T71" fmla="*/ 170 h 1134"/>
              <a:gd name="T72" fmla="*/ 0 w 1700"/>
              <a:gd name="T73" fmla="*/ 170 h 1134"/>
              <a:gd name="T74" fmla="*/ 0 w 1700"/>
              <a:gd name="T75" fmla="*/ 964 h 1134"/>
              <a:gd name="T76" fmla="*/ 964 w 1700"/>
              <a:gd name="T77" fmla="*/ 908 h 1134"/>
              <a:gd name="T78" fmla="*/ 908 w 1700"/>
              <a:gd name="T79" fmla="*/ 908 h 1134"/>
              <a:gd name="T80" fmla="*/ 908 w 1700"/>
              <a:gd name="T81" fmla="*/ 850 h 1134"/>
              <a:gd name="T82" fmla="*/ 964 w 1700"/>
              <a:gd name="T83" fmla="*/ 850 h 1134"/>
              <a:gd name="T84" fmla="*/ 964 w 1700"/>
              <a:gd name="T85" fmla="*/ 908 h 1134"/>
              <a:gd name="T86" fmla="*/ 114 w 1700"/>
              <a:gd name="T87" fmla="*/ 284 h 1134"/>
              <a:gd name="T88" fmla="*/ 964 w 1700"/>
              <a:gd name="T89" fmla="*/ 284 h 1134"/>
              <a:gd name="T90" fmla="*/ 964 w 1700"/>
              <a:gd name="T91" fmla="*/ 794 h 1134"/>
              <a:gd name="T92" fmla="*/ 114 w 1700"/>
              <a:gd name="T93" fmla="*/ 794 h 1134"/>
              <a:gd name="T94" fmla="*/ 114 w 1700"/>
              <a:gd name="T95" fmla="*/ 284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00" h="1134">
                <a:moveTo>
                  <a:pt x="1190" y="0"/>
                </a:moveTo>
                <a:lnTo>
                  <a:pt x="1190" y="1134"/>
                </a:lnTo>
                <a:lnTo>
                  <a:pt x="1700" y="1134"/>
                </a:lnTo>
                <a:lnTo>
                  <a:pt x="1700" y="0"/>
                </a:lnTo>
                <a:lnTo>
                  <a:pt x="1190" y="0"/>
                </a:lnTo>
                <a:close/>
                <a:moveTo>
                  <a:pt x="1644" y="738"/>
                </a:moveTo>
                <a:lnTo>
                  <a:pt x="1588" y="738"/>
                </a:lnTo>
                <a:lnTo>
                  <a:pt x="1588" y="680"/>
                </a:lnTo>
                <a:lnTo>
                  <a:pt x="1644" y="680"/>
                </a:lnTo>
                <a:lnTo>
                  <a:pt x="1644" y="738"/>
                </a:lnTo>
                <a:close/>
                <a:moveTo>
                  <a:pt x="1644" y="510"/>
                </a:moveTo>
                <a:lnTo>
                  <a:pt x="1248" y="510"/>
                </a:lnTo>
                <a:lnTo>
                  <a:pt x="1248" y="454"/>
                </a:lnTo>
                <a:lnTo>
                  <a:pt x="1644" y="454"/>
                </a:lnTo>
                <a:lnTo>
                  <a:pt x="1644" y="510"/>
                </a:lnTo>
                <a:close/>
                <a:moveTo>
                  <a:pt x="1644" y="340"/>
                </a:moveTo>
                <a:lnTo>
                  <a:pt x="1248" y="340"/>
                </a:lnTo>
                <a:lnTo>
                  <a:pt x="1248" y="284"/>
                </a:lnTo>
                <a:lnTo>
                  <a:pt x="1644" y="284"/>
                </a:lnTo>
                <a:lnTo>
                  <a:pt x="1644" y="340"/>
                </a:lnTo>
                <a:close/>
                <a:moveTo>
                  <a:pt x="1644" y="170"/>
                </a:moveTo>
                <a:lnTo>
                  <a:pt x="1248" y="170"/>
                </a:lnTo>
                <a:lnTo>
                  <a:pt x="1248" y="114"/>
                </a:lnTo>
                <a:lnTo>
                  <a:pt x="1644" y="114"/>
                </a:lnTo>
                <a:lnTo>
                  <a:pt x="1644" y="170"/>
                </a:lnTo>
                <a:close/>
                <a:moveTo>
                  <a:pt x="0" y="964"/>
                </a:moveTo>
                <a:lnTo>
                  <a:pt x="396" y="964"/>
                </a:lnTo>
                <a:lnTo>
                  <a:pt x="396" y="1078"/>
                </a:lnTo>
                <a:lnTo>
                  <a:pt x="284" y="1078"/>
                </a:lnTo>
                <a:lnTo>
                  <a:pt x="284" y="1134"/>
                </a:lnTo>
                <a:lnTo>
                  <a:pt x="794" y="1134"/>
                </a:lnTo>
                <a:lnTo>
                  <a:pt x="794" y="1078"/>
                </a:lnTo>
                <a:lnTo>
                  <a:pt x="680" y="1078"/>
                </a:lnTo>
                <a:lnTo>
                  <a:pt x="680" y="964"/>
                </a:lnTo>
                <a:lnTo>
                  <a:pt x="1078" y="964"/>
                </a:lnTo>
                <a:lnTo>
                  <a:pt x="1078" y="170"/>
                </a:lnTo>
                <a:lnTo>
                  <a:pt x="0" y="170"/>
                </a:lnTo>
                <a:lnTo>
                  <a:pt x="0" y="964"/>
                </a:lnTo>
                <a:close/>
                <a:moveTo>
                  <a:pt x="964" y="908"/>
                </a:moveTo>
                <a:lnTo>
                  <a:pt x="908" y="908"/>
                </a:lnTo>
                <a:lnTo>
                  <a:pt x="908" y="850"/>
                </a:lnTo>
                <a:lnTo>
                  <a:pt x="964" y="850"/>
                </a:lnTo>
                <a:lnTo>
                  <a:pt x="964" y="908"/>
                </a:lnTo>
                <a:close/>
                <a:moveTo>
                  <a:pt x="114" y="284"/>
                </a:moveTo>
                <a:lnTo>
                  <a:pt x="964" y="284"/>
                </a:lnTo>
                <a:lnTo>
                  <a:pt x="964" y="794"/>
                </a:lnTo>
                <a:lnTo>
                  <a:pt x="114" y="794"/>
                </a:lnTo>
                <a:lnTo>
                  <a:pt x="114" y="2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sp>
        <p:nvSpPr>
          <p:cNvPr id="996" name="Прямоугольник 995"/>
          <p:cNvSpPr/>
          <p:nvPr/>
        </p:nvSpPr>
        <p:spPr>
          <a:xfrm>
            <a:off x="6361113" y="2006719"/>
            <a:ext cx="659159" cy="276999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600" dirty="0">
                <a:solidFill>
                  <a:schemeClr val="accent3"/>
                </a:solidFill>
              </a:rPr>
              <a:t>Локальная </a:t>
            </a:r>
            <a:r>
              <a:rPr lang="ru-RU" sz="600" dirty="0" smtClean="0">
                <a:solidFill>
                  <a:schemeClr val="accent3"/>
                </a:solidFill>
              </a:rPr>
              <a:t>АСУТП</a:t>
            </a:r>
            <a:endParaRPr lang="ru-RU" sz="600" dirty="0">
              <a:solidFill>
                <a:schemeClr val="accent3"/>
              </a:solidFill>
            </a:endParaRPr>
          </a:p>
        </p:txBody>
      </p:sp>
      <p:cxnSp>
        <p:nvCxnSpPr>
          <p:cNvPr id="997" name="Прямая соединительная линия 996"/>
          <p:cNvCxnSpPr/>
          <p:nvPr/>
        </p:nvCxnSpPr>
        <p:spPr>
          <a:xfrm>
            <a:off x="4434760" y="1800362"/>
            <a:ext cx="17999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8" name="arrow2_3_line"/>
          <p:cNvSpPr>
            <a:spLocks noChangeShapeType="1"/>
          </p:cNvSpPr>
          <p:nvPr/>
        </p:nvSpPr>
        <p:spPr bwMode="auto">
          <a:xfrm rot="5400000">
            <a:off x="4525774" y="1862742"/>
            <a:ext cx="18900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anchor="ctr"/>
          <a:lstStyle/>
          <a:p>
            <a:endParaRPr lang="ru-RU" sz="1350" dirty="0">
              <a:latin typeface="Arial" pitchFamily="34" charset="0"/>
            </a:endParaRPr>
          </a:p>
        </p:txBody>
      </p:sp>
      <p:sp>
        <p:nvSpPr>
          <p:cNvPr id="999" name="arrow2_3_line"/>
          <p:cNvSpPr>
            <a:spLocks noChangeShapeType="1"/>
          </p:cNvSpPr>
          <p:nvPr/>
        </p:nvSpPr>
        <p:spPr bwMode="auto">
          <a:xfrm rot="5400000">
            <a:off x="4986159" y="1863024"/>
            <a:ext cx="18900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anchor="ctr"/>
          <a:lstStyle/>
          <a:p>
            <a:endParaRPr lang="ru-RU" sz="1350" dirty="0">
              <a:latin typeface="Arial" pitchFamily="34" charset="0"/>
            </a:endParaRPr>
          </a:p>
        </p:txBody>
      </p:sp>
      <p:sp>
        <p:nvSpPr>
          <p:cNvPr id="1000" name="arrow2_3_line"/>
          <p:cNvSpPr>
            <a:spLocks noChangeShapeType="1"/>
          </p:cNvSpPr>
          <p:nvPr/>
        </p:nvSpPr>
        <p:spPr bwMode="auto">
          <a:xfrm rot="5400000">
            <a:off x="5430722" y="1872944"/>
            <a:ext cx="18900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anchor="ctr"/>
          <a:lstStyle/>
          <a:p>
            <a:endParaRPr lang="ru-RU" sz="1350" dirty="0">
              <a:latin typeface="Arial" pitchFamily="34" charset="0"/>
            </a:endParaRPr>
          </a:p>
        </p:txBody>
      </p:sp>
      <p:sp>
        <p:nvSpPr>
          <p:cNvPr id="1001" name="arrow2_3_line"/>
          <p:cNvSpPr>
            <a:spLocks noChangeShapeType="1"/>
          </p:cNvSpPr>
          <p:nvPr/>
        </p:nvSpPr>
        <p:spPr bwMode="auto">
          <a:xfrm rot="5400000">
            <a:off x="5896639" y="1866160"/>
            <a:ext cx="18900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anchor="ctr"/>
          <a:lstStyle/>
          <a:p>
            <a:endParaRPr lang="ru-RU" sz="1350" dirty="0">
              <a:latin typeface="Arial" pitchFamily="34" charset="0"/>
            </a:endParaRPr>
          </a:p>
        </p:txBody>
      </p:sp>
      <p:sp>
        <p:nvSpPr>
          <p:cNvPr id="1016" name="Прямоугольник 1015"/>
          <p:cNvSpPr/>
          <p:nvPr/>
        </p:nvSpPr>
        <p:spPr>
          <a:xfrm>
            <a:off x="4319972" y="1455626"/>
            <a:ext cx="2559676" cy="900100"/>
          </a:xfrm>
          <a:prstGeom prst="rect">
            <a:avLst/>
          </a:prstGeom>
          <a:noFill/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cxnSp>
        <p:nvCxnSpPr>
          <p:cNvPr id="1020" name="Прямая соединительная линия 138"/>
          <p:cNvCxnSpPr/>
          <p:nvPr/>
        </p:nvCxnSpPr>
        <p:spPr>
          <a:xfrm rot="16200000" flipH="1">
            <a:off x="6057429" y="2088074"/>
            <a:ext cx="234346" cy="173031"/>
          </a:xfrm>
          <a:prstGeom prst="bentConnector3">
            <a:avLst>
              <a:gd name="adj1" fmla="val -1803"/>
            </a:avLst>
          </a:prstGeom>
          <a:ln w="9525">
            <a:solidFill>
              <a:schemeClr val="accent6"/>
            </a:solidFill>
            <a:prstDash val="lgDashDot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3" name="knot_z"/>
          <p:cNvGrpSpPr>
            <a:grpSpLocks noChangeAspect="1"/>
          </p:cNvGrpSpPr>
          <p:nvPr/>
        </p:nvGrpSpPr>
        <p:grpSpPr>
          <a:xfrm>
            <a:off x="4493292" y="3731970"/>
            <a:ext cx="146293" cy="125129"/>
            <a:chOff x="5645151" y="4616451"/>
            <a:chExt cx="854075" cy="681038"/>
          </a:xfrm>
        </p:grpSpPr>
        <p:sp>
          <p:nvSpPr>
            <p:cNvPr id="774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5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6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7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8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9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0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1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2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3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4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5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6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7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8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9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0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1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2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3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4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795" name="Блок-схема: ручное управление 794"/>
          <p:cNvSpPr/>
          <p:nvPr/>
        </p:nvSpPr>
        <p:spPr>
          <a:xfrm>
            <a:off x="4918500" y="3545727"/>
            <a:ext cx="46202" cy="33926"/>
          </a:xfrm>
          <a:prstGeom prst="flowChartManualOperation">
            <a:avLst/>
          </a:prstGeom>
          <a:solidFill>
            <a:srgbClr val="1595D3"/>
          </a:solidFill>
          <a:ln w="444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796" name="Прямая соединительная линия 795"/>
          <p:cNvCxnSpPr/>
          <p:nvPr/>
        </p:nvCxnSpPr>
        <p:spPr>
          <a:xfrm>
            <a:off x="4941298" y="3577754"/>
            <a:ext cx="0" cy="190351"/>
          </a:xfrm>
          <a:prstGeom prst="line">
            <a:avLst/>
          </a:prstGeom>
          <a:ln w="38100" cmpd="tri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7" name="Прямоугольник 796"/>
          <p:cNvSpPr/>
          <p:nvPr/>
        </p:nvSpPr>
        <p:spPr>
          <a:xfrm>
            <a:off x="4639584" y="3819105"/>
            <a:ext cx="120746" cy="23264"/>
          </a:xfrm>
          <a:prstGeom prst="rect">
            <a:avLst/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798" name="Прямоугольник 797"/>
          <p:cNvSpPr/>
          <p:nvPr/>
        </p:nvSpPr>
        <p:spPr>
          <a:xfrm rot="16200000">
            <a:off x="4605752" y="3596779"/>
            <a:ext cx="372631" cy="22236"/>
          </a:xfrm>
          <a:prstGeom prst="rect">
            <a:avLst/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799" name="Арка 798"/>
          <p:cNvSpPr/>
          <p:nvPr/>
        </p:nvSpPr>
        <p:spPr>
          <a:xfrm rot="5400000">
            <a:off x="4709387" y="3748957"/>
            <a:ext cx="97085" cy="90510"/>
          </a:xfrm>
          <a:prstGeom prst="blockArc">
            <a:avLst>
              <a:gd name="adj1" fmla="val 16168735"/>
              <a:gd name="adj2" fmla="val 0"/>
              <a:gd name="adj3" fmla="val 25000"/>
            </a:avLst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0" name="Арка 799"/>
          <p:cNvSpPr/>
          <p:nvPr/>
        </p:nvSpPr>
        <p:spPr>
          <a:xfrm rot="16200000">
            <a:off x="4777662" y="3378346"/>
            <a:ext cx="97085" cy="90510"/>
          </a:xfrm>
          <a:prstGeom prst="blockArc">
            <a:avLst>
              <a:gd name="adj1" fmla="val 16168735"/>
              <a:gd name="adj2" fmla="val 2814629"/>
              <a:gd name="adj3" fmla="val 24365"/>
            </a:avLst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1" name="Прямоугольник 800"/>
          <p:cNvSpPr/>
          <p:nvPr/>
        </p:nvSpPr>
        <p:spPr>
          <a:xfrm rot="13740000">
            <a:off x="4825928" y="3435722"/>
            <a:ext cx="133540" cy="21688"/>
          </a:xfrm>
          <a:prstGeom prst="rect">
            <a:avLst/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2" name="Арка 801"/>
          <p:cNvSpPr/>
          <p:nvPr/>
        </p:nvSpPr>
        <p:spPr>
          <a:xfrm rot="2923074">
            <a:off x="4858384" y="3475906"/>
            <a:ext cx="97085" cy="90510"/>
          </a:xfrm>
          <a:prstGeom prst="blockArc">
            <a:avLst>
              <a:gd name="adj1" fmla="val 16168735"/>
              <a:gd name="adj2" fmla="val 18847471"/>
              <a:gd name="adj3" fmla="val 23490"/>
            </a:avLst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3" name="Прямоугольник 802"/>
          <p:cNvSpPr/>
          <p:nvPr/>
        </p:nvSpPr>
        <p:spPr>
          <a:xfrm rot="16200000">
            <a:off x="4929930" y="3522934"/>
            <a:ext cx="23264" cy="21688"/>
          </a:xfrm>
          <a:prstGeom prst="rect">
            <a:avLst/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4" name="Прямоугольник 803"/>
          <p:cNvSpPr/>
          <p:nvPr/>
        </p:nvSpPr>
        <p:spPr>
          <a:xfrm>
            <a:off x="4461876" y="3819105"/>
            <a:ext cx="31586" cy="23264"/>
          </a:xfrm>
          <a:prstGeom prst="rect">
            <a:avLst/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5" name="Равнобедренный треугольник 804"/>
          <p:cNvSpPr/>
          <p:nvPr/>
        </p:nvSpPr>
        <p:spPr>
          <a:xfrm rot="16200000" flipV="1">
            <a:off x="4679566" y="3726951"/>
            <a:ext cx="31138" cy="49241"/>
          </a:xfrm>
          <a:prstGeom prst="triangle">
            <a:avLst/>
          </a:prstGeom>
          <a:solidFill>
            <a:srgbClr val="FFFF0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pic>
        <p:nvPicPr>
          <p:cNvPr id="806" name="Picture 11" descr="C:\Users\Driker.AA\Desktop\Инфографика\С заливкой\Транспорт\бензовоз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5361" y="3610909"/>
            <a:ext cx="258603" cy="281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7" name="Прямая соединительная линия 806"/>
          <p:cNvCxnSpPr/>
          <p:nvPr/>
        </p:nvCxnSpPr>
        <p:spPr>
          <a:xfrm>
            <a:off x="4452839" y="3890960"/>
            <a:ext cx="20804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8" name="Группа 807"/>
          <p:cNvGrpSpPr/>
          <p:nvPr/>
        </p:nvGrpSpPr>
        <p:grpSpPr>
          <a:xfrm flipH="1">
            <a:off x="5816188" y="3516247"/>
            <a:ext cx="680466" cy="376016"/>
            <a:chOff x="6338861" y="4426809"/>
            <a:chExt cx="1434460" cy="738976"/>
          </a:xfrm>
        </p:grpSpPr>
        <p:grpSp>
          <p:nvGrpSpPr>
            <p:cNvPr id="809" name="knot_z"/>
            <p:cNvGrpSpPr>
              <a:grpSpLocks noChangeAspect="1"/>
            </p:cNvGrpSpPr>
            <p:nvPr/>
          </p:nvGrpSpPr>
          <p:grpSpPr>
            <a:xfrm flipH="1">
              <a:off x="7398701" y="4850764"/>
              <a:ext cx="308393" cy="245913"/>
              <a:chOff x="5645151" y="4616451"/>
              <a:chExt cx="854075" cy="681038"/>
            </a:xfrm>
          </p:grpSpPr>
          <p:sp>
            <p:nvSpPr>
              <p:cNvPr id="820" name="Freeform 224"/>
              <p:cNvSpPr>
                <a:spLocks/>
              </p:cNvSpPr>
              <p:nvPr/>
            </p:nvSpPr>
            <p:spPr bwMode="auto">
              <a:xfrm>
                <a:off x="6373813" y="5005388"/>
                <a:ext cx="25400" cy="84138"/>
              </a:xfrm>
              <a:custGeom>
                <a:avLst/>
                <a:gdLst>
                  <a:gd name="T0" fmla="*/ 62 w 62"/>
                  <a:gd name="T1" fmla="*/ 213 h 213"/>
                  <a:gd name="T2" fmla="*/ 0 w 62"/>
                  <a:gd name="T3" fmla="*/ 213 h 213"/>
                  <a:gd name="T4" fmla="*/ 0 w 62"/>
                  <a:gd name="T5" fmla="*/ 0 h 213"/>
                  <a:gd name="T6" fmla="*/ 9 w 62"/>
                  <a:gd name="T7" fmla="*/ 3 h 213"/>
                  <a:gd name="T8" fmla="*/ 17 w 62"/>
                  <a:gd name="T9" fmla="*/ 6 h 213"/>
                  <a:gd name="T10" fmla="*/ 26 w 62"/>
                  <a:gd name="T11" fmla="*/ 6 h 213"/>
                  <a:gd name="T12" fmla="*/ 34 w 62"/>
                  <a:gd name="T13" fmla="*/ 7 h 213"/>
                  <a:gd name="T14" fmla="*/ 41 w 62"/>
                  <a:gd name="T15" fmla="*/ 6 h 213"/>
                  <a:gd name="T16" fmla="*/ 48 w 62"/>
                  <a:gd name="T17" fmla="*/ 4 h 213"/>
                  <a:gd name="T18" fmla="*/ 55 w 62"/>
                  <a:gd name="T19" fmla="*/ 3 h 213"/>
                  <a:gd name="T20" fmla="*/ 62 w 62"/>
                  <a:gd name="T21" fmla="*/ 0 h 213"/>
                  <a:gd name="T22" fmla="*/ 62 w 62"/>
                  <a:gd name="T23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213">
                    <a:moveTo>
                      <a:pt x="62" y="213"/>
                    </a:moveTo>
                    <a:lnTo>
                      <a:pt x="0" y="213"/>
                    </a:lnTo>
                    <a:lnTo>
                      <a:pt x="0" y="0"/>
                    </a:lnTo>
                    <a:lnTo>
                      <a:pt x="9" y="3"/>
                    </a:lnTo>
                    <a:lnTo>
                      <a:pt x="17" y="6"/>
                    </a:lnTo>
                    <a:lnTo>
                      <a:pt x="26" y="6"/>
                    </a:lnTo>
                    <a:lnTo>
                      <a:pt x="34" y="7"/>
                    </a:lnTo>
                    <a:lnTo>
                      <a:pt x="41" y="6"/>
                    </a:lnTo>
                    <a:lnTo>
                      <a:pt x="48" y="4"/>
                    </a:lnTo>
                    <a:lnTo>
                      <a:pt x="55" y="3"/>
                    </a:lnTo>
                    <a:lnTo>
                      <a:pt x="62" y="0"/>
                    </a:lnTo>
                    <a:lnTo>
                      <a:pt x="62" y="213"/>
                    </a:lnTo>
                    <a:close/>
                  </a:path>
                </a:pathLst>
              </a:cu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1" name="Freeform 225"/>
              <p:cNvSpPr>
                <a:spLocks/>
              </p:cNvSpPr>
              <p:nvPr/>
            </p:nvSpPr>
            <p:spPr bwMode="auto">
              <a:xfrm>
                <a:off x="6337301" y="4884738"/>
                <a:ext cx="100013" cy="101600"/>
              </a:xfrm>
              <a:custGeom>
                <a:avLst/>
                <a:gdLst>
                  <a:gd name="T0" fmla="*/ 114 w 253"/>
                  <a:gd name="T1" fmla="*/ 255 h 255"/>
                  <a:gd name="T2" fmla="*/ 89 w 253"/>
                  <a:gd name="T3" fmla="*/ 249 h 255"/>
                  <a:gd name="T4" fmla="*/ 65 w 253"/>
                  <a:gd name="T5" fmla="*/ 239 h 255"/>
                  <a:gd name="T6" fmla="*/ 45 w 253"/>
                  <a:gd name="T7" fmla="*/ 225 h 255"/>
                  <a:gd name="T8" fmla="*/ 28 w 253"/>
                  <a:gd name="T9" fmla="*/ 209 h 255"/>
                  <a:gd name="T10" fmla="*/ 15 w 253"/>
                  <a:gd name="T11" fmla="*/ 188 h 255"/>
                  <a:gd name="T12" fmla="*/ 4 w 253"/>
                  <a:gd name="T13" fmla="*/ 165 h 255"/>
                  <a:gd name="T14" fmla="*/ 0 w 253"/>
                  <a:gd name="T15" fmla="*/ 141 h 255"/>
                  <a:gd name="T16" fmla="*/ 0 w 253"/>
                  <a:gd name="T17" fmla="*/ 115 h 255"/>
                  <a:gd name="T18" fmla="*/ 4 w 253"/>
                  <a:gd name="T19" fmla="*/ 89 h 255"/>
                  <a:gd name="T20" fmla="*/ 15 w 253"/>
                  <a:gd name="T21" fmla="*/ 67 h 255"/>
                  <a:gd name="T22" fmla="*/ 28 w 253"/>
                  <a:gd name="T23" fmla="*/ 47 h 255"/>
                  <a:gd name="T24" fmla="*/ 45 w 253"/>
                  <a:gd name="T25" fmla="*/ 29 h 255"/>
                  <a:gd name="T26" fmla="*/ 65 w 253"/>
                  <a:gd name="T27" fmla="*/ 15 h 255"/>
                  <a:gd name="T28" fmla="*/ 89 w 253"/>
                  <a:gd name="T29" fmla="*/ 6 h 255"/>
                  <a:gd name="T30" fmla="*/ 114 w 253"/>
                  <a:gd name="T31" fmla="*/ 1 h 255"/>
                  <a:gd name="T32" fmla="*/ 139 w 253"/>
                  <a:gd name="T33" fmla="*/ 1 h 255"/>
                  <a:gd name="T34" fmla="*/ 164 w 253"/>
                  <a:gd name="T35" fmla="*/ 6 h 255"/>
                  <a:gd name="T36" fmla="*/ 188 w 253"/>
                  <a:gd name="T37" fmla="*/ 15 h 255"/>
                  <a:gd name="T38" fmla="*/ 208 w 253"/>
                  <a:gd name="T39" fmla="*/ 29 h 255"/>
                  <a:gd name="T40" fmla="*/ 225 w 253"/>
                  <a:gd name="T41" fmla="*/ 47 h 255"/>
                  <a:gd name="T42" fmla="*/ 238 w 253"/>
                  <a:gd name="T43" fmla="*/ 67 h 255"/>
                  <a:gd name="T44" fmla="*/ 247 w 253"/>
                  <a:gd name="T45" fmla="*/ 89 h 255"/>
                  <a:gd name="T46" fmla="*/ 253 w 253"/>
                  <a:gd name="T47" fmla="*/ 115 h 255"/>
                  <a:gd name="T48" fmla="*/ 253 w 253"/>
                  <a:gd name="T49" fmla="*/ 141 h 255"/>
                  <a:gd name="T50" fmla="*/ 247 w 253"/>
                  <a:gd name="T51" fmla="*/ 165 h 255"/>
                  <a:gd name="T52" fmla="*/ 238 w 253"/>
                  <a:gd name="T53" fmla="*/ 188 h 255"/>
                  <a:gd name="T54" fmla="*/ 225 w 253"/>
                  <a:gd name="T55" fmla="*/ 209 h 255"/>
                  <a:gd name="T56" fmla="*/ 208 w 253"/>
                  <a:gd name="T57" fmla="*/ 225 h 255"/>
                  <a:gd name="T58" fmla="*/ 188 w 253"/>
                  <a:gd name="T59" fmla="*/ 239 h 255"/>
                  <a:gd name="T60" fmla="*/ 164 w 253"/>
                  <a:gd name="T61" fmla="*/ 249 h 255"/>
                  <a:gd name="T62" fmla="*/ 139 w 253"/>
                  <a:gd name="T63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3" h="255">
                    <a:moveTo>
                      <a:pt x="127" y="255"/>
                    </a:moveTo>
                    <a:lnTo>
                      <a:pt x="114" y="255"/>
                    </a:lnTo>
                    <a:lnTo>
                      <a:pt x="101" y="252"/>
                    </a:lnTo>
                    <a:lnTo>
                      <a:pt x="89" y="249"/>
                    </a:lnTo>
                    <a:lnTo>
                      <a:pt x="77" y="245"/>
                    </a:lnTo>
                    <a:lnTo>
                      <a:pt x="65" y="239"/>
                    </a:lnTo>
                    <a:lnTo>
                      <a:pt x="55" y="234"/>
                    </a:lnTo>
                    <a:lnTo>
                      <a:pt x="45" y="225"/>
                    </a:lnTo>
                    <a:lnTo>
                      <a:pt x="36" y="217"/>
                    </a:lnTo>
                    <a:lnTo>
                      <a:pt x="28" y="209"/>
                    </a:lnTo>
                    <a:lnTo>
                      <a:pt x="21" y="198"/>
                    </a:lnTo>
                    <a:lnTo>
                      <a:pt x="15" y="188"/>
                    </a:lnTo>
                    <a:lnTo>
                      <a:pt x="9" y="177"/>
                    </a:lnTo>
                    <a:lnTo>
                      <a:pt x="4" y="165"/>
                    </a:lnTo>
                    <a:lnTo>
                      <a:pt x="2" y="153"/>
                    </a:lnTo>
                    <a:lnTo>
                      <a:pt x="0" y="141"/>
                    </a:lnTo>
                    <a:lnTo>
                      <a:pt x="0" y="128"/>
                    </a:lnTo>
                    <a:lnTo>
                      <a:pt x="0" y="115"/>
                    </a:lnTo>
                    <a:lnTo>
                      <a:pt x="2" y="102"/>
                    </a:lnTo>
                    <a:lnTo>
                      <a:pt x="4" y="89"/>
                    </a:lnTo>
                    <a:lnTo>
                      <a:pt x="9" y="77"/>
                    </a:lnTo>
                    <a:lnTo>
                      <a:pt x="15" y="67"/>
                    </a:lnTo>
                    <a:lnTo>
                      <a:pt x="21" y="56"/>
                    </a:lnTo>
                    <a:lnTo>
                      <a:pt x="28" y="47"/>
                    </a:lnTo>
                    <a:lnTo>
                      <a:pt x="36" y="37"/>
                    </a:lnTo>
                    <a:lnTo>
                      <a:pt x="45" y="29"/>
                    </a:lnTo>
                    <a:lnTo>
                      <a:pt x="55" y="22"/>
                    </a:lnTo>
                    <a:lnTo>
                      <a:pt x="65" y="15"/>
                    </a:lnTo>
                    <a:lnTo>
                      <a:pt x="77" y="10"/>
                    </a:lnTo>
                    <a:lnTo>
                      <a:pt x="89" y="6"/>
                    </a:lnTo>
                    <a:lnTo>
                      <a:pt x="101" y="2"/>
                    </a:lnTo>
                    <a:lnTo>
                      <a:pt x="114" y="1"/>
                    </a:lnTo>
                    <a:lnTo>
                      <a:pt x="127" y="0"/>
                    </a:lnTo>
                    <a:lnTo>
                      <a:pt x="139" y="1"/>
                    </a:lnTo>
                    <a:lnTo>
                      <a:pt x="152" y="2"/>
                    </a:lnTo>
                    <a:lnTo>
                      <a:pt x="164" y="6"/>
                    </a:lnTo>
                    <a:lnTo>
                      <a:pt x="176" y="10"/>
                    </a:lnTo>
                    <a:lnTo>
                      <a:pt x="188" y="15"/>
                    </a:lnTo>
                    <a:lnTo>
                      <a:pt x="198" y="22"/>
                    </a:lnTo>
                    <a:lnTo>
                      <a:pt x="208" y="29"/>
                    </a:lnTo>
                    <a:lnTo>
                      <a:pt x="217" y="37"/>
                    </a:lnTo>
                    <a:lnTo>
                      <a:pt x="225" y="47"/>
                    </a:lnTo>
                    <a:lnTo>
                      <a:pt x="232" y="56"/>
                    </a:lnTo>
                    <a:lnTo>
                      <a:pt x="238" y="67"/>
                    </a:lnTo>
                    <a:lnTo>
                      <a:pt x="244" y="77"/>
                    </a:lnTo>
                    <a:lnTo>
                      <a:pt x="247" y="89"/>
                    </a:lnTo>
                    <a:lnTo>
                      <a:pt x="251" y="102"/>
                    </a:lnTo>
                    <a:lnTo>
                      <a:pt x="253" y="115"/>
                    </a:lnTo>
                    <a:lnTo>
                      <a:pt x="253" y="128"/>
                    </a:lnTo>
                    <a:lnTo>
                      <a:pt x="253" y="141"/>
                    </a:lnTo>
                    <a:lnTo>
                      <a:pt x="251" y="153"/>
                    </a:lnTo>
                    <a:lnTo>
                      <a:pt x="247" y="165"/>
                    </a:lnTo>
                    <a:lnTo>
                      <a:pt x="244" y="177"/>
                    </a:lnTo>
                    <a:lnTo>
                      <a:pt x="238" y="188"/>
                    </a:lnTo>
                    <a:lnTo>
                      <a:pt x="232" y="198"/>
                    </a:lnTo>
                    <a:lnTo>
                      <a:pt x="225" y="209"/>
                    </a:lnTo>
                    <a:lnTo>
                      <a:pt x="217" y="217"/>
                    </a:lnTo>
                    <a:lnTo>
                      <a:pt x="208" y="225"/>
                    </a:lnTo>
                    <a:lnTo>
                      <a:pt x="198" y="234"/>
                    </a:lnTo>
                    <a:lnTo>
                      <a:pt x="188" y="239"/>
                    </a:lnTo>
                    <a:lnTo>
                      <a:pt x="176" y="245"/>
                    </a:lnTo>
                    <a:lnTo>
                      <a:pt x="164" y="249"/>
                    </a:lnTo>
                    <a:lnTo>
                      <a:pt x="152" y="252"/>
                    </a:lnTo>
                    <a:lnTo>
                      <a:pt x="139" y="255"/>
                    </a:lnTo>
                    <a:lnTo>
                      <a:pt x="127" y="255"/>
                    </a:lnTo>
                    <a:close/>
                  </a:path>
                </a:pathLst>
              </a:cu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2" name="Freeform 226"/>
              <p:cNvSpPr>
                <a:spLocks noEditPoints="1"/>
              </p:cNvSpPr>
              <p:nvPr/>
            </p:nvSpPr>
            <p:spPr bwMode="auto">
              <a:xfrm>
                <a:off x="6316663" y="4865688"/>
                <a:ext cx="141288" cy="141288"/>
              </a:xfrm>
              <a:custGeom>
                <a:avLst/>
                <a:gdLst>
                  <a:gd name="T0" fmla="*/ 152 w 355"/>
                  <a:gd name="T1" fmla="*/ 303 h 356"/>
                  <a:gd name="T2" fmla="*/ 116 w 355"/>
                  <a:gd name="T3" fmla="*/ 290 h 356"/>
                  <a:gd name="T4" fmla="*/ 87 w 355"/>
                  <a:gd name="T5" fmla="*/ 268 h 356"/>
                  <a:gd name="T6" fmla="*/ 66 w 355"/>
                  <a:gd name="T7" fmla="*/ 239 h 356"/>
                  <a:gd name="T8" fmla="*/ 53 w 355"/>
                  <a:gd name="T9" fmla="*/ 204 h 356"/>
                  <a:gd name="T10" fmla="*/ 51 w 355"/>
                  <a:gd name="T11" fmla="*/ 166 h 356"/>
                  <a:gd name="T12" fmla="*/ 60 w 355"/>
                  <a:gd name="T13" fmla="*/ 128 h 356"/>
                  <a:gd name="T14" fmla="*/ 79 w 355"/>
                  <a:gd name="T15" fmla="*/ 98 h 356"/>
                  <a:gd name="T16" fmla="*/ 106 w 355"/>
                  <a:gd name="T17" fmla="*/ 73 h 356"/>
                  <a:gd name="T18" fmla="*/ 140 w 355"/>
                  <a:gd name="T19" fmla="*/ 57 h 356"/>
                  <a:gd name="T20" fmla="*/ 178 w 355"/>
                  <a:gd name="T21" fmla="*/ 51 h 356"/>
                  <a:gd name="T22" fmla="*/ 215 w 355"/>
                  <a:gd name="T23" fmla="*/ 57 h 356"/>
                  <a:gd name="T24" fmla="*/ 249 w 355"/>
                  <a:gd name="T25" fmla="*/ 73 h 356"/>
                  <a:gd name="T26" fmla="*/ 276 w 355"/>
                  <a:gd name="T27" fmla="*/ 98 h 356"/>
                  <a:gd name="T28" fmla="*/ 295 w 355"/>
                  <a:gd name="T29" fmla="*/ 128 h 356"/>
                  <a:gd name="T30" fmla="*/ 304 w 355"/>
                  <a:gd name="T31" fmla="*/ 166 h 356"/>
                  <a:gd name="T32" fmla="*/ 302 w 355"/>
                  <a:gd name="T33" fmla="*/ 204 h 356"/>
                  <a:gd name="T34" fmla="*/ 289 w 355"/>
                  <a:gd name="T35" fmla="*/ 239 h 356"/>
                  <a:gd name="T36" fmla="*/ 268 w 355"/>
                  <a:gd name="T37" fmla="*/ 268 h 356"/>
                  <a:gd name="T38" fmla="*/ 239 w 355"/>
                  <a:gd name="T39" fmla="*/ 290 h 356"/>
                  <a:gd name="T40" fmla="*/ 203 w 355"/>
                  <a:gd name="T41" fmla="*/ 303 h 356"/>
                  <a:gd name="T42" fmla="*/ 178 w 355"/>
                  <a:gd name="T43" fmla="*/ 0 h 356"/>
                  <a:gd name="T44" fmla="*/ 125 w 355"/>
                  <a:gd name="T45" fmla="*/ 9 h 356"/>
                  <a:gd name="T46" fmla="*/ 78 w 355"/>
                  <a:gd name="T47" fmla="*/ 31 h 356"/>
                  <a:gd name="T48" fmla="*/ 40 w 355"/>
                  <a:gd name="T49" fmla="*/ 65 h 356"/>
                  <a:gd name="T50" fmla="*/ 14 w 355"/>
                  <a:gd name="T51" fmla="*/ 110 h 356"/>
                  <a:gd name="T52" fmla="*/ 0 w 355"/>
                  <a:gd name="T53" fmla="*/ 160 h 356"/>
                  <a:gd name="T54" fmla="*/ 4 w 355"/>
                  <a:gd name="T55" fmla="*/ 214 h 356"/>
                  <a:gd name="T56" fmla="*/ 21 w 355"/>
                  <a:gd name="T57" fmla="*/ 263 h 356"/>
                  <a:gd name="T58" fmla="*/ 52 w 355"/>
                  <a:gd name="T59" fmla="*/ 303 h 356"/>
                  <a:gd name="T60" fmla="*/ 93 w 355"/>
                  <a:gd name="T61" fmla="*/ 335 h 356"/>
                  <a:gd name="T62" fmla="*/ 141 w 355"/>
                  <a:gd name="T63" fmla="*/ 353 h 356"/>
                  <a:gd name="T64" fmla="*/ 195 w 355"/>
                  <a:gd name="T65" fmla="*/ 355 h 356"/>
                  <a:gd name="T66" fmla="*/ 247 w 355"/>
                  <a:gd name="T67" fmla="*/ 342 h 356"/>
                  <a:gd name="T68" fmla="*/ 290 w 355"/>
                  <a:gd name="T69" fmla="*/ 315 h 356"/>
                  <a:gd name="T70" fmla="*/ 324 w 355"/>
                  <a:gd name="T71" fmla="*/ 278 h 356"/>
                  <a:gd name="T72" fmla="*/ 347 w 355"/>
                  <a:gd name="T73" fmla="*/ 232 h 356"/>
                  <a:gd name="T74" fmla="*/ 355 w 355"/>
                  <a:gd name="T75" fmla="*/ 179 h 356"/>
                  <a:gd name="T76" fmla="*/ 347 w 355"/>
                  <a:gd name="T77" fmla="*/ 126 h 356"/>
                  <a:gd name="T78" fmla="*/ 324 w 355"/>
                  <a:gd name="T79" fmla="*/ 79 h 356"/>
                  <a:gd name="T80" fmla="*/ 290 w 355"/>
                  <a:gd name="T81" fmla="*/ 41 h 356"/>
                  <a:gd name="T82" fmla="*/ 247 w 355"/>
                  <a:gd name="T83" fmla="*/ 14 h 356"/>
                  <a:gd name="T84" fmla="*/ 195 w 355"/>
                  <a:gd name="T85" fmla="*/ 1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55" h="356">
                    <a:moveTo>
                      <a:pt x="178" y="306"/>
                    </a:moveTo>
                    <a:lnTo>
                      <a:pt x="165" y="306"/>
                    </a:lnTo>
                    <a:lnTo>
                      <a:pt x="152" y="303"/>
                    </a:lnTo>
                    <a:lnTo>
                      <a:pt x="140" y="300"/>
                    </a:lnTo>
                    <a:lnTo>
                      <a:pt x="128" y="296"/>
                    </a:lnTo>
                    <a:lnTo>
                      <a:pt x="116" y="290"/>
                    </a:lnTo>
                    <a:lnTo>
                      <a:pt x="106" y="285"/>
                    </a:lnTo>
                    <a:lnTo>
                      <a:pt x="96" y="276"/>
                    </a:lnTo>
                    <a:lnTo>
                      <a:pt x="87" y="268"/>
                    </a:lnTo>
                    <a:lnTo>
                      <a:pt x="79" y="260"/>
                    </a:lnTo>
                    <a:lnTo>
                      <a:pt x="72" y="249"/>
                    </a:lnTo>
                    <a:lnTo>
                      <a:pt x="66" y="239"/>
                    </a:lnTo>
                    <a:lnTo>
                      <a:pt x="60" y="228"/>
                    </a:lnTo>
                    <a:lnTo>
                      <a:pt x="55" y="216"/>
                    </a:lnTo>
                    <a:lnTo>
                      <a:pt x="53" y="204"/>
                    </a:lnTo>
                    <a:lnTo>
                      <a:pt x="51" y="192"/>
                    </a:lnTo>
                    <a:lnTo>
                      <a:pt x="51" y="179"/>
                    </a:lnTo>
                    <a:lnTo>
                      <a:pt x="51" y="166"/>
                    </a:lnTo>
                    <a:lnTo>
                      <a:pt x="53" y="153"/>
                    </a:lnTo>
                    <a:lnTo>
                      <a:pt x="55" y="140"/>
                    </a:lnTo>
                    <a:lnTo>
                      <a:pt x="60" y="128"/>
                    </a:lnTo>
                    <a:lnTo>
                      <a:pt x="66" y="118"/>
                    </a:lnTo>
                    <a:lnTo>
                      <a:pt x="72" y="107"/>
                    </a:lnTo>
                    <a:lnTo>
                      <a:pt x="79" y="98"/>
                    </a:lnTo>
                    <a:lnTo>
                      <a:pt x="87" y="88"/>
                    </a:lnTo>
                    <a:lnTo>
                      <a:pt x="96" y="80"/>
                    </a:lnTo>
                    <a:lnTo>
                      <a:pt x="106" y="73"/>
                    </a:lnTo>
                    <a:lnTo>
                      <a:pt x="116" y="66"/>
                    </a:lnTo>
                    <a:lnTo>
                      <a:pt x="128" y="61"/>
                    </a:lnTo>
                    <a:lnTo>
                      <a:pt x="140" y="57"/>
                    </a:lnTo>
                    <a:lnTo>
                      <a:pt x="152" y="53"/>
                    </a:lnTo>
                    <a:lnTo>
                      <a:pt x="165" y="52"/>
                    </a:lnTo>
                    <a:lnTo>
                      <a:pt x="178" y="51"/>
                    </a:lnTo>
                    <a:lnTo>
                      <a:pt x="190" y="52"/>
                    </a:lnTo>
                    <a:lnTo>
                      <a:pt x="203" y="53"/>
                    </a:lnTo>
                    <a:lnTo>
                      <a:pt x="215" y="57"/>
                    </a:lnTo>
                    <a:lnTo>
                      <a:pt x="227" y="61"/>
                    </a:lnTo>
                    <a:lnTo>
                      <a:pt x="239" y="66"/>
                    </a:lnTo>
                    <a:lnTo>
                      <a:pt x="249" y="73"/>
                    </a:lnTo>
                    <a:lnTo>
                      <a:pt x="259" y="80"/>
                    </a:lnTo>
                    <a:lnTo>
                      <a:pt x="268" y="88"/>
                    </a:lnTo>
                    <a:lnTo>
                      <a:pt x="276" y="98"/>
                    </a:lnTo>
                    <a:lnTo>
                      <a:pt x="283" y="107"/>
                    </a:lnTo>
                    <a:lnTo>
                      <a:pt x="289" y="118"/>
                    </a:lnTo>
                    <a:lnTo>
                      <a:pt x="295" y="128"/>
                    </a:lnTo>
                    <a:lnTo>
                      <a:pt x="298" y="140"/>
                    </a:lnTo>
                    <a:lnTo>
                      <a:pt x="302" y="153"/>
                    </a:lnTo>
                    <a:lnTo>
                      <a:pt x="304" y="166"/>
                    </a:lnTo>
                    <a:lnTo>
                      <a:pt x="304" y="179"/>
                    </a:lnTo>
                    <a:lnTo>
                      <a:pt x="304" y="192"/>
                    </a:lnTo>
                    <a:lnTo>
                      <a:pt x="302" y="204"/>
                    </a:lnTo>
                    <a:lnTo>
                      <a:pt x="298" y="216"/>
                    </a:lnTo>
                    <a:lnTo>
                      <a:pt x="295" y="228"/>
                    </a:lnTo>
                    <a:lnTo>
                      <a:pt x="289" y="239"/>
                    </a:lnTo>
                    <a:lnTo>
                      <a:pt x="283" y="249"/>
                    </a:lnTo>
                    <a:lnTo>
                      <a:pt x="276" y="260"/>
                    </a:lnTo>
                    <a:lnTo>
                      <a:pt x="268" y="268"/>
                    </a:lnTo>
                    <a:lnTo>
                      <a:pt x="259" y="276"/>
                    </a:lnTo>
                    <a:lnTo>
                      <a:pt x="249" y="285"/>
                    </a:lnTo>
                    <a:lnTo>
                      <a:pt x="239" y="290"/>
                    </a:lnTo>
                    <a:lnTo>
                      <a:pt x="227" y="296"/>
                    </a:lnTo>
                    <a:lnTo>
                      <a:pt x="215" y="300"/>
                    </a:lnTo>
                    <a:lnTo>
                      <a:pt x="203" y="303"/>
                    </a:lnTo>
                    <a:lnTo>
                      <a:pt x="190" y="306"/>
                    </a:lnTo>
                    <a:lnTo>
                      <a:pt x="178" y="306"/>
                    </a:lnTo>
                    <a:close/>
                    <a:moveTo>
                      <a:pt x="178" y="0"/>
                    </a:moveTo>
                    <a:lnTo>
                      <a:pt x="159" y="1"/>
                    </a:lnTo>
                    <a:lnTo>
                      <a:pt x="141" y="4"/>
                    </a:lnTo>
                    <a:lnTo>
                      <a:pt x="125" y="9"/>
                    </a:lnTo>
                    <a:lnTo>
                      <a:pt x="108" y="14"/>
                    </a:lnTo>
                    <a:lnTo>
                      <a:pt x="93" y="23"/>
                    </a:lnTo>
                    <a:lnTo>
                      <a:pt x="78" y="31"/>
                    </a:lnTo>
                    <a:lnTo>
                      <a:pt x="65" y="41"/>
                    </a:lnTo>
                    <a:lnTo>
                      <a:pt x="52" y="53"/>
                    </a:lnTo>
                    <a:lnTo>
                      <a:pt x="40" y="65"/>
                    </a:lnTo>
                    <a:lnTo>
                      <a:pt x="30" y="79"/>
                    </a:lnTo>
                    <a:lnTo>
                      <a:pt x="21" y="94"/>
                    </a:lnTo>
                    <a:lnTo>
                      <a:pt x="14" y="110"/>
                    </a:lnTo>
                    <a:lnTo>
                      <a:pt x="7" y="126"/>
                    </a:lnTo>
                    <a:lnTo>
                      <a:pt x="4" y="142"/>
                    </a:lnTo>
                    <a:lnTo>
                      <a:pt x="0" y="160"/>
                    </a:lnTo>
                    <a:lnTo>
                      <a:pt x="0" y="179"/>
                    </a:lnTo>
                    <a:lnTo>
                      <a:pt x="0" y="196"/>
                    </a:lnTo>
                    <a:lnTo>
                      <a:pt x="4" y="214"/>
                    </a:lnTo>
                    <a:lnTo>
                      <a:pt x="7" y="232"/>
                    </a:lnTo>
                    <a:lnTo>
                      <a:pt x="14" y="247"/>
                    </a:lnTo>
                    <a:lnTo>
                      <a:pt x="21" y="263"/>
                    </a:lnTo>
                    <a:lnTo>
                      <a:pt x="30" y="278"/>
                    </a:lnTo>
                    <a:lnTo>
                      <a:pt x="40" y="292"/>
                    </a:lnTo>
                    <a:lnTo>
                      <a:pt x="52" y="303"/>
                    </a:lnTo>
                    <a:lnTo>
                      <a:pt x="65" y="315"/>
                    </a:lnTo>
                    <a:lnTo>
                      <a:pt x="78" y="326"/>
                    </a:lnTo>
                    <a:lnTo>
                      <a:pt x="93" y="335"/>
                    </a:lnTo>
                    <a:lnTo>
                      <a:pt x="108" y="342"/>
                    </a:lnTo>
                    <a:lnTo>
                      <a:pt x="125" y="348"/>
                    </a:lnTo>
                    <a:lnTo>
                      <a:pt x="141" y="353"/>
                    </a:lnTo>
                    <a:lnTo>
                      <a:pt x="159" y="355"/>
                    </a:lnTo>
                    <a:lnTo>
                      <a:pt x="178" y="356"/>
                    </a:lnTo>
                    <a:lnTo>
                      <a:pt x="195" y="355"/>
                    </a:lnTo>
                    <a:lnTo>
                      <a:pt x="213" y="353"/>
                    </a:lnTo>
                    <a:lnTo>
                      <a:pt x="230" y="348"/>
                    </a:lnTo>
                    <a:lnTo>
                      <a:pt x="247" y="342"/>
                    </a:lnTo>
                    <a:lnTo>
                      <a:pt x="262" y="335"/>
                    </a:lnTo>
                    <a:lnTo>
                      <a:pt x="276" y="326"/>
                    </a:lnTo>
                    <a:lnTo>
                      <a:pt x="290" y="315"/>
                    </a:lnTo>
                    <a:lnTo>
                      <a:pt x="303" y="303"/>
                    </a:lnTo>
                    <a:lnTo>
                      <a:pt x="315" y="292"/>
                    </a:lnTo>
                    <a:lnTo>
                      <a:pt x="324" y="278"/>
                    </a:lnTo>
                    <a:lnTo>
                      <a:pt x="334" y="263"/>
                    </a:lnTo>
                    <a:lnTo>
                      <a:pt x="341" y="247"/>
                    </a:lnTo>
                    <a:lnTo>
                      <a:pt x="347" y="232"/>
                    </a:lnTo>
                    <a:lnTo>
                      <a:pt x="351" y="214"/>
                    </a:lnTo>
                    <a:lnTo>
                      <a:pt x="354" y="196"/>
                    </a:lnTo>
                    <a:lnTo>
                      <a:pt x="355" y="179"/>
                    </a:lnTo>
                    <a:lnTo>
                      <a:pt x="354" y="160"/>
                    </a:lnTo>
                    <a:lnTo>
                      <a:pt x="351" y="142"/>
                    </a:lnTo>
                    <a:lnTo>
                      <a:pt x="347" y="126"/>
                    </a:lnTo>
                    <a:lnTo>
                      <a:pt x="341" y="110"/>
                    </a:lnTo>
                    <a:lnTo>
                      <a:pt x="334" y="94"/>
                    </a:lnTo>
                    <a:lnTo>
                      <a:pt x="324" y="79"/>
                    </a:lnTo>
                    <a:lnTo>
                      <a:pt x="315" y="65"/>
                    </a:lnTo>
                    <a:lnTo>
                      <a:pt x="303" y="53"/>
                    </a:lnTo>
                    <a:lnTo>
                      <a:pt x="290" y="41"/>
                    </a:lnTo>
                    <a:lnTo>
                      <a:pt x="276" y="31"/>
                    </a:lnTo>
                    <a:lnTo>
                      <a:pt x="262" y="23"/>
                    </a:lnTo>
                    <a:lnTo>
                      <a:pt x="247" y="14"/>
                    </a:lnTo>
                    <a:lnTo>
                      <a:pt x="230" y="9"/>
                    </a:lnTo>
                    <a:lnTo>
                      <a:pt x="213" y="4"/>
                    </a:lnTo>
                    <a:lnTo>
                      <a:pt x="195" y="1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3" name="Freeform 227"/>
              <p:cNvSpPr>
                <a:spLocks noEditPoints="1"/>
              </p:cNvSpPr>
              <p:nvPr/>
            </p:nvSpPr>
            <p:spPr bwMode="auto">
              <a:xfrm>
                <a:off x="6330951" y="4879976"/>
                <a:ext cx="111125" cy="111125"/>
              </a:xfrm>
              <a:custGeom>
                <a:avLst/>
                <a:gdLst>
                  <a:gd name="T0" fmla="*/ 116 w 279"/>
                  <a:gd name="T1" fmla="*/ 253 h 278"/>
                  <a:gd name="T2" fmla="*/ 84 w 279"/>
                  <a:gd name="T3" fmla="*/ 241 h 278"/>
                  <a:gd name="T4" fmla="*/ 57 w 279"/>
                  <a:gd name="T5" fmla="*/ 221 h 278"/>
                  <a:gd name="T6" fmla="*/ 37 w 279"/>
                  <a:gd name="T7" fmla="*/ 194 h 278"/>
                  <a:gd name="T8" fmla="*/ 27 w 279"/>
                  <a:gd name="T9" fmla="*/ 162 h 278"/>
                  <a:gd name="T10" fmla="*/ 24 w 279"/>
                  <a:gd name="T11" fmla="*/ 128 h 278"/>
                  <a:gd name="T12" fmla="*/ 33 w 279"/>
                  <a:gd name="T13" fmla="*/ 94 h 278"/>
                  <a:gd name="T14" fmla="*/ 50 w 279"/>
                  <a:gd name="T15" fmla="*/ 66 h 278"/>
                  <a:gd name="T16" fmla="*/ 75 w 279"/>
                  <a:gd name="T17" fmla="*/ 44 h 278"/>
                  <a:gd name="T18" fmla="*/ 105 w 279"/>
                  <a:gd name="T19" fmla="*/ 29 h 278"/>
                  <a:gd name="T20" fmla="*/ 140 w 279"/>
                  <a:gd name="T21" fmla="*/ 24 h 278"/>
                  <a:gd name="T22" fmla="*/ 174 w 279"/>
                  <a:gd name="T23" fmla="*/ 29 h 278"/>
                  <a:gd name="T24" fmla="*/ 204 w 279"/>
                  <a:gd name="T25" fmla="*/ 44 h 278"/>
                  <a:gd name="T26" fmla="*/ 229 w 279"/>
                  <a:gd name="T27" fmla="*/ 66 h 278"/>
                  <a:gd name="T28" fmla="*/ 246 w 279"/>
                  <a:gd name="T29" fmla="*/ 94 h 278"/>
                  <a:gd name="T30" fmla="*/ 255 w 279"/>
                  <a:gd name="T31" fmla="*/ 128 h 278"/>
                  <a:gd name="T32" fmla="*/ 252 w 279"/>
                  <a:gd name="T33" fmla="*/ 162 h 278"/>
                  <a:gd name="T34" fmla="*/ 241 w 279"/>
                  <a:gd name="T35" fmla="*/ 194 h 278"/>
                  <a:gd name="T36" fmla="*/ 221 w 279"/>
                  <a:gd name="T37" fmla="*/ 221 h 278"/>
                  <a:gd name="T38" fmla="*/ 195 w 279"/>
                  <a:gd name="T39" fmla="*/ 241 h 278"/>
                  <a:gd name="T40" fmla="*/ 163 w 279"/>
                  <a:gd name="T41" fmla="*/ 253 h 278"/>
                  <a:gd name="T42" fmla="*/ 140 w 279"/>
                  <a:gd name="T43" fmla="*/ 0 h 278"/>
                  <a:gd name="T44" fmla="*/ 98 w 279"/>
                  <a:gd name="T45" fmla="*/ 6 h 278"/>
                  <a:gd name="T46" fmla="*/ 62 w 279"/>
                  <a:gd name="T47" fmla="*/ 24 h 278"/>
                  <a:gd name="T48" fmla="*/ 31 w 279"/>
                  <a:gd name="T49" fmla="*/ 51 h 278"/>
                  <a:gd name="T50" fmla="*/ 11 w 279"/>
                  <a:gd name="T51" fmla="*/ 85 h 278"/>
                  <a:gd name="T52" fmla="*/ 1 w 279"/>
                  <a:gd name="T53" fmla="*/ 125 h 278"/>
                  <a:gd name="T54" fmla="*/ 3 w 279"/>
                  <a:gd name="T55" fmla="*/ 167 h 278"/>
                  <a:gd name="T56" fmla="*/ 17 w 279"/>
                  <a:gd name="T57" fmla="*/ 206 h 278"/>
                  <a:gd name="T58" fmla="*/ 41 w 279"/>
                  <a:gd name="T59" fmla="*/ 237 h 278"/>
                  <a:gd name="T60" fmla="*/ 73 w 279"/>
                  <a:gd name="T61" fmla="*/ 262 h 278"/>
                  <a:gd name="T62" fmla="*/ 111 w 279"/>
                  <a:gd name="T63" fmla="*/ 276 h 278"/>
                  <a:gd name="T64" fmla="*/ 154 w 279"/>
                  <a:gd name="T65" fmla="*/ 278 h 278"/>
                  <a:gd name="T66" fmla="*/ 194 w 279"/>
                  <a:gd name="T67" fmla="*/ 268 h 278"/>
                  <a:gd name="T68" fmla="*/ 228 w 279"/>
                  <a:gd name="T69" fmla="*/ 247 h 278"/>
                  <a:gd name="T70" fmla="*/ 255 w 279"/>
                  <a:gd name="T71" fmla="*/ 217 h 278"/>
                  <a:gd name="T72" fmla="*/ 272 w 279"/>
                  <a:gd name="T73" fmla="*/ 181 h 278"/>
                  <a:gd name="T74" fmla="*/ 279 w 279"/>
                  <a:gd name="T75" fmla="*/ 140 h 278"/>
                  <a:gd name="T76" fmla="*/ 272 w 279"/>
                  <a:gd name="T77" fmla="*/ 98 h 278"/>
                  <a:gd name="T78" fmla="*/ 255 w 279"/>
                  <a:gd name="T79" fmla="*/ 61 h 278"/>
                  <a:gd name="T80" fmla="*/ 228 w 279"/>
                  <a:gd name="T81" fmla="*/ 32 h 278"/>
                  <a:gd name="T82" fmla="*/ 194 w 279"/>
                  <a:gd name="T83" fmla="*/ 11 h 278"/>
                  <a:gd name="T84" fmla="*/ 154 w 279"/>
                  <a:gd name="T85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9" h="278">
                    <a:moveTo>
                      <a:pt x="140" y="255"/>
                    </a:moveTo>
                    <a:lnTo>
                      <a:pt x="128" y="254"/>
                    </a:lnTo>
                    <a:lnTo>
                      <a:pt x="116" y="253"/>
                    </a:lnTo>
                    <a:lnTo>
                      <a:pt x="105" y="249"/>
                    </a:lnTo>
                    <a:lnTo>
                      <a:pt x="95" y="246"/>
                    </a:lnTo>
                    <a:lnTo>
                      <a:pt x="84" y="241"/>
                    </a:lnTo>
                    <a:lnTo>
                      <a:pt x="75" y="235"/>
                    </a:lnTo>
                    <a:lnTo>
                      <a:pt x="66" y="228"/>
                    </a:lnTo>
                    <a:lnTo>
                      <a:pt x="57" y="221"/>
                    </a:lnTo>
                    <a:lnTo>
                      <a:pt x="50" y="213"/>
                    </a:lnTo>
                    <a:lnTo>
                      <a:pt x="43" y="203"/>
                    </a:lnTo>
                    <a:lnTo>
                      <a:pt x="37" y="194"/>
                    </a:lnTo>
                    <a:lnTo>
                      <a:pt x="33" y="184"/>
                    </a:lnTo>
                    <a:lnTo>
                      <a:pt x="29" y="174"/>
                    </a:lnTo>
                    <a:lnTo>
                      <a:pt x="27" y="162"/>
                    </a:lnTo>
                    <a:lnTo>
                      <a:pt x="24" y="152"/>
                    </a:lnTo>
                    <a:lnTo>
                      <a:pt x="24" y="140"/>
                    </a:lnTo>
                    <a:lnTo>
                      <a:pt x="24" y="128"/>
                    </a:lnTo>
                    <a:lnTo>
                      <a:pt x="27" y="116"/>
                    </a:lnTo>
                    <a:lnTo>
                      <a:pt x="29" y="105"/>
                    </a:lnTo>
                    <a:lnTo>
                      <a:pt x="33" y="94"/>
                    </a:lnTo>
                    <a:lnTo>
                      <a:pt x="37" y="85"/>
                    </a:lnTo>
                    <a:lnTo>
                      <a:pt x="43" y="75"/>
                    </a:lnTo>
                    <a:lnTo>
                      <a:pt x="50" y="66"/>
                    </a:lnTo>
                    <a:lnTo>
                      <a:pt x="57" y="58"/>
                    </a:lnTo>
                    <a:lnTo>
                      <a:pt x="66" y="51"/>
                    </a:lnTo>
                    <a:lnTo>
                      <a:pt x="75" y="44"/>
                    </a:lnTo>
                    <a:lnTo>
                      <a:pt x="84" y="38"/>
                    </a:lnTo>
                    <a:lnTo>
                      <a:pt x="95" y="33"/>
                    </a:lnTo>
                    <a:lnTo>
                      <a:pt x="105" y="29"/>
                    </a:lnTo>
                    <a:lnTo>
                      <a:pt x="116" y="26"/>
                    </a:lnTo>
                    <a:lnTo>
                      <a:pt x="128" y="25"/>
                    </a:lnTo>
                    <a:lnTo>
                      <a:pt x="140" y="24"/>
                    </a:lnTo>
                    <a:lnTo>
                      <a:pt x="151" y="25"/>
                    </a:lnTo>
                    <a:lnTo>
                      <a:pt x="163" y="26"/>
                    </a:lnTo>
                    <a:lnTo>
                      <a:pt x="174" y="29"/>
                    </a:lnTo>
                    <a:lnTo>
                      <a:pt x="184" y="33"/>
                    </a:lnTo>
                    <a:lnTo>
                      <a:pt x="195" y="38"/>
                    </a:lnTo>
                    <a:lnTo>
                      <a:pt x="204" y="44"/>
                    </a:lnTo>
                    <a:lnTo>
                      <a:pt x="212" y="51"/>
                    </a:lnTo>
                    <a:lnTo>
                      <a:pt x="221" y="58"/>
                    </a:lnTo>
                    <a:lnTo>
                      <a:pt x="229" y="66"/>
                    </a:lnTo>
                    <a:lnTo>
                      <a:pt x="235" y="75"/>
                    </a:lnTo>
                    <a:lnTo>
                      <a:pt x="241" y="85"/>
                    </a:lnTo>
                    <a:lnTo>
                      <a:pt x="246" y="94"/>
                    </a:lnTo>
                    <a:lnTo>
                      <a:pt x="250" y="105"/>
                    </a:lnTo>
                    <a:lnTo>
                      <a:pt x="252" y="116"/>
                    </a:lnTo>
                    <a:lnTo>
                      <a:pt x="255" y="128"/>
                    </a:lnTo>
                    <a:lnTo>
                      <a:pt x="255" y="140"/>
                    </a:lnTo>
                    <a:lnTo>
                      <a:pt x="255" y="152"/>
                    </a:lnTo>
                    <a:lnTo>
                      <a:pt x="252" y="162"/>
                    </a:lnTo>
                    <a:lnTo>
                      <a:pt x="250" y="174"/>
                    </a:lnTo>
                    <a:lnTo>
                      <a:pt x="246" y="184"/>
                    </a:lnTo>
                    <a:lnTo>
                      <a:pt x="241" y="194"/>
                    </a:lnTo>
                    <a:lnTo>
                      <a:pt x="235" y="203"/>
                    </a:lnTo>
                    <a:lnTo>
                      <a:pt x="229" y="213"/>
                    </a:lnTo>
                    <a:lnTo>
                      <a:pt x="221" y="221"/>
                    </a:lnTo>
                    <a:lnTo>
                      <a:pt x="212" y="228"/>
                    </a:lnTo>
                    <a:lnTo>
                      <a:pt x="204" y="235"/>
                    </a:lnTo>
                    <a:lnTo>
                      <a:pt x="195" y="241"/>
                    </a:lnTo>
                    <a:lnTo>
                      <a:pt x="184" y="246"/>
                    </a:lnTo>
                    <a:lnTo>
                      <a:pt x="174" y="249"/>
                    </a:lnTo>
                    <a:lnTo>
                      <a:pt x="163" y="253"/>
                    </a:lnTo>
                    <a:lnTo>
                      <a:pt x="151" y="254"/>
                    </a:lnTo>
                    <a:lnTo>
                      <a:pt x="140" y="255"/>
                    </a:lnTo>
                    <a:close/>
                    <a:moveTo>
                      <a:pt x="140" y="0"/>
                    </a:moveTo>
                    <a:lnTo>
                      <a:pt x="125" y="0"/>
                    </a:lnTo>
                    <a:lnTo>
                      <a:pt x="111" y="2"/>
                    </a:lnTo>
                    <a:lnTo>
                      <a:pt x="98" y="6"/>
                    </a:lnTo>
                    <a:lnTo>
                      <a:pt x="85" y="11"/>
                    </a:lnTo>
                    <a:lnTo>
                      <a:pt x="73" y="17"/>
                    </a:lnTo>
                    <a:lnTo>
                      <a:pt x="62" y="24"/>
                    </a:lnTo>
                    <a:lnTo>
                      <a:pt x="50" y="32"/>
                    </a:lnTo>
                    <a:lnTo>
                      <a:pt x="41" y="41"/>
                    </a:lnTo>
                    <a:lnTo>
                      <a:pt x="31" y="51"/>
                    </a:lnTo>
                    <a:lnTo>
                      <a:pt x="24" y="61"/>
                    </a:lnTo>
                    <a:lnTo>
                      <a:pt x="17" y="73"/>
                    </a:lnTo>
                    <a:lnTo>
                      <a:pt x="11" y="85"/>
                    </a:lnTo>
                    <a:lnTo>
                      <a:pt x="7" y="98"/>
                    </a:lnTo>
                    <a:lnTo>
                      <a:pt x="3" y="112"/>
                    </a:lnTo>
                    <a:lnTo>
                      <a:pt x="1" y="125"/>
                    </a:lnTo>
                    <a:lnTo>
                      <a:pt x="0" y="140"/>
                    </a:lnTo>
                    <a:lnTo>
                      <a:pt x="1" y="154"/>
                    </a:lnTo>
                    <a:lnTo>
                      <a:pt x="3" y="167"/>
                    </a:lnTo>
                    <a:lnTo>
                      <a:pt x="7" y="181"/>
                    </a:lnTo>
                    <a:lnTo>
                      <a:pt x="11" y="194"/>
                    </a:lnTo>
                    <a:lnTo>
                      <a:pt x="17" y="206"/>
                    </a:lnTo>
                    <a:lnTo>
                      <a:pt x="24" y="217"/>
                    </a:lnTo>
                    <a:lnTo>
                      <a:pt x="31" y="228"/>
                    </a:lnTo>
                    <a:lnTo>
                      <a:pt x="41" y="237"/>
                    </a:lnTo>
                    <a:lnTo>
                      <a:pt x="50" y="247"/>
                    </a:lnTo>
                    <a:lnTo>
                      <a:pt x="62" y="255"/>
                    </a:lnTo>
                    <a:lnTo>
                      <a:pt x="73" y="262"/>
                    </a:lnTo>
                    <a:lnTo>
                      <a:pt x="85" y="268"/>
                    </a:lnTo>
                    <a:lnTo>
                      <a:pt x="98" y="273"/>
                    </a:lnTo>
                    <a:lnTo>
                      <a:pt x="111" y="276"/>
                    </a:lnTo>
                    <a:lnTo>
                      <a:pt x="125" y="278"/>
                    </a:lnTo>
                    <a:lnTo>
                      <a:pt x="140" y="278"/>
                    </a:lnTo>
                    <a:lnTo>
                      <a:pt x="154" y="278"/>
                    </a:lnTo>
                    <a:lnTo>
                      <a:pt x="168" y="276"/>
                    </a:lnTo>
                    <a:lnTo>
                      <a:pt x="181" y="273"/>
                    </a:lnTo>
                    <a:lnTo>
                      <a:pt x="194" y="268"/>
                    </a:lnTo>
                    <a:lnTo>
                      <a:pt x="205" y="262"/>
                    </a:lnTo>
                    <a:lnTo>
                      <a:pt x="217" y="255"/>
                    </a:lnTo>
                    <a:lnTo>
                      <a:pt x="228" y="247"/>
                    </a:lnTo>
                    <a:lnTo>
                      <a:pt x="238" y="237"/>
                    </a:lnTo>
                    <a:lnTo>
                      <a:pt x="246" y="228"/>
                    </a:lnTo>
                    <a:lnTo>
                      <a:pt x="255" y="217"/>
                    </a:lnTo>
                    <a:lnTo>
                      <a:pt x="262" y="206"/>
                    </a:lnTo>
                    <a:lnTo>
                      <a:pt x="268" y="194"/>
                    </a:lnTo>
                    <a:lnTo>
                      <a:pt x="272" y="181"/>
                    </a:lnTo>
                    <a:lnTo>
                      <a:pt x="276" y="167"/>
                    </a:lnTo>
                    <a:lnTo>
                      <a:pt x="278" y="154"/>
                    </a:lnTo>
                    <a:lnTo>
                      <a:pt x="279" y="140"/>
                    </a:lnTo>
                    <a:lnTo>
                      <a:pt x="278" y="125"/>
                    </a:lnTo>
                    <a:lnTo>
                      <a:pt x="276" y="112"/>
                    </a:lnTo>
                    <a:lnTo>
                      <a:pt x="272" y="98"/>
                    </a:lnTo>
                    <a:lnTo>
                      <a:pt x="268" y="85"/>
                    </a:lnTo>
                    <a:lnTo>
                      <a:pt x="262" y="73"/>
                    </a:lnTo>
                    <a:lnTo>
                      <a:pt x="255" y="61"/>
                    </a:lnTo>
                    <a:lnTo>
                      <a:pt x="246" y="51"/>
                    </a:lnTo>
                    <a:lnTo>
                      <a:pt x="238" y="41"/>
                    </a:lnTo>
                    <a:lnTo>
                      <a:pt x="228" y="32"/>
                    </a:lnTo>
                    <a:lnTo>
                      <a:pt x="217" y="24"/>
                    </a:lnTo>
                    <a:lnTo>
                      <a:pt x="205" y="17"/>
                    </a:lnTo>
                    <a:lnTo>
                      <a:pt x="194" y="11"/>
                    </a:lnTo>
                    <a:lnTo>
                      <a:pt x="181" y="6"/>
                    </a:lnTo>
                    <a:lnTo>
                      <a:pt x="168" y="2"/>
                    </a:lnTo>
                    <a:lnTo>
                      <a:pt x="154" y="0"/>
                    </a:lnTo>
                    <a:lnTo>
                      <a:pt x="140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4" name="Freeform 228"/>
              <p:cNvSpPr>
                <a:spLocks noEditPoints="1"/>
              </p:cNvSpPr>
              <p:nvPr/>
            </p:nvSpPr>
            <p:spPr bwMode="auto">
              <a:xfrm>
                <a:off x="6311901" y="4860926"/>
                <a:ext cx="150813" cy="233363"/>
              </a:xfrm>
              <a:custGeom>
                <a:avLst/>
                <a:gdLst>
                  <a:gd name="T0" fmla="*/ 158 w 380"/>
                  <a:gd name="T1" fmla="*/ 352 h 590"/>
                  <a:gd name="T2" fmla="*/ 112 w 380"/>
                  <a:gd name="T3" fmla="*/ 334 h 590"/>
                  <a:gd name="T4" fmla="*/ 73 w 380"/>
                  <a:gd name="T5" fmla="*/ 306 h 590"/>
                  <a:gd name="T6" fmla="*/ 45 w 380"/>
                  <a:gd name="T7" fmla="*/ 269 h 590"/>
                  <a:gd name="T8" fmla="*/ 28 w 380"/>
                  <a:gd name="T9" fmla="*/ 223 h 590"/>
                  <a:gd name="T10" fmla="*/ 25 w 380"/>
                  <a:gd name="T11" fmla="*/ 172 h 590"/>
                  <a:gd name="T12" fmla="*/ 38 w 380"/>
                  <a:gd name="T13" fmla="*/ 125 h 590"/>
                  <a:gd name="T14" fmla="*/ 62 w 380"/>
                  <a:gd name="T15" fmla="*/ 84 h 590"/>
                  <a:gd name="T16" fmla="*/ 98 w 380"/>
                  <a:gd name="T17" fmla="*/ 52 h 590"/>
                  <a:gd name="T18" fmla="*/ 141 w 380"/>
                  <a:gd name="T19" fmla="*/ 31 h 590"/>
                  <a:gd name="T20" fmla="*/ 191 w 380"/>
                  <a:gd name="T21" fmla="*/ 24 h 590"/>
                  <a:gd name="T22" fmla="*/ 240 w 380"/>
                  <a:gd name="T23" fmla="*/ 31 h 590"/>
                  <a:gd name="T24" fmla="*/ 283 w 380"/>
                  <a:gd name="T25" fmla="*/ 52 h 590"/>
                  <a:gd name="T26" fmla="*/ 319 w 380"/>
                  <a:gd name="T27" fmla="*/ 84 h 590"/>
                  <a:gd name="T28" fmla="*/ 343 w 380"/>
                  <a:gd name="T29" fmla="*/ 125 h 590"/>
                  <a:gd name="T30" fmla="*/ 355 w 380"/>
                  <a:gd name="T31" fmla="*/ 172 h 590"/>
                  <a:gd name="T32" fmla="*/ 353 w 380"/>
                  <a:gd name="T33" fmla="*/ 223 h 590"/>
                  <a:gd name="T34" fmla="*/ 336 w 380"/>
                  <a:gd name="T35" fmla="*/ 269 h 590"/>
                  <a:gd name="T36" fmla="*/ 307 w 380"/>
                  <a:gd name="T37" fmla="*/ 306 h 590"/>
                  <a:gd name="T38" fmla="*/ 269 w 380"/>
                  <a:gd name="T39" fmla="*/ 334 h 590"/>
                  <a:gd name="T40" fmla="*/ 223 w 380"/>
                  <a:gd name="T41" fmla="*/ 352 h 590"/>
                  <a:gd name="T42" fmla="*/ 380 w 380"/>
                  <a:gd name="T43" fmla="*/ 190 h 590"/>
                  <a:gd name="T44" fmla="*/ 371 w 380"/>
                  <a:gd name="T45" fmla="*/ 133 h 590"/>
                  <a:gd name="T46" fmla="*/ 347 w 380"/>
                  <a:gd name="T47" fmla="*/ 83 h 590"/>
                  <a:gd name="T48" fmla="*/ 310 w 380"/>
                  <a:gd name="T49" fmla="*/ 43 h 590"/>
                  <a:gd name="T50" fmla="*/ 264 w 380"/>
                  <a:gd name="T51" fmla="*/ 15 h 590"/>
                  <a:gd name="T52" fmla="*/ 209 w 380"/>
                  <a:gd name="T53" fmla="*/ 1 h 590"/>
                  <a:gd name="T54" fmla="*/ 152 w 380"/>
                  <a:gd name="T55" fmla="*/ 3 h 590"/>
                  <a:gd name="T56" fmla="*/ 100 w 380"/>
                  <a:gd name="T57" fmla="*/ 23 h 590"/>
                  <a:gd name="T58" fmla="*/ 57 w 380"/>
                  <a:gd name="T59" fmla="*/ 56 h 590"/>
                  <a:gd name="T60" fmla="*/ 24 w 380"/>
                  <a:gd name="T61" fmla="*/ 99 h 590"/>
                  <a:gd name="T62" fmla="*/ 5 w 380"/>
                  <a:gd name="T63" fmla="*/ 151 h 590"/>
                  <a:gd name="T64" fmla="*/ 1 w 380"/>
                  <a:gd name="T65" fmla="*/ 206 h 590"/>
                  <a:gd name="T66" fmla="*/ 12 w 380"/>
                  <a:gd name="T67" fmla="*/ 253 h 590"/>
                  <a:gd name="T68" fmla="*/ 33 w 380"/>
                  <a:gd name="T69" fmla="*/ 296 h 590"/>
                  <a:gd name="T70" fmla="*/ 64 w 380"/>
                  <a:gd name="T71" fmla="*/ 331 h 590"/>
                  <a:gd name="T72" fmla="*/ 102 w 380"/>
                  <a:gd name="T73" fmla="*/ 358 h 590"/>
                  <a:gd name="T74" fmla="*/ 147 w 380"/>
                  <a:gd name="T75" fmla="*/ 374 h 590"/>
                  <a:gd name="T76" fmla="*/ 151 w 380"/>
                  <a:gd name="T77" fmla="*/ 587 h 590"/>
                  <a:gd name="T78" fmla="*/ 165 w 380"/>
                  <a:gd name="T79" fmla="*/ 589 h 590"/>
                  <a:gd name="T80" fmla="*/ 172 w 380"/>
                  <a:gd name="T81" fmla="*/ 577 h 590"/>
                  <a:gd name="T82" fmla="*/ 191 w 380"/>
                  <a:gd name="T83" fmla="*/ 379 h 590"/>
                  <a:gd name="T84" fmla="*/ 209 w 380"/>
                  <a:gd name="T85" fmla="*/ 577 h 590"/>
                  <a:gd name="T86" fmla="*/ 216 w 380"/>
                  <a:gd name="T87" fmla="*/ 589 h 590"/>
                  <a:gd name="T88" fmla="*/ 229 w 380"/>
                  <a:gd name="T89" fmla="*/ 587 h 590"/>
                  <a:gd name="T90" fmla="*/ 233 w 380"/>
                  <a:gd name="T91" fmla="*/ 374 h 590"/>
                  <a:gd name="T92" fmla="*/ 277 w 380"/>
                  <a:gd name="T93" fmla="*/ 358 h 590"/>
                  <a:gd name="T94" fmla="*/ 316 w 380"/>
                  <a:gd name="T95" fmla="*/ 331 h 590"/>
                  <a:gd name="T96" fmla="*/ 347 w 380"/>
                  <a:gd name="T97" fmla="*/ 296 h 590"/>
                  <a:gd name="T98" fmla="*/ 369 w 380"/>
                  <a:gd name="T99" fmla="*/ 253 h 590"/>
                  <a:gd name="T100" fmla="*/ 380 w 380"/>
                  <a:gd name="T101" fmla="*/ 206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80" h="590">
                    <a:moveTo>
                      <a:pt x="191" y="354"/>
                    </a:moveTo>
                    <a:lnTo>
                      <a:pt x="174" y="354"/>
                    </a:lnTo>
                    <a:lnTo>
                      <a:pt x="158" y="352"/>
                    </a:lnTo>
                    <a:lnTo>
                      <a:pt x="141" y="347"/>
                    </a:lnTo>
                    <a:lnTo>
                      <a:pt x="126" y="341"/>
                    </a:lnTo>
                    <a:lnTo>
                      <a:pt x="112" y="334"/>
                    </a:lnTo>
                    <a:lnTo>
                      <a:pt x="98" y="326"/>
                    </a:lnTo>
                    <a:lnTo>
                      <a:pt x="85" y="317"/>
                    </a:lnTo>
                    <a:lnTo>
                      <a:pt x="73" y="306"/>
                    </a:lnTo>
                    <a:lnTo>
                      <a:pt x="62" y="294"/>
                    </a:lnTo>
                    <a:lnTo>
                      <a:pt x="53" y="281"/>
                    </a:lnTo>
                    <a:lnTo>
                      <a:pt x="45" y="269"/>
                    </a:lnTo>
                    <a:lnTo>
                      <a:pt x="38" y="253"/>
                    </a:lnTo>
                    <a:lnTo>
                      <a:pt x="32" y="238"/>
                    </a:lnTo>
                    <a:lnTo>
                      <a:pt x="28" y="223"/>
                    </a:lnTo>
                    <a:lnTo>
                      <a:pt x="25" y="206"/>
                    </a:lnTo>
                    <a:lnTo>
                      <a:pt x="25" y="190"/>
                    </a:lnTo>
                    <a:lnTo>
                      <a:pt x="25" y="172"/>
                    </a:lnTo>
                    <a:lnTo>
                      <a:pt x="28" y="156"/>
                    </a:lnTo>
                    <a:lnTo>
                      <a:pt x="32" y="141"/>
                    </a:lnTo>
                    <a:lnTo>
                      <a:pt x="38" y="125"/>
                    </a:lnTo>
                    <a:lnTo>
                      <a:pt x="45" y="110"/>
                    </a:lnTo>
                    <a:lnTo>
                      <a:pt x="53" y="97"/>
                    </a:lnTo>
                    <a:lnTo>
                      <a:pt x="62" y="84"/>
                    </a:lnTo>
                    <a:lnTo>
                      <a:pt x="73" y="72"/>
                    </a:lnTo>
                    <a:lnTo>
                      <a:pt x="85" y="62"/>
                    </a:lnTo>
                    <a:lnTo>
                      <a:pt x="98" y="52"/>
                    </a:lnTo>
                    <a:lnTo>
                      <a:pt x="112" y="44"/>
                    </a:lnTo>
                    <a:lnTo>
                      <a:pt x="126" y="37"/>
                    </a:lnTo>
                    <a:lnTo>
                      <a:pt x="141" y="31"/>
                    </a:lnTo>
                    <a:lnTo>
                      <a:pt x="158" y="28"/>
                    </a:lnTo>
                    <a:lnTo>
                      <a:pt x="174" y="24"/>
                    </a:lnTo>
                    <a:lnTo>
                      <a:pt x="191" y="24"/>
                    </a:lnTo>
                    <a:lnTo>
                      <a:pt x="207" y="24"/>
                    </a:lnTo>
                    <a:lnTo>
                      <a:pt x="223" y="28"/>
                    </a:lnTo>
                    <a:lnTo>
                      <a:pt x="240" y="31"/>
                    </a:lnTo>
                    <a:lnTo>
                      <a:pt x="255" y="37"/>
                    </a:lnTo>
                    <a:lnTo>
                      <a:pt x="269" y="44"/>
                    </a:lnTo>
                    <a:lnTo>
                      <a:pt x="283" y="52"/>
                    </a:lnTo>
                    <a:lnTo>
                      <a:pt x="295" y="62"/>
                    </a:lnTo>
                    <a:lnTo>
                      <a:pt x="307" y="72"/>
                    </a:lnTo>
                    <a:lnTo>
                      <a:pt x="319" y="84"/>
                    </a:lnTo>
                    <a:lnTo>
                      <a:pt x="328" y="97"/>
                    </a:lnTo>
                    <a:lnTo>
                      <a:pt x="336" y="110"/>
                    </a:lnTo>
                    <a:lnTo>
                      <a:pt x="343" y="125"/>
                    </a:lnTo>
                    <a:lnTo>
                      <a:pt x="348" y="141"/>
                    </a:lnTo>
                    <a:lnTo>
                      <a:pt x="353" y="156"/>
                    </a:lnTo>
                    <a:lnTo>
                      <a:pt x="355" y="172"/>
                    </a:lnTo>
                    <a:lnTo>
                      <a:pt x="356" y="190"/>
                    </a:lnTo>
                    <a:lnTo>
                      <a:pt x="355" y="206"/>
                    </a:lnTo>
                    <a:lnTo>
                      <a:pt x="353" y="223"/>
                    </a:lnTo>
                    <a:lnTo>
                      <a:pt x="348" y="238"/>
                    </a:lnTo>
                    <a:lnTo>
                      <a:pt x="343" y="253"/>
                    </a:lnTo>
                    <a:lnTo>
                      <a:pt x="336" y="269"/>
                    </a:lnTo>
                    <a:lnTo>
                      <a:pt x="328" y="281"/>
                    </a:lnTo>
                    <a:lnTo>
                      <a:pt x="319" y="294"/>
                    </a:lnTo>
                    <a:lnTo>
                      <a:pt x="307" y="306"/>
                    </a:lnTo>
                    <a:lnTo>
                      <a:pt x="295" y="317"/>
                    </a:lnTo>
                    <a:lnTo>
                      <a:pt x="283" y="326"/>
                    </a:lnTo>
                    <a:lnTo>
                      <a:pt x="269" y="334"/>
                    </a:lnTo>
                    <a:lnTo>
                      <a:pt x="255" y="341"/>
                    </a:lnTo>
                    <a:lnTo>
                      <a:pt x="240" y="347"/>
                    </a:lnTo>
                    <a:lnTo>
                      <a:pt x="223" y="352"/>
                    </a:lnTo>
                    <a:lnTo>
                      <a:pt x="207" y="354"/>
                    </a:lnTo>
                    <a:lnTo>
                      <a:pt x="191" y="354"/>
                    </a:lnTo>
                    <a:close/>
                    <a:moveTo>
                      <a:pt x="380" y="190"/>
                    </a:moveTo>
                    <a:lnTo>
                      <a:pt x="378" y="170"/>
                    </a:lnTo>
                    <a:lnTo>
                      <a:pt x="376" y="151"/>
                    </a:lnTo>
                    <a:lnTo>
                      <a:pt x="371" y="133"/>
                    </a:lnTo>
                    <a:lnTo>
                      <a:pt x="364" y="116"/>
                    </a:lnTo>
                    <a:lnTo>
                      <a:pt x="357" y="99"/>
                    </a:lnTo>
                    <a:lnTo>
                      <a:pt x="347" y="83"/>
                    </a:lnTo>
                    <a:lnTo>
                      <a:pt x="336" y="69"/>
                    </a:lnTo>
                    <a:lnTo>
                      <a:pt x="324" y="56"/>
                    </a:lnTo>
                    <a:lnTo>
                      <a:pt x="310" y="43"/>
                    </a:lnTo>
                    <a:lnTo>
                      <a:pt x="296" y="32"/>
                    </a:lnTo>
                    <a:lnTo>
                      <a:pt x="281" y="23"/>
                    </a:lnTo>
                    <a:lnTo>
                      <a:pt x="264" y="15"/>
                    </a:lnTo>
                    <a:lnTo>
                      <a:pt x="247" y="8"/>
                    </a:lnTo>
                    <a:lnTo>
                      <a:pt x="228" y="3"/>
                    </a:lnTo>
                    <a:lnTo>
                      <a:pt x="209" y="1"/>
                    </a:lnTo>
                    <a:lnTo>
                      <a:pt x="191" y="0"/>
                    </a:lnTo>
                    <a:lnTo>
                      <a:pt x="171" y="1"/>
                    </a:lnTo>
                    <a:lnTo>
                      <a:pt x="152" y="3"/>
                    </a:lnTo>
                    <a:lnTo>
                      <a:pt x="134" y="8"/>
                    </a:lnTo>
                    <a:lnTo>
                      <a:pt x="117" y="15"/>
                    </a:lnTo>
                    <a:lnTo>
                      <a:pt x="100" y="23"/>
                    </a:lnTo>
                    <a:lnTo>
                      <a:pt x="85" y="32"/>
                    </a:lnTo>
                    <a:lnTo>
                      <a:pt x="70" y="43"/>
                    </a:lnTo>
                    <a:lnTo>
                      <a:pt x="57" y="56"/>
                    </a:lnTo>
                    <a:lnTo>
                      <a:pt x="44" y="69"/>
                    </a:lnTo>
                    <a:lnTo>
                      <a:pt x="33" y="83"/>
                    </a:lnTo>
                    <a:lnTo>
                      <a:pt x="24" y="99"/>
                    </a:lnTo>
                    <a:lnTo>
                      <a:pt x="16" y="116"/>
                    </a:lnTo>
                    <a:lnTo>
                      <a:pt x="10" y="133"/>
                    </a:lnTo>
                    <a:lnTo>
                      <a:pt x="5" y="151"/>
                    </a:lnTo>
                    <a:lnTo>
                      <a:pt x="1" y="170"/>
                    </a:lnTo>
                    <a:lnTo>
                      <a:pt x="0" y="190"/>
                    </a:lnTo>
                    <a:lnTo>
                      <a:pt x="1" y="206"/>
                    </a:lnTo>
                    <a:lnTo>
                      <a:pt x="4" y="223"/>
                    </a:lnTo>
                    <a:lnTo>
                      <a:pt x="7" y="238"/>
                    </a:lnTo>
                    <a:lnTo>
                      <a:pt x="12" y="253"/>
                    </a:lnTo>
                    <a:lnTo>
                      <a:pt x="18" y="269"/>
                    </a:lnTo>
                    <a:lnTo>
                      <a:pt x="25" y="281"/>
                    </a:lnTo>
                    <a:lnTo>
                      <a:pt x="33" y="296"/>
                    </a:lnTo>
                    <a:lnTo>
                      <a:pt x="43" y="308"/>
                    </a:lnTo>
                    <a:lnTo>
                      <a:pt x="53" y="320"/>
                    </a:lnTo>
                    <a:lnTo>
                      <a:pt x="64" y="331"/>
                    </a:lnTo>
                    <a:lnTo>
                      <a:pt x="77" y="340"/>
                    </a:lnTo>
                    <a:lnTo>
                      <a:pt x="89" y="350"/>
                    </a:lnTo>
                    <a:lnTo>
                      <a:pt x="102" y="358"/>
                    </a:lnTo>
                    <a:lnTo>
                      <a:pt x="118" y="364"/>
                    </a:lnTo>
                    <a:lnTo>
                      <a:pt x="132" y="370"/>
                    </a:lnTo>
                    <a:lnTo>
                      <a:pt x="147" y="374"/>
                    </a:lnTo>
                    <a:lnTo>
                      <a:pt x="147" y="577"/>
                    </a:lnTo>
                    <a:lnTo>
                      <a:pt x="148" y="582"/>
                    </a:lnTo>
                    <a:lnTo>
                      <a:pt x="151" y="587"/>
                    </a:lnTo>
                    <a:lnTo>
                      <a:pt x="155" y="589"/>
                    </a:lnTo>
                    <a:lnTo>
                      <a:pt x="159" y="590"/>
                    </a:lnTo>
                    <a:lnTo>
                      <a:pt x="165" y="589"/>
                    </a:lnTo>
                    <a:lnTo>
                      <a:pt x="168" y="587"/>
                    </a:lnTo>
                    <a:lnTo>
                      <a:pt x="171" y="582"/>
                    </a:lnTo>
                    <a:lnTo>
                      <a:pt x="172" y="577"/>
                    </a:lnTo>
                    <a:lnTo>
                      <a:pt x="172" y="378"/>
                    </a:lnTo>
                    <a:lnTo>
                      <a:pt x="181" y="379"/>
                    </a:lnTo>
                    <a:lnTo>
                      <a:pt x="191" y="379"/>
                    </a:lnTo>
                    <a:lnTo>
                      <a:pt x="200" y="379"/>
                    </a:lnTo>
                    <a:lnTo>
                      <a:pt x="209" y="378"/>
                    </a:lnTo>
                    <a:lnTo>
                      <a:pt x="209" y="577"/>
                    </a:lnTo>
                    <a:lnTo>
                      <a:pt x="210" y="582"/>
                    </a:lnTo>
                    <a:lnTo>
                      <a:pt x="213" y="587"/>
                    </a:lnTo>
                    <a:lnTo>
                      <a:pt x="216" y="589"/>
                    </a:lnTo>
                    <a:lnTo>
                      <a:pt x="221" y="590"/>
                    </a:lnTo>
                    <a:lnTo>
                      <a:pt x="226" y="589"/>
                    </a:lnTo>
                    <a:lnTo>
                      <a:pt x="229" y="587"/>
                    </a:lnTo>
                    <a:lnTo>
                      <a:pt x="233" y="582"/>
                    </a:lnTo>
                    <a:lnTo>
                      <a:pt x="233" y="577"/>
                    </a:lnTo>
                    <a:lnTo>
                      <a:pt x="233" y="374"/>
                    </a:lnTo>
                    <a:lnTo>
                      <a:pt x="249" y="370"/>
                    </a:lnTo>
                    <a:lnTo>
                      <a:pt x="263" y="364"/>
                    </a:lnTo>
                    <a:lnTo>
                      <a:pt x="277" y="358"/>
                    </a:lnTo>
                    <a:lnTo>
                      <a:pt x="292" y="350"/>
                    </a:lnTo>
                    <a:lnTo>
                      <a:pt x="304" y="340"/>
                    </a:lnTo>
                    <a:lnTo>
                      <a:pt x="316" y="331"/>
                    </a:lnTo>
                    <a:lnTo>
                      <a:pt x="328" y="320"/>
                    </a:lnTo>
                    <a:lnTo>
                      <a:pt x="338" y="308"/>
                    </a:lnTo>
                    <a:lnTo>
                      <a:pt x="347" y="296"/>
                    </a:lnTo>
                    <a:lnTo>
                      <a:pt x="356" y="281"/>
                    </a:lnTo>
                    <a:lnTo>
                      <a:pt x="363" y="269"/>
                    </a:lnTo>
                    <a:lnTo>
                      <a:pt x="369" y="253"/>
                    </a:lnTo>
                    <a:lnTo>
                      <a:pt x="374" y="238"/>
                    </a:lnTo>
                    <a:lnTo>
                      <a:pt x="377" y="223"/>
                    </a:lnTo>
                    <a:lnTo>
                      <a:pt x="380" y="206"/>
                    </a:lnTo>
                    <a:lnTo>
                      <a:pt x="380" y="19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5" name="Freeform 229"/>
              <p:cNvSpPr>
                <a:spLocks/>
              </p:cNvSpPr>
              <p:nvPr/>
            </p:nvSpPr>
            <p:spPr bwMode="auto">
              <a:xfrm>
                <a:off x="6381751" y="4906963"/>
                <a:ext cx="33338" cy="33338"/>
              </a:xfrm>
              <a:custGeom>
                <a:avLst/>
                <a:gdLst>
                  <a:gd name="T0" fmla="*/ 61 w 82"/>
                  <a:gd name="T1" fmla="*/ 4 h 85"/>
                  <a:gd name="T2" fmla="*/ 2 w 82"/>
                  <a:gd name="T3" fmla="*/ 63 h 85"/>
                  <a:gd name="T4" fmla="*/ 0 w 82"/>
                  <a:gd name="T5" fmla="*/ 68 h 85"/>
                  <a:gd name="T6" fmla="*/ 0 w 82"/>
                  <a:gd name="T7" fmla="*/ 73 h 85"/>
                  <a:gd name="T8" fmla="*/ 0 w 82"/>
                  <a:gd name="T9" fmla="*/ 78 h 85"/>
                  <a:gd name="T10" fmla="*/ 3 w 82"/>
                  <a:gd name="T11" fmla="*/ 81 h 85"/>
                  <a:gd name="T12" fmla="*/ 7 w 82"/>
                  <a:gd name="T13" fmla="*/ 83 h 85"/>
                  <a:gd name="T14" fmla="*/ 12 w 82"/>
                  <a:gd name="T15" fmla="*/ 85 h 85"/>
                  <a:gd name="T16" fmla="*/ 16 w 82"/>
                  <a:gd name="T17" fmla="*/ 83 h 85"/>
                  <a:gd name="T18" fmla="*/ 20 w 82"/>
                  <a:gd name="T19" fmla="*/ 81 h 85"/>
                  <a:gd name="T20" fmla="*/ 78 w 82"/>
                  <a:gd name="T21" fmla="*/ 20 h 85"/>
                  <a:gd name="T22" fmla="*/ 81 w 82"/>
                  <a:gd name="T23" fmla="*/ 16 h 85"/>
                  <a:gd name="T24" fmla="*/ 82 w 82"/>
                  <a:gd name="T25" fmla="*/ 12 h 85"/>
                  <a:gd name="T26" fmla="*/ 81 w 82"/>
                  <a:gd name="T27" fmla="*/ 7 h 85"/>
                  <a:gd name="T28" fmla="*/ 78 w 82"/>
                  <a:gd name="T29" fmla="*/ 4 h 85"/>
                  <a:gd name="T30" fmla="*/ 75 w 82"/>
                  <a:gd name="T31" fmla="*/ 0 h 85"/>
                  <a:gd name="T32" fmla="*/ 70 w 82"/>
                  <a:gd name="T33" fmla="*/ 0 h 85"/>
                  <a:gd name="T34" fmla="*/ 66 w 82"/>
                  <a:gd name="T35" fmla="*/ 1 h 85"/>
                  <a:gd name="T36" fmla="*/ 61 w 82"/>
                  <a:gd name="T37" fmla="*/ 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2" h="85">
                    <a:moveTo>
                      <a:pt x="61" y="4"/>
                    </a:moveTo>
                    <a:lnTo>
                      <a:pt x="2" y="63"/>
                    </a:lnTo>
                    <a:lnTo>
                      <a:pt x="0" y="68"/>
                    </a:lnTo>
                    <a:lnTo>
                      <a:pt x="0" y="73"/>
                    </a:lnTo>
                    <a:lnTo>
                      <a:pt x="0" y="78"/>
                    </a:lnTo>
                    <a:lnTo>
                      <a:pt x="3" y="81"/>
                    </a:lnTo>
                    <a:lnTo>
                      <a:pt x="7" y="83"/>
                    </a:lnTo>
                    <a:lnTo>
                      <a:pt x="12" y="85"/>
                    </a:lnTo>
                    <a:lnTo>
                      <a:pt x="16" y="83"/>
                    </a:lnTo>
                    <a:lnTo>
                      <a:pt x="20" y="81"/>
                    </a:lnTo>
                    <a:lnTo>
                      <a:pt x="78" y="20"/>
                    </a:lnTo>
                    <a:lnTo>
                      <a:pt x="81" y="16"/>
                    </a:lnTo>
                    <a:lnTo>
                      <a:pt x="82" y="12"/>
                    </a:lnTo>
                    <a:lnTo>
                      <a:pt x="81" y="7"/>
                    </a:lnTo>
                    <a:lnTo>
                      <a:pt x="78" y="4"/>
                    </a:lnTo>
                    <a:lnTo>
                      <a:pt x="75" y="0"/>
                    </a:lnTo>
                    <a:lnTo>
                      <a:pt x="70" y="0"/>
                    </a:lnTo>
                    <a:lnTo>
                      <a:pt x="66" y="1"/>
                    </a:lnTo>
                    <a:lnTo>
                      <a:pt x="61" y="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6" name="Rectangle 230"/>
              <p:cNvSpPr>
                <a:spLocks noChangeArrowheads="1"/>
              </p:cNvSpPr>
              <p:nvPr/>
            </p:nvSpPr>
            <p:spPr bwMode="auto">
              <a:xfrm>
                <a:off x="6030913" y="4935538"/>
                <a:ext cx="80963" cy="2540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7" name="Rectangle 231"/>
              <p:cNvSpPr>
                <a:spLocks noChangeArrowheads="1"/>
              </p:cNvSpPr>
              <p:nvPr/>
            </p:nvSpPr>
            <p:spPr bwMode="auto">
              <a:xfrm>
                <a:off x="5919788" y="5089526"/>
                <a:ext cx="304800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8" name="Rectangle 232"/>
              <p:cNvSpPr>
                <a:spLocks noChangeArrowheads="1"/>
              </p:cNvSpPr>
              <p:nvPr/>
            </p:nvSpPr>
            <p:spPr bwMode="auto">
              <a:xfrm>
                <a:off x="5686426" y="5089526"/>
                <a:ext cx="141288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9" name="Rectangle 233"/>
              <p:cNvSpPr>
                <a:spLocks noChangeArrowheads="1"/>
              </p:cNvSpPr>
              <p:nvPr/>
            </p:nvSpPr>
            <p:spPr bwMode="auto">
              <a:xfrm>
                <a:off x="6316663" y="5089526"/>
                <a:ext cx="141288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0" name="Rectangle 234"/>
              <p:cNvSpPr>
                <a:spLocks noChangeArrowheads="1"/>
              </p:cNvSpPr>
              <p:nvPr/>
            </p:nvSpPr>
            <p:spPr bwMode="auto">
              <a:xfrm>
                <a:off x="5649913" y="5019676"/>
                <a:ext cx="36513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1" name="Rectangle 235"/>
              <p:cNvSpPr>
                <a:spLocks noChangeArrowheads="1"/>
              </p:cNvSpPr>
              <p:nvPr/>
            </p:nvSpPr>
            <p:spPr bwMode="auto">
              <a:xfrm>
                <a:off x="6457951" y="5019676"/>
                <a:ext cx="36513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2" name="Rectangle 236"/>
              <p:cNvSpPr>
                <a:spLocks noChangeArrowheads="1"/>
              </p:cNvSpPr>
              <p:nvPr/>
            </p:nvSpPr>
            <p:spPr bwMode="auto">
              <a:xfrm>
                <a:off x="5827713" y="5019676"/>
                <a:ext cx="92075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3" name="Rectangle 237"/>
              <p:cNvSpPr>
                <a:spLocks noChangeArrowheads="1"/>
              </p:cNvSpPr>
              <p:nvPr/>
            </p:nvSpPr>
            <p:spPr bwMode="auto">
              <a:xfrm>
                <a:off x="6224588" y="5019676"/>
                <a:ext cx="92075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4" name="Rectangle 238"/>
              <p:cNvSpPr>
                <a:spLocks noChangeArrowheads="1"/>
              </p:cNvSpPr>
              <p:nvPr/>
            </p:nvSpPr>
            <p:spPr bwMode="auto">
              <a:xfrm>
                <a:off x="5994401" y="4960938"/>
                <a:ext cx="155575" cy="128588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5" name="Rectangle 239"/>
              <p:cNvSpPr>
                <a:spLocks noChangeArrowheads="1"/>
              </p:cNvSpPr>
              <p:nvPr/>
            </p:nvSpPr>
            <p:spPr bwMode="auto">
              <a:xfrm>
                <a:off x="5943601" y="4648201"/>
                <a:ext cx="257175" cy="26035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6" name="Freeform 240"/>
              <p:cNvSpPr>
                <a:spLocks noEditPoints="1"/>
              </p:cNvSpPr>
              <p:nvPr/>
            </p:nvSpPr>
            <p:spPr bwMode="auto">
              <a:xfrm>
                <a:off x="5915026" y="4621213"/>
                <a:ext cx="312738" cy="314325"/>
              </a:xfrm>
              <a:custGeom>
                <a:avLst/>
                <a:gdLst>
                  <a:gd name="T0" fmla="*/ 70 w 788"/>
                  <a:gd name="T1" fmla="*/ 723 h 794"/>
                  <a:gd name="T2" fmla="*/ 719 w 788"/>
                  <a:gd name="T3" fmla="*/ 723 h 794"/>
                  <a:gd name="T4" fmla="*/ 719 w 788"/>
                  <a:gd name="T5" fmla="*/ 70 h 794"/>
                  <a:gd name="T6" fmla="*/ 70 w 788"/>
                  <a:gd name="T7" fmla="*/ 70 h 794"/>
                  <a:gd name="T8" fmla="*/ 70 w 788"/>
                  <a:gd name="T9" fmla="*/ 723 h 794"/>
                  <a:gd name="T10" fmla="*/ 727 w 788"/>
                  <a:gd name="T11" fmla="*/ 794 h 794"/>
                  <a:gd name="T12" fmla="*/ 62 w 788"/>
                  <a:gd name="T13" fmla="*/ 794 h 794"/>
                  <a:gd name="T14" fmla="*/ 56 w 788"/>
                  <a:gd name="T15" fmla="*/ 793 h 794"/>
                  <a:gd name="T16" fmla="*/ 49 w 788"/>
                  <a:gd name="T17" fmla="*/ 793 h 794"/>
                  <a:gd name="T18" fmla="*/ 43 w 788"/>
                  <a:gd name="T19" fmla="*/ 790 h 794"/>
                  <a:gd name="T20" fmla="*/ 37 w 788"/>
                  <a:gd name="T21" fmla="*/ 788 h 794"/>
                  <a:gd name="T22" fmla="*/ 27 w 788"/>
                  <a:gd name="T23" fmla="*/ 783 h 794"/>
                  <a:gd name="T24" fmla="*/ 19 w 788"/>
                  <a:gd name="T25" fmla="*/ 775 h 794"/>
                  <a:gd name="T26" fmla="*/ 10 w 788"/>
                  <a:gd name="T27" fmla="*/ 766 h 794"/>
                  <a:gd name="T28" fmla="*/ 5 w 788"/>
                  <a:gd name="T29" fmla="*/ 755 h 794"/>
                  <a:gd name="T30" fmla="*/ 2 w 788"/>
                  <a:gd name="T31" fmla="*/ 749 h 794"/>
                  <a:gd name="T32" fmla="*/ 1 w 788"/>
                  <a:gd name="T33" fmla="*/ 743 h 794"/>
                  <a:gd name="T34" fmla="*/ 0 w 788"/>
                  <a:gd name="T35" fmla="*/ 737 h 794"/>
                  <a:gd name="T36" fmla="*/ 0 w 788"/>
                  <a:gd name="T37" fmla="*/ 732 h 794"/>
                  <a:gd name="T38" fmla="*/ 0 w 788"/>
                  <a:gd name="T39" fmla="*/ 62 h 794"/>
                  <a:gd name="T40" fmla="*/ 0 w 788"/>
                  <a:gd name="T41" fmla="*/ 55 h 794"/>
                  <a:gd name="T42" fmla="*/ 1 w 788"/>
                  <a:gd name="T43" fmla="*/ 49 h 794"/>
                  <a:gd name="T44" fmla="*/ 2 w 788"/>
                  <a:gd name="T45" fmla="*/ 43 h 794"/>
                  <a:gd name="T46" fmla="*/ 5 w 788"/>
                  <a:gd name="T47" fmla="*/ 37 h 794"/>
                  <a:gd name="T48" fmla="*/ 10 w 788"/>
                  <a:gd name="T49" fmla="*/ 27 h 794"/>
                  <a:gd name="T50" fmla="*/ 19 w 788"/>
                  <a:gd name="T51" fmla="*/ 17 h 794"/>
                  <a:gd name="T52" fmla="*/ 27 w 788"/>
                  <a:gd name="T53" fmla="*/ 10 h 794"/>
                  <a:gd name="T54" fmla="*/ 37 w 788"/>
                  <a:gd name="T55" fmla="*/ 5 h 794"/>
                  <a:gd name="T56" fmla="*/ 43 w 788"/>
                  <a:gd name="T57" fmla="*/ 2 h 794"/>
                  <a:gd name="T58" fmla="*/ 49 w 788"/>
                  <a:gd name="T59" fmla="*/ 1 h 794"/>
                  <a:gd name="T60" fmla="*/ 56 w 788"/>
                  <a:gd name="T61" fmla="*/ 0 h 794"/>
                  <a:gd name="T62" fmla="*/ 62 w 788"/>
                  <a:gd name="T63" fmla="*/ 0 h 794"/>
                  <a:gd name="T64" fmla="*/ 727 w 788"/>
                  <a:gd name="T65" fmla="*/ 0 h 794"/>
                  <a:gd name="T66" fmla="*/ 733 w 788"/>
                  <a:gd name="T67" fmla="*/ 0 h 794"/>
                  <a:gd name="T68" fmla="*/ 739 w 788"/>
                  <a:gd name="T69" fmla="*/ 1 h 794"/>
                  <a:gd name="T70" fmla="*/ 746 w 788"/>
                  <a:gd name="T71" fmla="*/ 2 h 794"/>
                  <a:gd name="T72" fmla="*/ 750 w 788"/>
                  <a:gd name="T73" fmla="*/ 5 h 794"/>
                  <a:gd name="T74" fmla="*/ 761 w 788"/>
                  <a:gd name="T75" fmla="*/ 10 h 794"/>
                  <a:gd name="T76" fmla="*/ 770 w 788"/>
                  <a:gd name="T77" fmla="*/ 17 h 794"/>
                  <a:gd name="T78" fmla="*/ 777 w 788"/>
                  <a:gd name="T79" fmla="*/ 27 h 794"/>
                  <a:gd name="T80" fmla="*/ 783 w 788"/>
                  <a:gd name="T81" fmla="*/ 37 h 794"/>
                  <a:gd name="T82" fmla="*/ 786 w 788"/>
                  <a:gd name="T83" fmla="*/ 43 h 794"/>
                  <a:gd name="T84" fmla="*/ 787 w 788"/>
                  <a:gd name="T85" fmla="*/ 49 h 794"/>
                  <a:gd name="T86" fmla="*/ 788 w 788"/>
                  <a:gd name="T87" fmla="*/ 55 h 794"/>
                  <a:gd name="T88" fmla="*/ 788 w 788"/>
                  <a:gd name="T89" fmla="*/ 62 h 794"/>
                  <a:gd name="T90" fmla="*/ 788 w 788"/>
                  <a:gd name="T91" fmla="*/ 732 h 794"/>
                  <a:gd name="T92" fmla="*/ 788 w 788"/>
                  <a:gd name="T93" fmla="*/ 737 h 794"/>
                  <a:gd name="T94" fmla="*/ 787 w 788"/>
                  <a:gd name="T95" fmla="*/ 743 h 794"/>
                  <a:gd name="T96" fmla="*/ 786 w 788"/>
                  <a:gd name="T97" fmla="*/ 749 h 794"/>
                  <a:gd name="T98" fmla="*/ 783 w 788"/>
                  <a:gd name="T99" fmla="*/ 755 h 794"/>
                  <a:gd name="T100" fmla="*/ 777 w 788"/>
                  <a:gd name="T101" fmla="*/ 766 h 794"/>
                  <a:gd name="T102" fmla="*/ 770 w 788"/>
                  <a:gd name="T103" fmla="*/ 775 h 794"/>
                  <a:gd name="T104" fmla="*/ 761 w 788"/>
                  <a:gd name="T105" fmla="*/ 783 h 794"/>
                  <a:gd name="T106" fmla="*/ 750 w 788"/>
                  <a:gd name="T107" fmla="*/ 788 h 794"/>
                  <a:gd name="T108" fmla="*/ 746 w 788"/>
                  <a:gd name="T109" fmla="*/ 790 h 794"/>
                  <a:gd name="T110" fmla="*/ 739 w 788"/>
                  <a:gd name="T111" fmla="*/ 793 h 794"/>
                  <a:gd name="T112" fmla="*/ 733 w 788"/>
                  <a:gd name="T113" fmla="*/ 793 h 794"/>
                  <a:gd name="T114" fmla="*/ 727 w 788"/>
                  <a:gd name="T115" fmla="*/ 794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8" h="794">
                    <a:moveTo>
                      <a:pt x="70" y="723"/>
                    </a:moveTo>
                    <a:lnTo>
                      <a:pt x="719" y="723"/>
                    </a:lnTo>
                    <a:lnTo>
                      <a:pt x="719" y="70"/>
                    </a:lnTo>
                    <a:lnTo>
                      <a:pt x="70" y="70"/>
                    </a:lnTo>
                    <a:lnTo>
                      <a:pt x="70" y="723"/>
                    </a:lnTo>
                    <a:close/>
                    <a:moveTo>
                      <a:pt x="727" y="794"/>
                    </a:moveTo>
                    <a:lnTo>
                      <a:pt x="62" y="794"/>
                    </a:lnTo>
                    <a:lnTo>
                      <a:pt x="56" y="793"/>
                    </a:lnTo>
                    <a:lnTo>
                      <a:pt x="49" y="793"/>
                    </a:lnTo>
                    <a:lnTo>
                      <a:pt x="43" y="790"/>
                    </a:lnTo>
                    <a:lnTo>
                      <a:pt x="37" y="788"/>
                    </a:lnTo>
                    <a:lnTo>
                      <a:pt x="27" y="783"/>
                    </a:lnTo>
                    <a:lnTo>
                      <a:pt x="19" y="775"/>
                    </a:lnTo>
                    <a:lnTo>
                      <a:pt x="10" y="766"/>
                    </a:lnTo>
                    <a:lnTo>
                      <a:pt x="5" y="755"/>
                    </a:lnTo>
                    <a:lnTo>
                      <a:pt x="2" y="749"/>
                    </a:lnTo>
                    <a:lnTo>
                      <a:pt x="1" y="743"/>
                    </a:lnTo>
                    <a:lnTo>
                      <a:pt x="0" y="737"/>
                    </a:lnTo>
                    <a:lnTo>
                      <a:pt x="0" y="732"/>
                    </a:lnTo>
                    <a:lnTo>
                      <a:pt x="0" y="62"/>
                    </a:lnTo>
                    <a:lnTo>
                      <a:pt x="0" y="55"/>
                    </a:lnTo>
                    <a:lnTo>
                      <a:pt x="1" y="49"/>
                    </a:lnTo>
                    <a:lnTo>
                      <a:pt x="2" y="43"/>
                    </a:lnTo>
                    <a:lnTo>
                      <a:pt x="5" y="37"/>
                    </a:lnTo>
                    <a:lnTo>
                      <a:pt x="10" y="27"/>
                    </a:lnTo>
                    <a:lnTo>
                      <a:pt x="19" y="17"/>
                    </a:lnTo>
                    <a:lnTo>
                      <a:pt x="27" y="10"/>
                    </a:lnTo>
                    <a:lnTo>
                      <a:pt x="37" y="5"/>
                    </a:lnTo>
                    <a:lnTo>
                      <a:pt x="43" y="2"/>
                    </a:lnTo>
                    <a:lnTo>
                      <a:pt x="49" y="1"/>
                    </a:lnTo>
                    <a:lnTo>
                      <a:pt x="56" y="0"/>
                    </a:lnTo>
                    <a:lnTo>
                      <a:pt x="62" y="0"/>
                    </a:lnTo>
                    <a:lnTo>
                      <a:pt x="727" y="0"/>
                    </a:lnTo>
                    <a:lnTo>
                      <a:pt x="733" y="0"/>
                    </a:lnTo>
                    <a:lnTo>
                      <a:pt x="739" y="1"/>
                    </a:lnTo>
                    <a:lnTo>
                      <a:pt x="746" y="2"/>
                    </a:lnTo>
                    <a:lnTo>
                      <a:pt x="750" y="5"/>
                    </a:lnTo>
                    <a:lnTo>
                      <a:pt x="761" y="10"/>
                    </a:lnTo>
                    <a:lnTo>
                      <a:pt x="770" y="17"/>
                    </a:lnTo>
                    <a:lnTo>
                      <a:pt x="777" y="27"/>
                    </a:lnTo>
                    <a:lnTo>
                      <a:pt x="783" y="37"/>
                    </a:lnTo>
                    <a:lnTo>
                      <a:pt x="786" y="43"/>
                    </a:lnTo>
                    <a:lnTo>
                      <a:pt x="787" y="49"/>
                    </a:lnTo>
                    <a:lnTo>
                      <a:pt x="788" y="55"/>
                    </a:lnTo>
                    <a:lnTo>
                      <a:pt x="788" y="62"/>
                    </a:lnTo>
                    <a:lnTo>
                      <a:pt x="788" y="732"/>
                    </a:lnTo>
                    <a:lnTo>
                      <a:pt x="788" y="737"/>
                    </a:lnTo>
                    <a:lnTo>
                      <a:pt x="787" y="743"/>
                    </a:lnTo>
                    <a:lnTo>
                      <a:pt x="786" y="749"/>
                    </a:lnTo>
                    <a:lnTo>
                      <a:pt x="783" y="755"/>
                    </a:lnTo>
                    <a:lnTo>
                      <a:pt x="777" y="766"/>
                    </a:lnTo>
                    <a:lnTo>
                      <a:pt x="770" y="775"/>
                    </a:lnTo>
                    <a:lnTo>
                      <a:pt x="761" y="783"/>
                    </a:lnTo>
                    <a:lnTo>
                      <a:pt x="750" y="788"/>
                    </a:lnTo>
                    <a:lnTo>
                      <a:pt x="746" y="790"/>
                    </a:lnTo>
                    <a:lnTo>
                      <a:pt x="739" y="793"/>
                    </a:lnTo>
                    <a:lnTo>
                      <a:pt x="733" y="793"/>
                    </a:lnTo>
                    <a:lnTo>
                      <a:pt x="727" y="794"/>
                    </a:lnTo>
                    <a:close/>
                  </a:path>
                </a:pathLst>
              </a:cu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7" name="Freeform 241"/>
              <p:cNvSpPr>
                <a:spLocks noEditPoints="1"/>
              </p:cNvSpPr>
              <p:nvPr/>
            </p:nvSpPr>
            <p:spPr bwMode="auto">
              <a:xfrm>
                <a:off x="5645151" y="4616451"/>
                <a:ext cx="854075" cy="681038"/>
              </a:xfrm>
              <a:custGeom>
                <a:avLst/>
                <a:gdLst>
                  <a:gd name="T0" fmla="*/ 2131 w 2155"/>
                  <a:gd name="T1" fmla="*/ 1693 h 1716"/>
                  <a:gd name="T2" fmla="*/ 1704 w 2155"/>
                  <a:gd name="T3" fmla="*/ 1516 h 1716"/>
                  <a:gd name="T4" fmla="*/ 1679 w 2155"/>
                  <a:gd name="T5" fmla="*/ 1693 h 1716"/>
                  <a:gd name="T6" fmla="*/ 705 w 2155"/>
                  <a:gd name="T7" fmla="*/ 1516 h 1716"/>
                  <a:gd name="T8" fmla="*/ 682 w 2155"/>
                  <a:gd name="T9" fmla="*/ 1693 h 1716"/>
                  <a:gd name="T10" fmla="*/ 118 w 2155"/>
                  <a:gd name="T11" fmla="*/ 1516 h 1716"/>
                  <a:gd name="T12" fmla="*/ 93 w 2155"/>
                  <a:gd name="T13" fmla="*/ 1693 h 1716"/>
                  <a:gd name="T14" fmla="*/ 891 w 2155"/>
                  <a:gd name="T15" fmla="*/ 881 h 1716"/>
                  <a:gd name="T16" fmla="*/ 985 w 2155"/>
                  <a:gd name="T17" fmla="*/ 818 h 1716"/>
                  <a:gd name="T18" fmla="*/ 703 w 2155"/>
                  <a:gd name="T19" fmla="*/ 46 h 1716"/>
                  <a:gd name="T20" fmla="*/ 744 w 2155"/>
                  <a:gd name="T21" fmla="*/ 24 h 1716"/>
                  <a:gd name="T22" fmla="*/ 1444 w 2155"/>
                  <a:gd name="T23" fmla="*/ 39 h 1716"/>
                  <a:gd name="T24" fmla="*/ 1458 w 2155"/>
                  <a:gd name="T25" fmla="*/ 744 h 1716"/>
                  <a:gd name="T26" fmla="*/ 1437 w 2155"/>
                  <a:gd name="T27" fmla="*/ 785 h 1716"/>
                  <a:gd name="T28" fmla="*/ 734 w 2155"/>
                  <a:gd name="T29" fmla="*/ 792 h 1716"/>
                  <a:gd name="T30" fmla="*/ 698 w 2155"/>
                  <a:gd name="T31" fmla="*/ 762 h 1716"/>
                  <a:gd name="T32" fmla="*/ 2044 w 2155"/>
                  <a:gd name="T33" fmla="*/ 1007 h 1716"/>
                  <a:gd name="T34" fmla="*/ 1704 w 2155"/>
                  <a:gd name="T35" fmla="*/ 1182 h 1716"/>
                  <a:gd name="T36" fmla="*/ 1692 w 2155"/>
                  <a:gd name="T37" fmla="*/ 1006 h 1716"/>
                  <a:gd name="T38" fmla="*/ 1448 w 2155"/>
                  <a:gd name="T39" fmla="*/ 1018 h 1716"/>
                  <a:gd name="T40" fmla="*/ 1282 w 2155"/>
                  <a:gd name="T41" fmla="*/ 860 h 1716"/>
                  <a:gd name="T42" fmla="*/ 1409 w 2155"/>
                  <a:gd name="T43" fmla="*/ 818 h 1716"/>
                  <a:gd name="T44" fmla="*/ 1444 w 2155"/>
                  <a:gd name="T45" fmla="*/ 808 h 1716"/>
                  <a:gd name="T46" fmla="*/ 1470 w 2155"/>
                  <a:gd name="T47" fmla="*/ 785 h 1716"/>
                  <a:gd name="T48" fmla="*/ 1483 w 2155"/>
                  <a:gd name="T49" fmla="*/ 751 h 1716"/>
                  <a:gd name="T50" fmla="*/ 1479 w 2155"/>
                  <a:gd name="T51" fmla="*/ 52 h 1716"/>
                  <a:gd name="T52" fmla="*/ 1462 w 2155"/>
                  <a:gd name="T53" fmla="*/ 21 h 1716"/>
                  <a:gd name="T54" fmla="*/ 1431 w 2155"/>
                  <a:gd name="T55" fmla="*/ 4 h 1716"/>
                  <a:gd name="T56" fmla="*/ 737 w 2155"/>
                  <a:gd name="T57" fmla="*/ 0 h 1716"/>
                  <a:gd name="T58" fmla="*/ 703 w 2155"/>
                  <a:gd name="T59" fmla="*/ 13 h 1716"/>
                  <a:gd name="T60" fmla="*/ 678 w 2155"/>
                  <a:gd name="T61" fmla="*/ 39 h 1716"/>
                  <a:gd name="T62" fmla="*/ 670 w 2155"/>
                  <a:gd name="T63" fmla="*/ 74 h 1716"/>
                  <a:gd name="T64" fmla="*/ 676 w 2155"/>
                  <a:gd name="T65" fmla="*/ 772 h 1716"/>
                  <a:gd name="T66" fmla="*/ 697 w 2155"/>
                  <a:gd name="T67" fmla="*/ 800 h 1716"/>
                  <a:gd name="T68" fmla="*/ 729 w 2155"/>
                  <a:gd name="T69" fmla="*/ 816 h 1716"/>
                  <a:gd name="T70" fmla="*/ 879 w 2155"/>
                  <a:gd name="T71" fmla="*/ 856 h 1716"/>
                  <a:gd name="T72" fmla="*/ 867 w 2155"/>
                  <a:gd name="T73" fmla="*/ 1182 h 1716"/>
                  <a:gd name="T74" fmla="*/ 698 w 2155"/>
                  <a:gd name="T75" fmla="*/ 1007 h 1716"/>
                  <a:gd name="T76" fmla="*/ 451 w 2155"/>
                  <a:gd name="T77" fmla="*/ 1014 h 1716"/>
                  <a:gd name="T78" fmla="*/ 117 w 2155"/>
                  <a:gd name="T79" fmla="*/ 1014 h 1716"/>
                  <a:gd name="T80" fmla="*/ 7 w 2155"/>
                  <a:gd name="T81" fmla="*/ 1007 h 1716"/>
                  <a:gd name="T82" fmla="*/ 1 w 2155"/>
                  <a:gd name="T83" fmla="*/ 1709 h 1716"/>
                  <a:gd name="T84" fmla="*/ 111 w 2155"/>
                  <a:gd name="T85" fmla="*/ 1716 h 1716"/>
                  <a:gd name="T86" fmla="*/ 449 w 2155"/>
                  <a:gd name="T87" fmla="*/ 1541 h 1716"/>
                  <a:gd name="T88" fmla="*/ 461 w 2155"/>
                  <a:gd name="T89" fmla="*/ 1716 h 1716"/>
                  <a:gd name="T90" fmla="*/ 705 w 2155"/>
                  <a:gd name="T91" fmla="*/ 1704 h 1716"/>
                  <a:gd name="T92" fmla="*/ 1451 w 2155"/>
                  <a:gd name="T93" fmla="*/ 1713 h 1716"/>
                  <a:gd name="T94" fmla="*/ 1700 w 2155"/>
                  <a:gd name="T95" fmla="*/ 1713 h 1716"/>
                  <a:gd name="T96" fmla="*/ 2036 w 2155"/>
                  <a:gd name="T97" fmla="*/ 1704 h 1716"/>
                  <a:gd name="T98" fmla="*/ 2143 w 2155"/>
                  <a:gd name="T99" fmla="*/ 1716 h 1716"/>
                  <a:gd name="T100" fmla="*/ 2155 w 2155"/>
                  <a:gd name="T101" fmla="*/ 1018 h 1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55" h="1716">
                    <a:moveTo>
                      <a:pt x="2131" y="1693"/>
                    </a:moveTo>
                    <a:lnTo>
                      <a:pt x="2061" y="1693"/>
                    </a:lnTo>
                    <a:lnTo>
                      <a:pt x="2061" y="1030"/>
                    </a:lnTo>
                    <a:lnTo>
                      <a:pt x="2131" y="1030"/>
                    </a:lnTo>
                    <a:lnTo>
                      <a:pt x="2131" y="1693"/>
                    </a:lnTo>
                    <a:close/>
                    <a:moveTo>
                      <a:pt x="1704" y="1516"/>
                    </a:moveTo>
                    <a:lnTo>
                      <a:pt x="1704" y="1206"/>
                    </a:lnTo>
                    <a:lnTo>
                      <a:pt x="2036" y="1206"/>
                    </a:lnTo>
                    <a:lnTo>
                      <a:pt x="2036" y="1516"/>
                    </a:lnTo>
                    <a:lnTo>
                      <a:pt x="1704" y="1516"/>
                    </a:lnTo>
                    <a:close/>
                    <a:moveTo>
                      <a:pt x="1679" y="1693"/>
                    </a:moveTo>
                    <a:lnTo>
                      <a:pt x="1471" y="1693"/>
                    </a:lnTo>
                    <a:lnTo>
                      <a:pt x="1471" y="1030"/>
                    </a:lnTo>
                    <a:lnTo>
                      <a:pt x="1679" y="1030"/>
                    </a:lnTo>
                    <a:lnTo>
                      <a:pt x="1679" y="1693"/>
                    </a:lnTo>
                    <a:close/>
                    <a:moveTo>
                      <a:pt x="705" y="1516"/>
                    </a:moveTo>
                    <a:lnTo>
                      <a:pt x="705" y="1206"/>
                    </a:lnTo>
                    <a:lnTo>
                      <a:pt x="1448" y="1206"/>
                    </a:lnTo>
                    <a:lnTo>
                      <a:pt x="1448" y="1516"/>
                    </a:lnTo>
                    <a:lnTo>
                      <a:pt x="705" y="1516"/>
                    </a:lnTo>
                    <a:close/>
                    <a:moveTo>
                      <a:pt x="682" y="1693"/>
                    </a:moveTo>
                    <a:lnTo>
                      <a:pt x="473" y="1693"/>
                    </a:lnTo>
                    <a:lnTo>
                      <a:pt x="473" y="1030"/>
                    </a:lnTo>
                    <a:lnTo>
                      <a:pt x="682" y="1030"/>
                    </a:lnTo>
                    <a:lnTo>
                      <a:pt x="682" y="1693"/>
                    </a:lnTo>
                    <a:close/>
                    <a:moveTo>
                      <a:pt x="118" y="1516"/>
                    </a:moveTo>
                    <a:lnTo>
                      <a:pt x="118" y="1206"/>
                    </a:lnTo>
                    <a:lnTo>
                      <a:pt x="449" y="1206"/>
                    </a:lnTo>
                    <a:lnTo>
                      <a:pt x="449" y="1516"/>
                    </a:lnTo>
                    <a:lnTo>
                      <a:pt x="118" y="1516"/>
                    </a:lnTo>
                    <a:close/>
                    <a:moveTo>
                      <a:pt x="93" y="1693"/>
                    </a:moveTo>
                    <a:lnTo>
                      <a:pt x="24" y="1693"/>
                    </a:lnTo>
                    <a:lnTo>
                      <a:pt x="24" y="1030"/>
                    </a:lnTo>
                    <a:lnTo>
                      <a:pt x="93" y="1030"/>
                    </a:lnTo>
                    <a:lnTo>
                      <a:pt x="93" y="1693"/>
                    </a:lnTo>
                    <a:close/>
                    <a:moveTo>
                      <a:pt x="891" y="881"/>
                    </a:moveTo>
                    <a:lnTo>
                      <a:pt x="1261" y="881"/>
                    </a:lnTo>
                    <a:lnTo>
                      <a:pt x="1261" y="1182"/>
                    </a:lnTo>
                    <a:lnTo>
                      <a:pt x="891" y="1182"/>
                    </a:lnTo>
                    <a:lnTo>
                      <a:pt x="891" y="881"/>
                    </a:lnTo>
                    <a:close/>
                    <a:moveTo>
                      <a:pt x="985" y="818"/>
                    </a:moveTo>
                    <a:lnTo>
                      <a:pt x="1167" y="818"/>
                    </a:lnTo>
                    <a:lnTo>
                      <a:pt x="1167" y="856"/>
                    </a:lnTo>
                    <a:lnTo>
                      <a:pt x="985" y="856"/>
                    </a:lnTo>
                    <a:lnTo>
                      <a:pt x="985" y="818"/>
                    </a:lnTo>
                    <a:close/>
                    <a:moveTo>
                      <a:pt x="694" y="744"/>
                    </a:moveTo>
                    <a:lnTo>
                      <a:pt x="694" y="74"/>
                    </a:lnTo>
                    <a:lnTo>
                      <a:pt x="695" y="64"/>
                    </a:lnTo>
                    <a:lnTo>
                      <a:pt x="698" y="54"/>
                    </a:lnTo>
                    <a:lnTo>
                      <a:pt x="703" y="46"/>
                    </a:lnTo>
                    <a:lnTo>
                      <a:pt x="709" y="39"/>
                    </a:lnTo>
                    <a:lnTo>
                      <a:pt x="716" y="32"/>
                    </a:lnTo>
                    <a:lnTo>
                      <a:pt x="724" y="28"/>
                    </a:lnTo>
                    <a:lnTo>
                      <a:pt x="734" y="25"/>
                    </a:lnTo>
                    <a:lnTo>
                      <a:pt x="744" y="24"/>
                    </a:lnTo>
                    <a:lnTo>
                      <a:pt x="1409" y="24"/>
                    </a:lnTo>
                    <a:lnTo>
                      <a:pt x="1418" y="25"/>
                    </a:lnTo>
                    <a:lnTo>
                      <a:pt x="1428" y="28"/>
                    </a:lnTo>
                    <a:lnTo>
                      <a:pt x="1437" y="32"/>
                    </a:lnTo>
                    <a:lnTo>
                      <a:pt x="1444" y="39"/>
                    </a:lnTo>
                    <a:lnTo>
                      <a:pt x="1450" y="46"/>
                    </a:lnTo>
                    <a:lnTo>
                      <a:pt x="1455" y="54"/>
                    </a:lnTo>
                    <a:lnTo>
                      <a:pt x="1458" y="64"/>
                    </a:lnTo>
                    <a:lnTo>
                      <a:pt x="1458" y="74"/>
                    </a:lnTo>
                    <a:lnTo>
                      <a:pt x="1458" y="744"/>
                    </a:lnTo>
                    <a:lnTo>
                      <a:pt x="1458" y="753"/>
                    </a:lnTo>
                    <a:lnTo>
                      <a:pt x="1455" y="762"/>
                    </a:lnTo>
                    <a:lnTo>
                      <a:pt x="1450" y="771"/>
                    </a:lnTo>
                    <a:lnTo>
                      <a:pt x="1444" y="779"/>
                    </a:lnTo>
                    <a:lnTo>
                      <a:pt x="1437" y="785"/>
                    </a:lnTo>
                    <a:lnTo>
                      <a:pt x="1428" y="789"/>
                    </a:lnTo>
                    <a:lnTo>
                      <a:pt x="1418" y="792"/>
                    </a:lnTo>
                    <a:lnTo>
                      <a:pt x="1409" y="793"/>
                    </a:lnTo>
                    <a:lnTo>
                      <a:pt x="744" y="793"/>
                    </a:lnTo>
                    <a:lnTo>
                      <a:pt x="734" y="792"/>
                    </a:lnTo>
                    <a:lnTo>
                      <a:pt x="724" y="789"/>
                    </a:lnTo>
                    <a:lnTo>
                      <a:pt x="716" y="785"/>
                    </a:lnTo>
                    <a:lnTo>
                      <a:pt x="709" y="779"/>
                    </a:lnTo>
                    <a:lnTo>
                      <a:pt x="703" y="771"/>
                    </a:lnTo>
                    <a:lnTo>
                      <a:pt x="698" y="762"/>
                    </a:lnTo>
                    <a:lnTo>
                      <a:pt x="695" y="753"/>
                    </a:lnTo>
                    <a:lnTo>
                      <a:pt x="694" y="744"/>
                    </a:lnTo>
                    <a:close/>
                    <a:moveTo>
                      <a:pt x="2143" y="1006"/>
                    </a:moveTo>
                    <a:lnTo>
                      <a:pt x="2049" y="1006"/>
                    </a:lnTo>
                    <a:lnTo>
                      <a:pt x="2044" y="1007"/>
                    </a:lnTo>
                    <a:lnTo>
                      <a:pt x="2041" y="1009"/>
                    </a:lnTo>
                    <a:lnTo>
                      <a:pt x="2037" y="1014"/>
                    </a:lnTo>
                    <a:lnTo>
                      <a:pt x="2036" y="1018"/>
                    </a:lnTo>
                    <a:lnTo>
                      <a:pt x="2036" y="1182"/>
                    </a:lnTo>
                    <a:lnTo>
                      <a:pt x="1704" y="1182"/>
                    </a:lnTo>
                    <a:lnTo>
                      <a:pt x="1704" y="1018"/>
                    </a:lnTo>
                    <a:lnTo>
                      <a:pt x="1703" y="1014"/>
                    </a:lnTo>
                    <a:lnTo>
                      <a:pt x="1700" y="1009"/>
                    </a:lnTo>
                    <a:lnTo>
                      <a:pt x="1697" y="1007"/>
                    </a:lnTo>
                    <a:lnTo>
                      <a:pt x="1692" y="1006"/>
                    </a:lnTo>
                    <a:lnTo>
                      <a:pt x="1459" y="1006"/>
                    </a:lnTo>
                    <a:lnTo>
                      <a:pt x="1455" y="1007"/>
                    </a:lnTo>
                    <a:lnTo>
                      <a:pt x="1451" y="1009"/>
                    </a:lnTo>
                    <a:lnTo>
                      <a:pt x="1449" y="1014"/>
                    </a:lnTo>
                    <a:lnTo>
                      <a:pt x="1448" y="1018"/>
                    </a:lnTo>
                    <a:lnTo>
                      <a:pt x="1448" y="1182"/>
                    </a:lnTo>
                    <a:lnTo>
                      <a:pt x="1286" y="1182"/>
                    </a:lnTo>
                    <a:lnTo>
                      <a:pt x="1286" y="869"/>
                    </a:lnTo>
                    <a:lnTo>
                      <a:pt x="1284" y="865"/>
                    </a:lnTo>
                    <a:lnTo>
                      <a:pt x="1282" y="860"/>
                    </a:lnTo>
                    <a:lnTo>
                      <a:pt x="1279" y="858"/>
                    </a:lnTo>
                    <a:lnTo>
                      <a:pt x="1273" y="856"/>
                    </a:lnTo>
                    <a:lnTo>
                      <a:pt x="1192" y="856"/>
                    </a:lnTo>
                    <a:lnTo>
                      <a:pt x="1192" y="818"/>
                    </a:lnTo>
                    <a:lnTo>
                      <a:pt x="1409" y="818"/>
                    </a:lnTo>
                    <a:lnTo>
                      <a:pt x="1416" y="816"/>
                    </a:lnTo>
                    <a:lnTo>
                      <a:pt x="1424" y="816"/>
                    </a:lnTo>
                    <a:lnTo>
                      <a:pt x="1431" y="814"/>
                    </a:lnTo>
                    <a:lnTo>
                      <a:pt x="1437" y="812"/>
                    </a:lnTo>
                    <a:lnTo>
                      <a:pt x="1444" y="808"/>
                    </a:lnTo>
                    <a:lnTo>
                      <a:pt x="1450" y="805"/>
                    </a:lnTo>
                    <a:lnTo>
                      <a:pt x="1456" y="800"/>
                    </a:lnTo>
                    <a:lnTo>
                      <a:pt x="1462" y="795"/>
                    </a:lnTo>
                    <a:lnTo>
                      <a:pt x="1466" y="791"/>
                    </a:lnTo>
                    <a:lnTo>
                      <a:pt x="1470" y="785"/>
                    </a:lnTo>
                    <a:lnTo>
                      <a:pt x="1474" y="779"/>
                    </a:lnTo>
                    <a:lnTo>
                      <a:pt x="1477" y="772"/>
                    </a:lnTo>
                    <a:lnTo>
                      <a:pt x="1479" y="765"/>
                    </a:lnTo>
                    <a:lnTo>
                      <a:pt x="1482" y="758"/>
                    </a:lnTo>
                    <a:lnTo>
                      <a:pt x="1483" y="751"/>
                    </a:lnTo>
                    <a:lnTo>
                      <a:pt x="1483" y="744"/>
                    </a:lnTo>
                    <a:lnTo>
                      <a:pt x="1483" y="74"/>
                    </a:lnTo>
                    <a:lnTo>
                      <a:pt x="1483" y="66"/>
                    </a:lnTo>
                    <a:lnTo>
                      <a:pt x="1482" y="59"/>
                    </a:lnTo>
                    <a:lnTo>
                      <a:pt x="1479" y="52"/>
                    </a:lnTo>
                    <a:lnTo>
                      <a:pt x="1477" y="45"/>
                    </a:lnTo>
                    <a:lnTo>
                      <a:pt x="1474" y="39"/>
                    </a:lnTo>
                    <a:lnTo>
                      <a:pt x="1470" y="33"/>
                    </a:lnTo>
                    <a:lnTo>
                      <a:pt x="1466" y="27"/>
                    </a:lnTo>
                    <a:lnTo>
                      <a:pt x="1462" y="21"/>
                    </a:lnTo>
                    <a:lnTo>
                      <a:pt x="1456" y="17"/>
                    </a:lnTo>
                    <a:lnTo>
                      <a:pt x="1450" y="13"/>
                    </a:lnTo>
                    <a:lnTo>
                      <a:pt x="1444" y="8"/>
                    </a:lnTo>
                    <a:lnTo>
                      <a:pt x="1437" y="6"/>
                    </a:lnTo>
                    <a:lnTo>
                      <a:pt x="1431" y="4"/>
                    </a:lnTo>
                    <a:lnTo>
                      <a:pt x="1424" y="1"/>
                    </a:lnTo>
                    <a:lnTo>
                      <a:pt x="1416" y="0"/>
                    </a:lnTo>
                    <a:lnTo>
                      <a:pt x="1409" y="0"/>
                    </a:lnTo>
                    <a:lnTo>
                      <a:pt x="744" y="0"/>
                    </a:lnTo>
                    <a:lnTo>
                      <a:pt x="737" y="0"/>
                    </a:lnTo>
                    <a:lnTo>
                      <a:pt x="729" y="1"/>
                    </a:lnTo>
                    <a:lnTo>
                      <a:pt x="722" y="4"/>
                    </a:lnTo>
                    <a:lnTo>
                      <a:pt x="715" y="6"/>
                    </a:lnTo>
                    <a:lnTo>
                      <a:pt x="709" y="8"/>
                    </a:lnTo>
                    <a:lnTo>
                      <a:pt x="703" y="13"/>
                    </a:lnTo>
                    <a:lnTo>
                      <a:pt x="697" y="17"/>
                    </a:lnTo>
                    <a:lnTo>
                      <a:pt x="691" y="21"/>
                    </a:lnTo>
                    <a:lnTo>
                      <a:pt x="687" y="27"/>
                    </a:lnTo>
                    <a:lnTo>
                      <a:pt x="683" y="33"/>
                    </a:lnTo>
                    <a:lnTo>
                      <a:pt x="678" y="39"/>
                    </a:lnTo>
                    <a:lnTo>
                      <a:pt x="676" y="45"/>
                    </a:lnTo>
                    <a:lnTo>
                      <a:pt x="674" y="52"/>
                    </a:lnTo>
                    <a:lnTo>
                      <a:pt x="671" y="59"/>
                    </a:lnTo>
                    <a:lnTo>
                      <a:pt x="670" y="66"/>
                    </a:lnTo>
                    <a:lnTo>
                      <a:pt x="670" y="74"/>
                    </a:lnTo>
                    <a:lnTo>
                      <a:pt x="670" y="744"/>
                    </a:lnTo>
                    <a:lnTo>
                      <a:pt x="670" y="751"/>
                    </a:lnTo>
                    <a:lnTo>
                      <a:pt x="671" y="758"/>
                    </a:lnTo>
                    <a:lnTo>
                      <a:pt x="674" y="765"/>
                    </a:lnTo>
                    <a:lnTo>
                      <a:pt x="676" y="772"/>
                    </a:lnTo>
                    <a:lnTo>
                      <a:pt x="678" y="779"/>
                    </a:lnTo>
                    <a:lnTo>
                      <a:pt x="683" y="785"/>
                    </a:lnTo>
                    <a:lnTo>
                      <a:pt x="687" y="791"/>
                    </a:lnTo>
                    <a:lnTo>
                      <a:pt x="691" y="795"/>
                    </a:lnTo>
                    <a:lnTo>
                      <a:pt x="697" y="800"/>
                    </a:lnTo>
                    <a:lnTo>
                      <a:pt x="703" y="805"/>
                    </a:lnTo>
                    <a:lnTo>
                      <a:pt x="709" y="808"/>
                    </a:lnTo>
                    <a:lnTo>
                      <a:pt x="715" y="812"/>
                    </a:lnTo>
                    <a:lnTo>
                      <a:pt x="722" y="814"/>
                    </a:lnTo>
                    <a:lnTo>
                      <a:pt x="729" y="816"/>
                    </a:lnTo>
                    <a:lnTo>
                      <a:pt x="737" y="816"/>
                    </a:lnTo>
                    <a:lnTo>
                      <a:pt x="744" y="818"/>
                    </a:lnTo>
                    <a:lnTo>
                      <a:pt x="961" y="818"/>
                    </a:lnTo>
                    <a:lnTo>
                      <a:pt x="961" y="856"/>
                    </a:lnTo>
                    <a:lnTo>
                      <a:pt x="879" y="856"/>
                    </a:lnTo>
                    <a:lnTo>
                      <a:pt x="875" y="858"/>
                    </a:lnTo>
                    <a:lnTo>
                      <a:pt x="871" y="860"/>
                    </a:lnTo>
                    <a:lnTo>
                      <a:pt x="869" y="865"/>
                    </a:lnTo>
                    <a:lnTo>
                      <a:pt x="867" y="869"/>
                    </a:lnTo>
                    <a:lnTo>
                      <a:pt x="867" y="1182"/>
                    </a:lnTo>
                    <a:lnTo>
                      <a:pt x="705" y="1182"/>
                    </a:lnTo>
                    <a:lnTo>
                      <a:pt x="705" y="1018"/>
                    </a:lnTo>
                    <a:lnTo>
                      <a:pt x="704" y="1014"/>
                    </a:lnTo>
                    <a:lnTo>
                      <a:pt x="702" y="1009"/>
                    </a:lnTo>
                    <a:lnTo>
                      <a:pt x="698" y="1007"/>
                    </a:lnTo>
                    <a:lnTo>
                      <a:pt x="694" y="1006"/>
                    </a:lnTo>
                    <a:lnTo>
                      <a:pt x="461" y="1006"/>
                    </a:lnTo>
                    <a:lnTo>
                      <a:pt x="456" y="1007"/>
                    </a:lnTo>
                    <a:lnTo>
                      <a:pt x="453" y="1009"/>
                    </a:lnTo>
                    <a:lnTo>
                      <a:pt x="451" y="1014"/>
                    </a:lnTo>
                    <a:lnTo>
                      <a:pt x="449" y="1018"/>
                    </a:lnTo>
                    <a:lnTo>
                      <a:pt x="449" y="1182"/>
                    </a:lnTo>
                    <a:lnTo>
                      <a:pt x="118" y="1182"/>
                    </a:lnTo>
                    <a:lnTo>
                      <a:pt x="118" y="1018"/>
                    </a:lnTo>
                    <a:lnTo>
                      <a:pt x="117" y="1014"/>
                    </a:lnTo>
                    <a:lnTo>
                      <a:pt x="115" y="1009"/>
                    </a:lnTo>
                    <a:lnTo>
                      <a:pt x="111" y="1007"/>
                    </a:lnTo>
                    <a:lnTo>
                      <a:pt x="105" y="1006"/>
                    </a:lnTo>
                    <a:lnTo>
                      <a:pt x="11" y="1006"/>
                    </a:lnTo>
                    <a:lnTo>
                      <a:pt x="7" y="1007"/>
                    </a:lnTo>
                    <a:lnTo>
                      <a:pt x="3" y="1009"/>
                    </a:lnTo>
                    <a:lnTo>
                      <a:pt x="1" y="1014"/>
                    </a:lnTo>
                    <a:lnTo>
                      <a:pt x="0" y="1018"/>
                    </a:lnTo>
                    <a:lnTo>
                      <a:pt x="0" y="1704"/>
                    </a:lnTo>
                    <a:lnTo>
                      <a:pt x="1" y="1709"/>
                    </a:lnTo>
                    <a:lnTo>
                      <a:pt x="3" y="1713"/>
                    </a:lnTo>
                    <a:lnTo>
                      <a:pt x="7" y="1716"/>
                    </a:lnTo>
                    <a:lnTo>
                      <a:pt x="11" y="1716"/>
                    </a:lnTo>
                    <a:lnTo>
                      <a:pt x="105" y="1716"/>
                    </a:lnTo>
                    <a:lnTo>
                      <a:pt x="111" y="1716"/>
                    </a:lnTo>
                    <a:lnTo>
                      <a:pt x="115" y="1713"/>
                    </a:lnTo>
                    <a:lnTo>
                      <a:pt x="117" y="1709"/>
                    </a:lnTo>
                    <a:lnTo>
                      <a:pt x="118" y="1704"/>
                    </a:lnTo>
                    <a:lnTo>
                      <a:pt x="118" y="1541"/>
                    </a:lnTo>
                    <a:lnTo>
                      <a:pt x="449" y="1541"/>
                    </a:lnTo>
                    <a:lnTo>
                      <a:pt x="449" y="1704"/>
                    </a:lnTo>
                    <a:lnTo>
                      <a:pt x="451" y="1709"/>
                    </a:lnTo>
                    <a:lnTo>
                      <a:pt x="453" y="1713"/>
                    </a:lnTo>
                    <a:lnTo>
                      <a:pt x="456" y="1716"/>
                    </a:lnTo>
                    <a:lnTo>
                      <a:pt x="461" y="1716"/>
                    </a:lnTo>
                    <a:lnTo>
                      <a:pt x="694" y="1716"/>
                    </a:lnTo>
                    <a:lnTo>
                      <a:pt x="698" y="1716"/>
                    </a:lnTo>
                    <a:lnTo>
                      <a:pt x="702" y="1713"/>
                    </a:lnTo>
                    <a:lnTo>
                      <a:pt x="704" y="1709"/>
                    </a:lnTo>
                    <a:lnTo>
                      <a:pt x="705" y="1704"/>
                    </a:lnTo>
                    <a:lnTo>
                      <a:pt x="705" y="1541"/>
                    </a:lnTo>
                    <a:lnTo>
                      <a:pt x="1448" y="1541"/>
                    </a:lnTo>
                    <a:lnTo>
                      <a:pt x="1448" y="1704"/>
                    </a:lnTo>
                    <a:lnTo>
                      <a:pt x="1449" y="1709"/>
                    </a:lnTo>
                    <a:lnTo>
                      <a:pt x="1451" y="1713"/>
                    </a:lnTo>
                    <a:lnTo>
                      <a:pt x="1455" y="1716"/>
                    </a:lnTo>
                    <a:lnTo>
                      <a:pt x="1459" y="1716"/>
                    </a:lnTo>
                    <a:lnTo>
                      <a:pt x="1692" y="1716"/>
                    </a:lnTo>
                    <a:lnTo>
                      <a:pt x="1697" y="1716"/>
                    </a:lnTo>
                    <a:lnTo>
                      <a:pt x="1700" y="1713"/>
                    </a:lnTo>
                    <a:lnTo>
                      <a:pt x="1703" y="1709"/>
                    </a:lnTo>
                    <a:lnTo>
                      <a:pt x="1704" y="1704"/>
                    </a:lnTo>
                    <a:lnTo>
                      <a:pt x="1704" y="1541"/>
                    </a:lnTo>
                    <a:lnTo>
                      <a:pt x="2036" y="1541"/>
                    </a:lnTo>
                    <a:lnTo>
                      <a:pt x="2036" y="1704"/>
                    </a:lnTo>
                    <a:lnTo>
                      <a:pt x="2037" y="1709"/>
                    </a:lnTo>
                    <a:lnTo>
                      <a:pt x="2041" y="1713"/>
                    </a:lnTo>
                    <a:lnTo>
                      <a:pt x="2044" y="1716"/>
                    </a:lnTo>
                    <a:lnTo>
                      <a:pt x="2049" y="1716"/>
                    </a:lnTo>
                    <a:lnTo>
                      <a:pt x="2143" y="1716"/>
                    </a:lnTo>
                    <a:lnTo>
                      <a:pt x="2148" y="1716"/>
                    </a:lnTo>
                    <a:lnTo>
                      <a:pt x="2151" y="1713"/>
                    </a:lnTo>
                    <a:lnTo>
                      <a:pt x="2154" y="1709"/>
                    </a:lnTo>
                    <a:lnTo>
                      <a:pt x="2155" y="1704"/>
                    </a:lnTo>
                    <a:lnTo>
                      <a:pt x="2155" y="1018"/>
                    </a:lnTo>
                    <a:lnTo>
                      <a:pt x="2154" y="1014"/>
                    </a:lnTo>
                    <a:lnTo>
                      <a:pt x="2151" y="1009"/>
                    </a:lnTo>
                    <a:lnTo>
                      <a:pt x="2148" y="1007"/>
                    </a:lnTo>
                    <a:lnTo>
                      <a:pt x="2143" y="100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8" name="Freeform 242"/>
              <p:cNvSpPr>
                <a:spLocks noEditPoints="1"/>
              </p:cNvSpPr>
              <p:nvPr/>
            </p:nvSpPr>
            <p:spPr bwMode="auto">
              <a:xfrm>
                <a:off x="5938838" y="4643438"/>
                <a:ext cx="266700" cy="269875"/>
              </a:xfrm>
              <a:custGeom>
                <a:avLst/>
                <a:gdLst>
                  <a:gd name="T0" fmla="*/ 650 w 673"/>
                  <a:gd name="T1" fmla="*/ 655 h 678"/>
                  <a:gd name="T2" fmla="*/ 25 w 673"/>
                  <a:gd name="T3" fmla="*/ 655 h 678"/>
                  <a:gd name="T4" fmla="*/ 25 w 673"/>
                  <a:gd name="T5" fmla="*/ 25 h 678"/>
                  <a:gd name="T6" fmla="*/ 650 w 673"/>
                  <a:gd name="T7" fmla="*/ 25 h 678"/>
                  <a:gd name="T8" fmla="*/ 650 w 673"/>
                  <a:gd name="T9" fmla="*/ 655 h 678"/>
                  <a:gd name="T10" fmla="*/ 673 w 673"/>
                  <a:gd name="T11" fmla="*/ 666 h 678"/>
                  <a:gd name="T12" fmla="*/ 673 w 673"/>
                  <a:gd name="T13" fmla="*/ 13 h 678"/>
                  <a:gd name="T14" fmla="*/ 673 w 673"/>
                  <a:gd name="T15" fmla="*/ 9 h 678"/>
                  <a:gd name="T16" fmla="*/ 670 w 673"/>
                  <a:gd name="T17" fmla="*/ 4 h 678"/>
                  <a:gd name="T18" fmla="*/ 666 w 673"/>
                  <a:gd name="T19" fmla="*/ 2 h 678"/>
                  <a:gd name="T20" fmla="*/ 662 w 673"/>
                  <a:gd name="T21" fmla="*/ 0 h 678"/>
                  <a:gd name="T22" fmla="*/ 13 w 673"/>
                  <a:gd name="T23" fmla="*/ 0 h 678"/>
                  <a:gd name="T24" fmla="*/ 9 w 673"/>
                  <a:gd name="T25" fmla="*/ 2 h 678"/>
                  <a:gd name="T26" fmla="*/ 5 w 673"/>
                  <a:gd name="T27" fmla="*/ 4 h 678"/>
                  <a:gd name="T28" fmla="*/ 2 w 673"/>
                  <a:gd name="T29" fmla="*/ 9 h 678"/>
                  <a:gd name="T30" fmla="*/ 0 w 673"/>
                  <a:gd name="T31" fmla="*/ 13 h 678"/>
                  <a:gd name="T32" fmla="*/ 0 w 673"/>
                  <a:gd name="T33" fmla="*/ 666 h 678"/>
                  <a:gd name="T34" fmla="*/ 2 w 673"/>
                  <a:gd name="T35" fmla="*/ 671 h 678"/>
                  <a:gd name="T36" fmla="*/ 5 w 673"/>
                  <a:gd name="T37" fmla="*/ 675 h 678"/>
                  <a:gd name="T38" fmla="*/ 9 w 673"/>
                  <a:gd name="T39" fmla="*/ 677 h 678"/>
                  <a:gd name="T40" fmla="*/ 13 w 673"/>
                  <a:gd name="T41" fmla="*/ 678 h 678"/>
                  <a:gd name="T42" fmla="*/ 662 w 673"/>
                  <a:gd name="T43" fmla="*/ 678 h 678"/>
                  <a:gd name="T44" fmla="*/ 666 w 673"/>
                  <a:gd name="T45" fmla="*/ 677 h 678"/>
                  <a:gd name="T46" fmla="*/ 670 w 673"/>
                  <a:gd name="T47" fmla="*/ 675 h 678"/>
                  <a:gd name="T48" fmla="*/ 673 w 673"/>
                  <a:gd name="T49" fmla="*/ 671 h 678"/>
                  <a:gd name="T50" fmla="*/ 673 w 673"/>
                  <a:gd name="T51" fmla="*/ 666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73" h="678">
                    <a:moveTo>
                      <a:pt x="650" y="655"/>
                    </a:moveTo>
                    <a:lnTo>
                      <a:pt x="25" y="655"/>
                    </a:lnTo>
                    <a:lnTo>
                      <a:pt x="25" y="25"/>
                    </a:lnTo>
                    <a:lnTo>
                      <a:pt x="650" y="25"/>
                    </a:lnTo>
                    <a:lnTo>
                      <a:pt x="650" y="655"/>
                    </a:lnTo>
                    <a:close/>
                    <a:moveTo>
                      <a:pt x="673" y="666"/>
                    </a:moveTo>
                    <a:lnTo>
                      <a:pt x="673" y="13"/>
                    </a:lnTo>
                    <a:lnTo>
                      <a:pt x="673" y="9"/>
                    </a:lnTo>
                    <a:lnTo>
                      <a:pt x="670" y="4"/>
                    </a:lnTo>
                    <a:lnTo>
                      <a:pt x="666" y="2"/>
                    </a:lnTo>
                    <a:lnTo>
                      <a:pt x="662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666"/>
                    </a:lnTo>
                    <a:lnTo>
                      <a:pt x="2" y="671"/>
                    </a:lnTo>
                    <a:lnTo>
                      <a:pt x="5" y="675"/>
                    </a:lnTo>
                    <a:lnTo>
                      <a:pt x="9" y="677"/>
                    </a:lnTo>
                    <a:lnTo>
                      <a:pt x="13" y="678"/>
                    </a:lnTo>
                    <a:lnTo>
                      <a:pt x="662" y="678"/>
                    </a:lnTo>
                    <a:lnTo>
                      <a:pt x="666" y="677"/>
                    </a:lnTo>
                    <a:lnTo>
                      <a:pt x="670" y="675"/>
                    </a:lnTo>
                    <a:lnTo>
                      <a:pt x="673" y="671"/>
                    </a:lnTo>
                    <a:lnTo>
                      <a:pt x="673" y="66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9" name="Rectangle 243"/>
              <p:cNvSpPr>
                <a:spLocks noChangeArrowheads="1"/>
              </p:cNvSpPr>
              <p:nvPr/>
            </p:nvSpPr>
            <p:spPr bwMode="auto">
              <a:xfrm>
                <a:off x="5973763" y="4678363"/>
                <a:ext cx="195263" cy="825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40" name="Freeform 244"/>
              <p:cNvSpPr>
                <a:spLocks noEditPoints="1"/>
              </p:cNvSpPr>
              <p:nvPr/>
            </p:nvSpPr>
            <p:spPr bwMode="auto">
              <a:xfrm>
                <a:off x="5969001" y="4673601"/>
                <a:ext cx="204788" cy="92075"/>
              </a:xfrm>
              <a:custGeom>
                <a:avLst/>
                <a:gdLst>
                  <a:gd name="T0" fmla="*/ 492 w 516"/>
                  <a:gd name="T1" fmla="*/ 210 h 233"/>
                  <a:gd name="T2" fmla="*/ 25 w 516"/>
                  <a:gd name="T3" fmla="*/ 210 h 233"/>
                  <a:gd name="T4" fmla="*/ 25 w 516"/>
                  <a:gd name="T5" fmla="*/ 23 h 233"/>
                  <a:gd name="T6" fmla="*/ 492 w 516"/>
                  <a:gd name="T7" fmla="*/ 23 h 233"/>
                  <a:gd name="T8" fmla="*/ 492 w 516"/>
                  <a:gd name="T9" fmla="*/ 210 h 233"/>
                  <a:gd name="T10" fmla="*/ 504 w 516"/>
                  <a:gd name="T11" fmla="*/ 0 h 233"/>
                  <a:gd name="T12" fmla="*/ 13 w 516"/>
                  <a:gd name="T13" fmla="*/ 0 h 233"/>
                  <a:gd name="T14" fmla="*/ 8 w 516"/>
                  <a:gd name="T15" fmla="*/ 0 h 233"/>
                  <a:gd name="T16" fmla="*/ 4 w 516"/>
                  <a:gd name="T17" fmla="*/ 3 h 233"/>
                  <a:gd name="T18" fmla="*/ 1 w 516"/>
                  <a:gd name="T19" fmla="*/ 7 h 233"/>
                  <a:gd name="T20" fmla="*/ 0 w 516"/>
                  <a:gd name="T21" fmla="*/ 11 h 233"/>
                  <a:gd name="T22" fmla="*/ 0 w 516"/>
                  <a:gd name="T23" fmla="*/ 222 h 233"/>
                  <a:gd name="T24" fmla="*/ 1 w 516"/>
                  <a:gd name="T25" fmla="*/ 226 h 233"/>
                  <a:gd name="T26" fmla="*/ 4 w 516"/>
                  <a:gd name="T27" fmla="*/ 230 h 233"/>
                  <a:gd name="T28" fmla="*/ 8 w 516"/>
                  <a:gd name="T29" fmla="*/ 233 h 233"/>
                  <a:gd name="T30" fmla="*/ 13 w 516"/>
                  <a:gd name="T31" fmla="*/ 233 h 233"/>
                  <a:gd name="T32" fmla="*/ 504 w 516"/>
                  <a:gd name="T33" fmla="*/ 233 h 233"/>
                  <a:gd name="T34" fmla="*/ 509 w 516"/>
                  <a:gd name="T35" fmla="*/ 233 h 233"/>
                  <a:gd name="T36" fmla="*/ 512 w 516"/>
                  <a:gd name="T37" fmla="*/ 230 h 233"/>
                  <a:gd name="T38" fmla="*/ 516 w 516"/>
                  <a:gd name="T39" fmla="*/ 226 h 233"/>
                  <a:gd name="T40" fmla="*/ 516 w 516"/>
                  <a:gd name="T41" fmla="*/ 222 h 233"/>
                  <a:gd name="T42" fmla="*/ 516 w 516"/>
                  <a:gd name="T43" fmla="*/ 11 h 233"/>
                  <a:gd name="T44" fmla="*/ 516 w 516"/>
                  <a:gd name="T45" fmla="*/ 7 h 233"/>
                  <a:gd name="T46" fmla="*/ 512 w 516"/>
                  <a:gd name="T47" fmla="*/ 3 h 233"/>
                  <a:gd name="T48" fmla="*/ 509 w 516"/>
                  <a:gd name="T49" fmla="*/ 0 h 233"/>
                  <a:gd name="T50" fmla="*/ 504 w 516"/>
                  <a:gd name="T51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6" h="233">
                    <a:moveTo>
                      <a:pt x="492" y="210"/>
                    </a:moveTo>
                    <a:lnTo>
                      <a:pt x="25" y="210"/>
                    </a:lnTo>
                    <a:lnTo>
                      <a:pt x="25" y="23"/>
                    </a:lnTo>
                    <a:lnTo>
                      <a:pt x="492" y="23"/>
                    </a:lnTo>
                    <a:lnTo>
                      <a:pt x="492" y="210"/>
                    </a:lnTo>
                    <a:close/>
                    <a:moveTo>
                      <a:pt x="504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8" y="233"/>
                    </a:lnTo>
                    <a:lnTo>
                      <a:pt x="13" y="233"/>
                    </a:lnTo>
                    <a:lnTo>
                      <a:pt x="504" y="233"/>
                    </a:lnTo>
                    <a:lnTo>
                      <a:pt x="509" y="233"/>
                    </a:lnTo>
                    <a:lnTo>
                      <a:pt x="512" y="230"/>
                    </a:lnTo>
                    <a:lnTo>
                      <a:pt x="516" y="226"/>
                    </a:lnTo>
                    <a:lnTo>
                      <a:pt x="516" y="222"/>
                    </a:lnTo>
                    <a:lnTo>
                      <a:pt x="516" y="11"/>
                    </a:lnTo>
                    <a:lnTo>
                      <a:pt x="516" y="7"/>
                    </a:lnTo>
                    <a:lnTo>
                      <a:pt x="512" y="3"/>
                    </a:lnTo>
                    <a:lnTo>
                      <a:pt x="509" y="0"/>
                    </a:ln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</p:grpSp>
        <p:sp>
          <p:nvSpPr>
            <p:cNvPr id="810" name="Прямоугольник 809"/>
            <p:cNvSpPr/>
            <p:nvPr/>
          </p:nvSpPr>
          <p:spPr>
            <a:xfrm flipH="1">
              <a:off x="7144163" y="5022011"/>
              <a:ext cx="254538" cy="45719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1" name="Прямоугольник 810"/>
            <p:cNvSpPr/>
            <p:nvPr/>
          </p:nvSpPr>
          <p:spPr>
            <a:xfrm rot="5400000" flipH="1">
              <a:off x="6853237" y="4725627"/>
              <a:ext cx="448043" cy="46875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2" name="Арка 811"/>
            <p:cNvSpPr/>
            <p:nvPr/>
          </p:nvSpPr>
          <p:spPr>
            <a:xfrm rot="16200000" flipH="1">
              <a:off x="7053824" y="4877688"/>
              <a:ext cx="190800" cy="190800"/>
            </a:xfrm>
            <a:prstGeom prst="blockArc">
              <a:avLst>
                <a:gd name="adj1" fmla="val 16168735"/>
                <a:gd name="adj2" fmla="val 0"/>
                <a:gd name="adj3" fmla="val 25000"/>
              </a:avLst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3" name="Арка 812"/>
            <p:cNvSpPr/>
            <p:nvPr/>
          </p:nvSpPr>
          <p:spPr>
            <a:xfrm rot="5400000" flipH="1">
              <a:off x="6910080" y="4426809"/>
              <a:ext cx="190800" cy="190800"/>
            </a:xfrm>
            <a:prstGeom prst="blockArc">
              <a:avLst>
                <a:gd name="adj1" fmla="val 16168735"/>
                <a:gd name="adj2" fmla="val 5394514"/>
                <a:gd name="adj3" fmla="val 25039"/>
              </a:avLst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4" name="Прямоугольник 813"/>
            <p:cNvSpPr/>
            <p:nvPr/>
          </p:nvSpPr>
          <p:spPr>
            <a:xfrm flipH="1">
              <a:off x="7706737" y="5022011"/>
              <a:ext cx="66584" cy="45719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5" name="Равнобедренный треугольник 814"/>
            <p:cNvSpPr/>
            <p:nvPr/>
          </p:nvSpPr>
          <p:spPr>
            <a:xfrm rot="5400000" flipH="1" flipV="1">
              <a:off x="7235449" y="4852744"/>
              <a:ext cx="61195" cy="103804"/>
            </a:xfrm>
            <a:prstGeom prst="triangle">
              <a:avLst/>
            </a:prstGeom>
            <a:solidFill>
              <a:srgbClr val="00B050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pic>
          <p:nvPicPr>
            <p:cNvPr id="816" name="Picture 11" descr="C:\Users\Driker.AA\Desktop\Инфографика\С заливкой\Транспорт\бензовоз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338861" y="4612847"/>
              <a:ext cx="545150" cy="552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7" name="Прямоугольник 816"/>
            <p:cNvSpPr/>
            <p:nvPr/>
          </p:nvSpPr>
          <p:spPr>
            <a:xfrm rot="5400000" flipH="1">
              <a:off x="6708735" y="4726205"/>
              <a:ext cx="448043" cy="45719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8" name="Арка 817"/>
            <p:cNvSpPr/>
            <p:nvPr/>
          </p:nvSpPr>
          <p:spPr>
            <a:xfrm rot="10800000" flipH="1">
              <a:off x="6764509" y="4877688"/>
              <a:ext cx="190800" cy="190800"/>
            </a:xfrm>
            <a:prstGeom prst="blockArc">
              <a:avLst>
                <a:gd name="adj1" fmla="val 16168735"/>
                <a:gd name="adj2" fmla="val 0"/>
                <a:gd name="adj3" fmla="val 25000"/>
              </a:avLst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9" name="Прямоугольник 818"/>
            <p:cNvSpPr/>
            <p:nvPr/>
          </p:nvSpPr>
          <p:spPr>
            <a:xfrm flipH="1">
              <a:off x="6811640" y="5020842"/>
              <a:ext cx="49532" cy="45719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42" name="Прямая соединительная линия 841"/>
          <p:cNvCxnSpPr/>
          <p:nvPr/>
        </p:nvCxnSpPr>
        <p:spPr>
          <a:xfrm flipV="1">
            <a:off x="5918799" y="3282511"/>
            <a:ext cx="0" cy="443863"/>
          </a:xfrm>
          <a:prstGeom prst="line">
            <a:avLst/>
          </a:prstGeom>
          <a:ln w="9525">
            <a:solidFill>
              <a:schemeClr val="accent6"/>
            </a:solidFill>
            <a:prstDash val="lgDashDot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3" name="knot_z"/>
          <p:cNvGrpSpPr>
            <a:grpSpLocks noChangeAspect="1"/>
          </p:cNvGrpSpPr>
          <p:nvPr/>
        </p:nvGrpSpPr>
        <p:grpSpPr>
          <a:xfrm flipH="1">
            <a:off x="5599513" y="3732699"/>
            <a:ext cx="146293" cy="125129"/>
            <a:chOff x="5645151" y="4616451"/>
            <a:chExt cx="854075" cy="681038"/>
          </a:xfrm>
        </p:grpSpPr>
        <p:sp>
          <p:nvSpPr>
            <p:cNvPr id="844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5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6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7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8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9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0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1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2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3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4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5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6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7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8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9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0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1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2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3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4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865" name="Прямоугольник 864"/>
          <p:cNvSpPr/>
          <p:nvPr/>
        </p:nvSpPr>
        <p:spPr>
          <a:xfrm flipH="1">
            <a:off x="5478767" y="3819835"/>
            <a:ext cx="120746" cy="23264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66" name="Прямоугольник 865"/>
          <p:cNvSpPr/>
          <p:nvPr/>
        </p:nvSpPr>
        <p:spPr>
          <a:xfrm rot="5400000" flipH="1">
            <a:off x="5333040" y="3669833"/>
            <a:ext cx="227980" cy="22236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67" name="Арка 866"/>
          <p:cNvSpPr/>
          <p:nvPr/>
        </p:nvSpPr>
        <p:spPr>
          <a:xfrm rot="16200000" flipH="1">
            <a:off x="5432625" y="3749687"/>
            <a:ext cx="97085" cy="90510"/>
          </a:xfrm>
          <a:prstGeom prst="blockArc">
            <a:avLst>
              <a:gd name="adj1" fmla="val 16168735"/>
              <a:gd name="adj2" fmla="val 0"/>
              <a:gd name="adj3" fmla="val 25000"/>
            </a:avLst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68" name="Арка 867"/>
          <p:cNvSpPr/>
          <p:nvPr/>
        </p:nvSpPr>
        <p:spPr>
          <a:xfrm rot="5400000" flipH="1">
            <a:off x="5364438" y="3520264"/>
            <a:ext cx="97085" cy="90510"/>
          </a:xfrm>
          <a:prstGeom prst="blockArc">
            <a:avLst>
              <a:gd name="adj1" fmla="val 16168735"/>
              <a:gd name="adj2" fmla="val 5394514"/>
              <a:gd name="adj3" fmla="val 25039"/>
            </a:avLst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69" name="Прямоугольник 868"/>
          <p:cNvSpPr/>
          <p:nvPr/>
        </p:nvSpPr>
        <p:spPr>
          <a:xfrm flipH="1">
            <a:off x="5745636" y="3819835"/>
            <a:ext cx="31586" cy="23264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70" name="Равнобедренный треугольник 869"/>
          <p:cNvSpPr/>
          <p:nvPr/>
        </p:nvSpPr>
        <p:spPr>
          <a:xfrm rot="5400000" flipH="1" flipV="1">
            <a:off x="5521016" y="3735496"/>
            <a:ext cx="31138" cy="49241"/>
          </a:xfrm>
          <a:prstGeom prst="triangle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pic>
        <p:nvPicPr>
          <p:cNvPr id="871" name="Picture 11" descr="C:\Users\Driker.AA\Desktop\Инфографика\С заливкой\Транспорт\бензовоз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96755" y="3611639"/>
            <a:ext cx="258603" cy="281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2" name="Прямоугольник 871"/>
          <p:cNvSpPr/>
          <p:nvPr/>
        </p:nvSpPr>
        <p:spPr>
          <a:xfrm rot="5400000" flipH="1">
            <a:off x="5264492" y="3670107"/>
            <a:ext cx="227980" cy="21688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73" name="Арка 872"/>
          <p:cNvSpPr/>
          <p:nvPr/>
        </p:nvSpPr>
        <p:spPr>
          <a:xfrm rot="10800000" flipH="1">
            <a:off x="5298670" y="3746400"/>
            <a:ext cx="90510" cy="97085"/>
          </a:xfrm>
          <a:prstGeom prst="blockArc">
            <a:avLst>
              <a:gd name="adj1" fmla="val 16168735"/>
              <a:gd name="adj2" fmla="val 0"/>
              <a:gd name="adj3" fmla="val 25000"/>
            </a:avLst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74" name="Прямоугольник 873"/>
          <p:cNvSpPr/>
          <p:nvPr/>
        </p:nvSpPr>
        <p:spPr>
          <a:xfrm flipH="1">
            <a:off x="5321028" y="3819240"/>
            <a:ext cx="23497" cy="23264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18" name="Прямоугольник 1017"/>
          <p:cNvSpPr/>
          <p:nvPr/>
        </p:nvSpPr>
        <p:spPr>
          <a:xfrm>
            <a:off x="4319972" y="3219822"/>
            <a:ext cx="2556284" cy="792000"/>
          </a:xfrm>
          <a:prstGeom prst="rect">
            <a:avLst/>
          </a:prstGeom>
          <a:noFill/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cxnSp>
        <p:nvCxnSpPr>
          <p:cNvPr id="1022" name="Прямая соединительная линия 1021"/>
          <p:cNvCxnSpPr>
            <a:stCxn id="789" idx="0"/>
          </p:cNvCxnSpPr>
          <p:nvPr/>
        </p:nvCxnSpPr>
        <p:spPr>
          <a:xfrm flipV="1">
            <a:off x="4566439" y="3255826"/>
            <a:ext cx="0" cy="481978"/>
          </a:xfrm>
          <a:prstGeom prst="line">
            <a:avLst/>
          </a:prstGeom>
          <a:ln>
            <a:solidFill>
              <a:schemeClr val="accent6"/>
            </a:solidFill>
            <a:prstDash val="lgDashDot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6984228" y="2298225"/>
            <a:ext cx="217152" cy="2001717"/>
            <a:chOff x="6120161" y="2176259"/>
            <a:chExt cx="124094" cy="2468158"/>
          </a:xfrm>
        </p:grpSpPr>
        <p:cxnSp>
          <p:nvCxnSpPr>
            <p:cNvPr id="1023" name="Прямая со стрелкой 1022"/>
            <p:cNvCxnSpPr/>
            <p:nvPr/>
          </p:nvCxnSpPr>
          <p:spPr>
            <a:xfrm flipH="1">
              <a:off x="6120161" y="3357000"/>
              <a:ext cx="18" cy="1087282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Прямая со стрелкой 1024"/>
            <p:cNvCxnSpPr/>
            <p:nvPr/>
          </p:nvCxnSpPr>
          <p:spPr>
            <a:xfrm flipH="1">
              <a:off x="6181875" y="2465602"/>
              <a:ext cx="8376" cy="2098760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6" name="Прямая со стрелкой 1025"/>
            <p:cNvCxnSpPr/>
            <p:nvPr/>
          </p:nvCxnSpPr>
          <p:spPr>
            <a:xfrm flipH="1">
              <a:off x="6243604" y="2176259"/>
              <a:ext cx="651" cy="2468158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Группа 3"/>
          <p:cNvGrpSpPr/>
          <p:nvPr/>
        </p:nvGrpSpPr>
        <p:grpSpPr>
          <a:xfrm>
            <a:off x="4563330" y="2298225"/>
            <a:ext cx="2636911" cy="957601"/>
            <a:chOff x="838127" y="2291763"/>
            <a:chExt cx="6654798" cy="957601"/>
          </a:xfrm>
        </p:grpSpPr>
        <p:cxnSp>
          <p:nvCxnSpPr>
            <p:cNvPr id="1021" name="Прямая соединительная линия 1020"/>
            <p:cNvCxnSpPr/>
            <p:nvPr/>
          </p:nvCxnSpPr>
          <p:spPr>
            <a:xfrm>
              <a:off x="1565034" y="2291763"/>
              <a:ext cx="5927891" cy="0"/>
            </a:xfrm>
            <a:prstGeom prst="line">
              <a:avLst/>
            </a:prstGeom>
            <a:ln>
              <a:solidFill>
                <a:schemeClr val="accent6"/>
              </a:solidFill>
              <a:prstDash val="lg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7" name="Прямая соединительная линия 1026"/>
            <p:cNvCxnSpPr/>
            <p:nvPr/>
          </p:nvCxnSpPr>
          <p:spPr>
            <a:xfrm>
              <a:off x="5017854" y="2526425"/>
              <a:ext cx="2247999" cy="0"/>
            </a:xfrm>
            <a:prstGeom prst="line">
              <a:avLst/>
            </a:prstGeom>
            <a:ln>
              <a:solidFill>
                <a:schemeClr val="accent6"/>
              </a:solidFill>
              <a:prstDash val="lg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8" name="Прямая соединительная линия 1027"/>
            <p:cNvCxnSpPr/>
            <p:nvPr/>
          </p:nvCxnSpPr>
          <p:spPr>
            <a:xfrm>
              <a:off x="838127" y="3246505"/>
              <a:ext cx="6109666" cy="2859"/>
            </a:xfrm>
            <a:prstGeom prst="line">
              <a:avLst/>
            </a:prstGeom>
            <a:ln>
              <a:solidFill>
                <a:schemeClr val="accent6"/>
              </a:solidFill>
              <a:prstDash val="lg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0" name="Группа 1029"/>
          <p:cNvGrpSpPr/>
          <p:nvPr/>
        </p:nvGrpSpPr>
        <p:grpSpPr>
          <a:xfrm rot="16200000" flipH="1" flipV="1">
            <a:off x="6714241" y="3905200"/>
            <a:ext cx="180015" cy="720080"/>
            <a:chOff x="6120177" y="2291763"/>
            <a:chExt cx="144011" cy="2072466"/>
          </a:xfrm>
        </p:grpSpPr>
        <p:cxnSp>
          <p:nvCxnSpPr>
            <p:cNvPr id="1031" name="Прямая со стрелкой 1030"/>
            <p:cNvCxnSpPr/>
            <p:nvPr/>
          </p:nvCxnSpPr>
          <p:spPr>
            <a:xfrm rot="5400000">
              <a:off x="5343012" y="3587045"/>
              <a:ext cx="1554341" cy="12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2" name="Прямая со стрелкой 1031"/>
            <p:cNvCxnSpPr/>
            <p:nvPr/>
          </p:nvCxnSpPr>
          <p:spPr>
            <a:xfrm>
              <a:off x="6192182" y="2571750"/>
              <a:ext cx="0" cy="1792479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3" name="Прямая со стрелкой 1032"/>
            <p:cNvCxnSpPr/>
            <p:nvPr/>
          </p:nvCxnSpPr>
          <p:spPr>
            <a:xfrm>
              <a:off x="6264188" y="2291763"/>
              <a:ext cx="0" cy="2072466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6" name="Соединительная линия уступом 25"/>
          <p:cNvCxnSpPr/>
          <p:nvPr/>
        </p:nvCxnSpPr>
        <p:spPr>
          <a:xfrm rot="10800000" flipV="1">
            <a:off x="4325472" y="1743658"/>
            <a:ext cx="7200" cy="882054"/>
          </a:xfrm>
          <a:prstGeom prst="bentConnector3">
            <a:avLst>
              <a:gd name="adj1" fmla="val 2843833"/>
            </a:avLst>
          </a:prstGeom>
          <a:ln w="6350">
            <a:solidFill>
              <a:schemeClr val="accent3"/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34" name="Соединительная линия уступом 1033"/>
          <p:cNvCxnSpPr>
            <a:stCxn id="1017" idx="1"/>
            <a:endCxn id="1018" idx="1"/>
          </p:cNvCxnSpPr>
          <p:nvPr/>
        </p:nvCxnSpPr>
        <p:spPr>
          <a:xfrm rot="10800000" flipV="1">
            <a:off x="4325472" y="2787730"/>
            <a:ext cx="7200" cy="828092"/>
          </a:xfrm>
          <a:prstGeom prst="bentConnector3">
            <a:avLst>
              <a:gd name="adj1" fmla="val 2930819"/>
            </a:avLst>
          </a:prstGeom>
          <a:ln w="6350">
            <a:solidFill>
              <a:schemeClr val="accent3"/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81" name="Picture85"/>
          <p:cNvSpPr>
            <a:spLocks noChangeAspect="1" noEditPoints="1"/>
          </p:cNvSpPr>
          <p:nvPr/>
        </p:nvSpPr>
        <p:spPr bwMode="auto">
          <a:xfrm>
            <a:off x="6577137" y="3306869"/>
            <a:ext cx="211744" cy="141245"/>
          </a:xfrm>
          <a:custGeom>
            <a:avLst/>
            <a:gdLst>
              <a:gd name="T0" fmla="*/ 1190 w 1700"/>
              <a:gd name="T1" fmla="*/ 0 h 1134"/>
              <a:gd name="T2" fmla="*/ 1190 w 1700"/>
              <a:gd name="T3" fmla="*/ 1134 h 1134"/>
              <a:gd name="T4" fmla="*/ 1700 w 1700"/>
              <a:gd name="T5" fmla="*/ 1134 h 1134"/>
              <a:gd name="T6" fmla="*/ 1700 w 1700"/>
              <a:gd name="T7" fmla="*/ 0 h 1134"/>
              <a:gd name="T8" fmla="*/ 1190 w 1700"/>
              <a:gd name="T9" fmla="*/ 0 h 1134"/>
              <a:gd name="T10" fmla="*/ 1644 w 1700"/>
              <a:gd name="T11" fmla="*/ 738 h 1134"/>
              <a:gd name="T12" fmla="*/ 1588 w 1700"/>
              <a:gd name="T13" fmla="*/ 738 h 1134"/>
              <a:gd name="T14" fmla="*/ 1588 w 1700"/>
              <a:gd name="T15" fmla="*/ 680 h 1134"/>
              <a:gd name="T16" fmla="*/ 1644 w 1700"/>
              <a:gd name="T17" fmla="*/ 680 h 1134"/>
              <a:gd name="T18" fmla="*/ 1644 w 1700"/>
              <a:gd name="T19" fmla="*/ 738 h 1134"/>
              <a:gd name="T20" fmla="*/ 1644 w 1700"/>
              <a:gd name="T21" fmla="*/ 510 h 1134"/>
              <a:gd name="T22" fmla="*/ 1248 w 1700"/>
              <a:gd name="T23" fmla="*/ 510 h 1134"/>
              <a:gd name="T24" fmla="*/ 1248 w 1700"/>
              <a:gd name="T25" fmla="*/ 454 h 1134"/>
              <a:gd name="T26" fmla="*/ 1644 w 1700"/>
              <a:gd name="T27" fmla="*/ 454 h 1134"/>
              <a:gd name="T28" fmla="*/ 1644 w 1700"/>
              <a:gd name="T29" fmla="*/ 510 h 1134"/>
              <a:gd name="T30" fmla="*/ 1644 w 1700"/>
              <a:gd name="T31" fmla="*/ 340 h 1134"/>
              <a:gd name="T32" fmla="*/ 1248 w 1700"/>
              <a:gd name="T33" fmla="*/ 340 h 1134"/>
              <a:gd name="T34" fmla="*/ 1248 w 1700"/>
              <a:gd name="T35" fmla="*/ 284 h 1134"/>
              <a:gd name="T36" fmla="*/ 1644 w 1700"/>
              <a:gd name="T37" fmla="*/ 284 h 1134"/>
              <a:gd name="T38" fmla="*/ 1644 w 1700"/>
              <a:gd name="T39" fmla="*/ 340 h 1134"/>
              <a:gd name="T40" fmla="*/ 1644 w 1700"/>
              <a:gd name="T41" fmla="*/ 170 h 1134"/>
              <a:gd name="T42" fmla="*/ 1248 w 1700"/>
              <a:gd name="T43" fmla="*/ 170 h 1134"/>
              <a:gd name="T44" fmla="*/ 1248 w 1700"/>
              <a:gd name="T45" fmla="*/ 114 h 1134"/>
              <a:gd name="T46" fmla="*/ 1644 w 1700"/>
              <a:gd name="T47" fmla="*/ 114 h 1134"/>
              <a:gd name="T48" fmla="*/ 1644 w 1700"/>
              <a:gd name="T49" fmla="*/ 170 h 1134"/>
              <a:gd name="T50" fmla="*/ 0 w 1700"/>
              <a:gd name="T51" fmla="*/ 964 h 1134"/>
              <a:gd name="T52" fmla="*/ 396 w 1700"/>
              <a:gd name="T53" fmla="*/ 964 h 1134"/>
              <a:gd name="T54" fmla="*/ 396 w 1700"/>
              <a:gd name="T55" fmla="*/ 1078 h 1134"/>
              <a:gd name="T56" fmla="*/ 284 w 1700"/>
              <a:gd name="T57" fmla="*/ 1078 h 1134"/>
              <a:gd name="T58" fmla="*/ 284 w 1700"/>
              <a:gd name="T59" fmla="*/ 1134 h 1134"/>
              <a:gd name="T60" fmla="*/ 794 w 1700"/>
              <a:gd name="T61" fmla="*/ 1134 h 1134"/>
              <a:gd name="T62" fmla="*/ 794 w 1700"/>
              <a:gd name="T63" fmla="*/ 1078 h 1134"/>
              <a:gd name="T64" fmla="*/ 680 w 1700"/>
              <a:gd name="T65" fmla="*/ 1078 h 1134"/>
              <a:gd name="T66" fmla="*/ 680 w 1700"/>
              <a:gd name="T67" fmla="*/ 964 h 1134"/>
              <a:gd name="T68" fmla="*/ 1078 w 1700"/>
              <a:gd name="T69" fmla="*/ 964 h 1134"/>
              <a:gd name="T70" fmla="*/ 1078 w 1700"/>
              <a:gd name="T71" fmla="*/ 170 h 1134"/>
              <a:gd name="T72" fmla="*/ 0 w 1700"/>
              <a:gd name="T73" fmla="*/ 170 h 1134"/>
              <a:gd name="T74" fmla="*/ 0 w 1700"/>
              <a:gd name="T75" fmla="*/ 964 h 1134"/>
              <a:gd name="T76" fmla="*/ 964 w 1700"/>
              <a:gd name="T77" fmla="*/ 908 h 1134"/>
              <a:gd name="T78" fmla="*/ 908 w 1700"/>
              <a:gd name="T79" fmla="*/ 908 h 1134"/>
              <a:gd name="T80" fmla="*/ 908 w 1700"/>
              <a:gd name="T81" fmla="*/ 850 h 1134"/>
              <a:gd name="T82" fmla="*/ 964 w 1700"/>
              <a:gd name="T83" fmla="*/ 850 h 1134"/>
              <a:gd name="T84" fmla="*/ 964 w 1700"/>
              <a:gd name="T85" fmla="*/ 908 h 1134"/>
              <a:gd name="T86" fmla="*/ 114 w 1700"/>
              <a:gd name="T87" fmla="*/ 284 h 1134"/>
              <a:gd name="T88" fmla="*/ 964 w 1700"/>
              <a:gd name="T89" fmla="*/ 284 h 1134"/>
              <a:gd name="T90" fmla="*/ 964 w 1700"/>
              <a:gd name="T91" fmla="*/ 794 h 1134"/>
              <a:gd name="T92" fmla="*/ 114 w 1700"/>
              <a:gd name="T93" fmla="*/ 794 h 1134"/>
              <a:gd name="T94" fmla="*/ 114 w 1700"/>
              <a:gd name="T95" fmla="*/ 284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00" h="1134">
                <a:moveTo>
                  <a:pt x="1190" y="0"/>
                </a:moveTo>
                <a:lnTo>
                  <a:pt x="1190" y="1134"/>
                </a:lnTo>
                <a:lnTo>
                  <a:pt x="1700" y="1134"/>
                </a:lnTo>
                <a:lnTo>
                  <a:pt x="1700" y="0"/>
                </a:lnTo>
                <a:lnTo>
                  <a:pt x="1190" y="0"/>
                </a:lnTo>
                <a:close/>
                <a:moveTo>
                  <a:pt x="1644" y="738"/>
                </a:moveTo>
                <a:lnTo>
                  <a:pt x="1588" y="738"/>
                </a:lnTo>
                <a:lnTo>
                  <a:pt x="1588" y="680"/>
                </a:lnTo>
                <a:lnTo>
                  <a:pt x="1644" y="680"/>
                </a:lnTo>
                <a:lnTo>
                  <a:pt x="1644" y="738"/>
                </a:lnTo>
                <a:close/>
                <a:moveTo>
                  <a:pt x="1644" y="510"/>
                </a:moveTo>
                <a:lnTo>
                  <a:pt x="1248" y="510"/>
                </a:lnTo>
                <a:lnTo>
                  <a:pt x="1248" y="454"/>
                </a:lnTo>
                <a:lnTo>
                  <a:pt x="1644" y="454"/>
                </a:lnTo>
                <a:lnTo>
                  <a:pt x="1644" y="510"/>
                </a:lnTo>
                <a:close/>
                <a:moveTo>
                  <a:pt x="1644" y="340"/>
                </a:moveTo>
                <a:lnTo>
                  <a:pt x="1248" y="340"/>
                </a:lnTo>
                <a:lnTo>
                  <a:pt x="1248" y="284"/>
                </a:lnTo>
                <a:lnTo>
                  <a:pt x="1644" y="284"/>
                </a:lnTo>
                <a:lnTo>
                  <a:pt x="1644" y="340"/>
                </a:lnTo>
                <a:close/>
                <a:moveTo>
                  <a:pt x="1644" y="170"/>
                </a:moveTo>
                <a:lnTo>
                  <a:pt x="1248" y="170"/>
                </a:lnTo>
                <a:lnTo>
                  <a:pt x="1248" y="114"/>
                </a:lnTo>
                <a:lnTo>
                  <a:pt x="1644" y="114"/>
                </a:lnTo>
                <a:lnTo>
                  <a:pt x="1644" y="170"/>
                </a:lnTo>
                <a:close/>
                <a:moveTo>
                  <a:pt x="0" y="964"/>
                </a:moveTo>
                <a:lnTo>
                  <a:pt x="396" y="964"/>
                </a:lnTo>
                <a:lnTo>
                  <a:pt x="396" y="1078"/>
                </a:lnTo>
                <a:lnTo>
                  <a:pt x="284" y="1078"/>
                </a:lnTo>
                <a:lnTo>
                  <a:pt x="284" y="1134"/>
                </a:lnTo>
                <a:lnTo>
                  <a:pt x="794" y="1134"/>
                </a:lnTo>
                <a:lnTo>
                  <a:pt x="794" y="1078"/>
                </a:lnTo>
                <a:lnTo>
                  <a:pt x="680" y="1078"/>
                </a:lnTo>
                <a:lnTo>
                  <a:pt x="680" y="964"/>
                </a:lnTo>
                <a:lnTo>
                  <a:pt x="1078" y="964"/>
                </a:lnTo>
                <a:lnTo>
                  <a:pt x="1078" y="170"/>
                </a:lnTo>
                <a:lnTo>
                  <a:pt x="0" y="170"/>
                </a:lnTo>
                <a:lnTo>
                  <a:pt x="0" y="964"/>
                </a:lnTo>
                <a:close/>
                <a:moveTo>
                  <a:pt x="964" y="908"/>
                </a:moveTo>
                <a:lnTo>
                  <a:pt x="908" y="908"/>
                </a:lnTo>
                <a:lnTo>
                  <a:pt x="908" y="850"/>
                </a:lnTo>
                <a:lnTo>
                  <a:pt x="964" y="850"/>
                </a:lnTo>
                <a:lnTo>
                  <a:pt x="964" y="908"/>
                </a:lnTo>
                <a:close/>
                <a:moveTo>
                  <a:pt x="114" y="284"/>
                </a:moveTo>
                <a:lnTo>
                  <a:pt x="964" y="284"/>
                </a:lnTo>
                <a:lnTo>
                  <a:pt x="964" y="794"/>
                </a:lnTo>
                <a:lnTo>
                  <a:pt x="114" y="794"/>
                </a:lnTo>
                <a:lnTo>
                  <a:pt x="114" y="2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sp>
        <p:nvSpPr>
          <p:cNvPr id="382" name="Прямоугольник 381"/>
          <p:cNvSpPr/>
          <p:nvPr/>
        </p:nvSpPr>
        <p:spPr>
          <a:xfrm>
            <a:off x="6361113" y="3486889"/>
            <a:ext cx="582699" cy="276999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600" dirty="0">
                <a:solidFill>
                  <a:schemeClr val="accent3"/>
                </a:solidFill>
              </a:rPr>
              <a:t>Локальная АСУТП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7512275" y="2111389"/>
            <a:ext cx="313105" cy="319708"/>
            <a:chOff x="413540" y="4047915"/>
            <a:chExt cx="403130" cy="413194"/>
          </a:xfrm>
        </p:grpSpPr>
        <p:sp>
          <p:nvSpPr>
            <p:cNvPr id="341" name="Овал 340"/>
            <p:cNvSpPr/>
            <p:nvPr/>
          </p:nvSpPr>
          <p:spPr>
            <a:xfrm>
              <a:off x="413540" y="4047915"/>
              <a:ext cx="403130" cy="413194"/>
            </a:xfrm>
            <a:prstGeom prst="ellipse">
              <a:avLst/>
            </a:prstGeom>
            <a:solidFill>
              <a:srgbClr val="3C3C3C"/>
            </a:solidFill>
            <a:ln w="28575">
              <a:solidFill>
                <a:srgbClr val="4569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grpSp>
          <p:nvGrpSpPr>
            <p:cNvPr id="13" name="Группа 12"/>
            <p:cNvGrpSpPr/>
            <p:nvPr/>
          </p:nvGrpSpPr>
          <p:grpSpPr>
            <a:xfrm>
              <a:off x="598712" y="4105397"/>
              <a:ext cx="45720" cy="297773"/>
              <a:chOff x="459681" y="3950404"/>
              <a:chExt cx="57238" cy="440877"/>
            </a:xfrm>
          </p:grpSpPr>
          <p:sp>
            <p:nvSpPr>
              <p:cNvPr id="11" name="Овал 10"/>
              <p:cNvSpPr/>
              <p:nvPr/>
            </p:nvSpPr>
            <p:spPr>
              <a:xfrm>
                <a:off x="459682" y="4308198"/>
                <a:ext cx="57237" cy="83083"/>
              </a:xfrm>
              <a:prstGeom prst="ellipse">
                <a:avLst/>
              </a:prstGeom>
              <a:solidFill>
                <a:srgbClr val="45691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800"/>
                  </a:spcBef>
                </a:pPr>
                <a:endParaRPr lang="ru-RU" sz="2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Прямоугольник 11"/>
              <p:cNvSpPr/>
              <p:nvPr/>
            </p:nvSpPr>
            <p:spPr>
              <a:xfrm>
                <a:off x="459681" y="3950404"/>
                <a:ext cx="57237" cy="303497"/>
              </a:xfrm>
              <a:prstGeom prst="rect">
                <a:avLst/>
              </a:prstGeom>
              <a:solidFill>
                <a:srgbClr val="45691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800"/>
                  </a:spcBef>
                </a:pPr>
                <a:endParaRPr lang="ru-RU" sz="2200" dirty="0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38" name="Текст 85"/>
          <p:cNvSpPr txBox="1">
            <a:spLocks/>
          </p:cNvSpPr>
          <p:nvPr/>
        </p:nvSpPr>
        <p:spPr>
          <a:xfrm>
            <a:off x="240614" y="1203598"/>
            <a:ext cx="7920880" cy="265061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Для </a:t>
            </a: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каждой нефтебазы будет реализовано 4 контура</a:t>
            </a: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:</a:t>
            </a:r>
            <a:endParaRPr lang="ru-RU" sz="900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348" name="Прямая соединительная линия 347"/>
          <p:cNvCxnSpPr/>
          <p:nvPr/>
        </p:nvCxnSpPr>
        <p:spPr>
          <a:xfrm flipV="1">
            <a:off x="5678081" y="3264957"/>
            <a:ext cx="0" cy="443863"/>
          </a:xfrm>
          <a:prstGeom prst="line">
            <a:avLst/>
          </a:prstGeom>
          <a:ln w="9525">
            <a:solidFill>
              <a:schemeClr val="accent6"/>
            </a:solidFill>
            <a:prstDash val="lgDashDot"/>
            <a:head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Прямоугольник 338"/>
          <p:cNvSpPr/>
          <p:nvPr/>
        </p:nvSpPr>
        <p:spPr>
          <a:xfrm>
            <a:off x="1691680" y="4227934"/>
            <a:ext cx="2520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solidFill>
                  <a:schemeClr val="bg1">
                    <a:lumMod val="95000"/>
                  </a:schemeClr>
                </a:solidFill>
              </a:rPr>
              <a:t>Реализация АСУ НБ (реализация интеграции с системами ком учета)</a:t>
            </a:r>
          </a:p>
        </p:txBody>
      </p:sp>
    </p:spTree>
    <p:extLst>
      <p:ext uri="{BB962C8B-B14F-4D97-AF65-F5344CB8AC3E}">
        <p14:creationId xmlns:p14="http://schemas.microsoft.com/office/powerpoint/2010/main" val="300161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0914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27066" y="192582"/>
            <a:ext cx="811180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spcBef>
                <a:spcPts val="0"/>
              </a:spcBef>
            </a:pP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Интеграция системы сбора и передачи данных</a:t>
            </a:r>
            <a:r>
              <a:rPr lang="en-US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 (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ССПД</a:t>
            </a:r>
            <a:r>
              <a:rPr lang="en-US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)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 с АСКУ, </a:t>
            </a:r>
            <a:r>
              <a:rPr lang="en-US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MES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 и АИС «</a:t>
            </a:r>
            <a:r>
              <a:rPr lang="ru-RU" sz="1600" b="1" dirty="0" err="1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Нефтеконтроль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»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chemeClr val="tx1"/>
              </a:solidFill>
            </a:endParaRPr>
          </a:p>
        </p:txBody>
      </p:sp>
      <p:sp>
        <p:nvSpPr>
          <p:cNvPr id="337" name="Прямоугольник 336"/>
          <p:cNvSpPr/>
          <p:nvPr/>
        </p:nvSpPr>
        <p:spPr>
          <a:xfrm>
            <a:off x="287524" y="1995686"/>
            <a:ext cx="5724636" cy="2448272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345" name="Прямоугольник 344"/>
          <p:cNvSpPr/>
          <p:nvPr/>
        </p:nvSpPr>
        <p:spPr>
          <a:xfrm>
            <a:off x="1619669" y="1586259"/>
            <a:ext cx="3024340" cy="243000"/>
          </a:xfrm>
          <a:prstGeom prst="rect">
            <a:avLst/>
          </a:prstGeom>
          <a:solidFill>
            <a:schemeClr val="bg1">
              <a:lumMod val="65000"/>
              <a:alpha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2155">
              <a:spcAft>
                <a:spcPts val="450"/>
              </a:spcAft>
            </a:pPr>
            <a:r>
              <a:rPr lang="ru-RU" sz="825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Единая автоматизированная </a:t>
            </a:r>
            <a:r>
              <a:rPr lang="ru-RU" sz="825" dirty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система коммерческого учета</a:t>
            </a:r>
          </a:p>
        </p:txBody>
      </p:sp>
      <p:sp>
        <p:nvSpPr>
          <p:cNvPr id="350" name="Прямоугольник 349"/>
          <p:cNvSpPr/>
          <p:nvPr/>
        </p:nvSpPr>
        <p:spPr>
          <a:xfrm>
            <a:off x="287524" y="1959682"/>
            <a:ext cx="1152128" cy="653621"/>
          </a:xfrm>
          <a:prstGeom prst="rect">
            <a:avLst/>
          </a:prstGeom>
          <a:solidFill>
            <a:schemeClr val="accent4">
              <a:lumMod val="50000"/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750" b="1" dirty="0">
                <a:solidFill>
                  <a:schemeClr val="bg1"/>
                </a:solidFill>
              </a:rPr>
              <a:t>Объем программы «</a:t>
            </a:r>
            <a:r>
              <a:rPr lang="ru-RU" sz="750" b="1" dirty="0" err="1">
                <a:solidFill>
                  <a:schemeClr val="bg1"/>
                </a:solidFill>
              </a:rPr>
              <a:t>Нефтеконтроль</a:t>
            </a:r>
            <a:r>
              <a:rPr lang="ru-RU" sz="750" b="1" dirty="0">
                <a:solidFill>
                  <a:schemeClr val="bg1"/>
                </a:solidFill>
              </a:rPr>
              <a:t>»</a:t>
            </a:r>
          </a:p>
        </p:txBody>
      </p:sp>
      <p:sp>
        <p:nvSpPr>
          <p:cNvPr id="354" name="Прямоугольник 353"/>
          <p:cNvSpPr/>
          <p:nvPr/>
        </p:nvSpPr>
        <p:spPr>
          <a:xfrm>
            <a:off x="1619671" y="1023578"/>
            <a:ext cx="3024337" cy="243000"/>
          </a:xfrm>
          <a:prstGeom prst="rect">
            <a:avLst/>
          </a:prstGeom>
          <a:solidFill>
            <a:schemeClr val="bg1">
              <a:lumMod val="65000"/>
              <a:alpha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2155">
              <a:spcAft>
                <a:spcPts val="450"/>
              </a:spcAft>
            </a:pPr>
            <a:r>
              <a:rPr lang="ru-RU" sz="825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АИС </a:t>
            </a:r>
            <a:r>
              <a:rPr lang="ru-RU" sz="825" dirty="0" err="1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Нефтеконтроль</a:t>
            </a:r>
            <a:endParaRPr lang="ru-RU" sz="825" dirty="0">
              <a:solidFill>
                <a:schemeClr val="bg1">
                  <a:lumMod val="95000"/>
                </a:schemeClr>
              </a:solidFill>
              <a:latin typeface="DINPro-Medium" panose="02000503030000020004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601670" y="2283718"/>
            <a:ext cx="3060340" cy="288032"/>
            <a:chOff x="1619672" y="2463738"/>
            <a:chExt cx="3060340" cy="288032"/>
          </a:xfrm>
        </p:grpSpPr>
        <p:sp>
          <p:nvSpPr>
            <p:cNvPr id="343" name="Прямоугольник 342"/>
            <p:cNvSpPr/>
            <p:nvPr/>
          </p:nvSpPr>
          <p:spPr>
            <a:xfrm>
              <a:off x="1619672" y="2463738"/>
              <a:ext cx="3060340" cy="288032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r>
                <a:rPr lang="ru-RU" sz="825" dirty="0">
                  <a:solidFill>
                    <a:schemeClr val="bg1">
                      <a:lumMod val="95000"/>
                    </a:schemeClr>
                  </a:solidFill>
                  <a:latin typeface="DINPro-Medium" panose="02000503030000020004" pitchFamily="2" charset="0"/>
                  <a:ea typeface="Tahoma" panose="020B0604030504040204" pitchFamily="34" charset="0"/>
                  <a:cs typeface="Tahoma" panose="020B0604030504040204" pitchFamily="34" charset="0"/>
                </a:rPr>
                <a:t>АСУП (</a:t>
              </a:r>
              <a:r>
                <a:rPr lang="en-US" sz="825" dirty="0">
                  <a:solidFill>
                    <a:schemeClr val="bg1">
                      <a:lumMod val="95000"/>
                    </a:schemeClr>
                  </a:solidFill>
                  <a:latin typeface="DINPro-Medium" panose="02000503030000020004" pitchFamily="2" charset="0"/>
                  <a:ea typeface="Tahoma" panose="020B0604030504040204" pitchFamily="34" charset="0"/>
                  <a:cs typeface="Tahoma" panose="020B0604030504040204" pitchFamily="34" charset="0"/>
                </a:rPr>
                <a:t>MES</a:t>
              </a:r>
              <a:r>
                <a:rPr lang="ru-RU" sz="825" dirty="0">
                  <a:solidFill>
                    <a:schemeClr val="bg1">
                      <a:lumMod val="95000"/>
                    </a:schemeClr>
                  </a:solidFill>
                  <a:latin typeface="DINPro-Medium" panose="02000503030000020004" pitchFamily="2" charset="0"/>
                  <a:ea typeface="Tahoma" panose="020B0604030504040204" pitchFamily="34" charset="0"/>
                  <a:cs typeface="Tahoma" panose="020B0604030504040204" pitchFamily="34" charset="0"/>
                </a:rPr>
                <a:t>) НБ (Управление производством</a:t>
              </a:r>
              <a:r>
                <a:rPr lang="ru-RU" sz="825" dirty="0" smtClean="0">
                  <a:solidFill>
                    <a:schemeClr val="bg1">
                      <a:lumMod val="95000"/>
                    </a:schemeClr>
                  </a:solidFill>
                  <a:latin typeface="DINPro-Medium" panose="02000503030000020004" pitchFamily="2" charset="0"/>
                  <a:ea typeface="Tahoma" panose="020B0604030504040204" pitchFamily="34" charset="0"/>
                  <a:cs typeface="Tahoma" panose="020B0604030504040204" pitchFamily="34" charset="0"/>
                </a:rPr>
                <a:t>)*</a:t>
              </a:r>
              <a:endParaRPr lang="ru-RU" sz="825" dirty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56" name="Picture79"/>
            <p:cNvSpPr>
              <a:spLocks noChangeAspect="1" noEditPoints="1"/>
            </p:cNvSpPr>
            <p:nvPr/>
          </p:nvSpPr>
          <p:spPr bwMode="auto">
            <a:xfrm>
              <a:off x="4355976" y="2499742"/>
              <a:ext cx="239987" cy="215988"/>
            </a:xfrm>
            <a:custGeom>
              <a:avLst/>
              <a:gdLst>
                <a:gd name="T0" fmla="*/ 626 w 1700"/>
                <a:gd name="T1" fmla="*/ 1474 h 1530"/>
                <a:gd name="T2" fmla="*/ 1190 w 1700"/>
                <a:gd name="T3" fmla="*/ 1530 h 1530"/>
                <a:gd name="T4" fmla="*/ 1036 w 1700"/>
                <a:gd name="T5" fmla="*/ 1304 h 1530"/>
                <a:gd name="T6" fmla="*/ 80 w 1700"/>
                <a:gd name="T7" fmla="*/ 0 h 1530"/>
                <a:gd name="T8" fmla="*/ 34 w 1700"/>
                <a:gd name="T9" fmla="*/ 14 h 1530"/>
                <a:gd name="T10" fmla="*/ 6 w 1700"/>
                <a:gd name="T11" fmla="*/ 50 h 1530"/>
                <a:gd name="T12" fmla="*/ 0 w 1700"/>
                <a:gd name="T13" fmla="*/ 1168 h 1530"/>
                <a:gd name="T14" fmla="*/ 6 w 1700"/>
                <a:gd name="T15" fmla="*/ 1198 h 1530"/>
                <a:gd name="T16" fmla="*/ 34 w 1700"/>
                <a:gd name="T17" fmla="*/ 1234 h 1530"/>
                <a:gd name="T18" fmla="*/ 80 w 1700"/>
                <a:gd name="T19" fmla="*/ 1248 h 1530"/>
                <a:gd name="T20" fmla="*/ 1636 w 1700"/>
                <a:gd name="T21" fmla="*/ 1246 h 1530"/>
                <a:gd name="T22" fmla="*/ 1676 w 1700"/>
                <a:gd name="T23" fmla="*/ 1224 h 1530"/>
                <a:gd name="T24" fmla="*/ 1698 w 1700"/>
                <a:gd name="T25" fmla="*/ 1184 h 1530"/>
                <a:gd name="T26" fmla="*/ 1700 w 1700"/>
                <a:gd name="T27" fmla="*/ 80 h 1530"/>
                <a:gd name="T28" fmla="*/ 1686 w 1700"/>
                <a:gd name="T29" fmla="*/ 36 h 1530"/>
                <a:gd name="T30" fmla="*/ 1652 w 1700"/>
                <a:gd name="T31" fmla="*/ 6 h 1530"/>
                <a:gd name="T32" fmla="*/ 1620 w 1700"/>
                <a:gd name="T33" fmla="*/ 0 h 1530"/>
                <a:gd name="T34" fmla="*/ 864 w 1700"/>
                <a:gd name="T35" fmla="*/ 1144 h 1530"/>
                <a:gd name="T36" fmla="*/ 838 w 1700"/>
                <a:gd name="T37" fmla="*/ 1148 h 1530"/>
                <a:gd name="T38" fmla="*/ 826 w 1700"/>
                <a:gd name="T39" fmla="*/ 1148 h 1530"/>
                <a:gd name="T40" fmla="*/ 802 w 1700"/>
                <a:gd name="T41" fmla="*/ 1124 h 1530"/>
                <a:gd name="T42" fmla="*/ 786 w 1700"/>
                <a:gd name="T43" fmla="*/ 1088 h 1530"/>
                <a:gd name="T44" fmla="*/ 784 w 1700"/>
                <a:gd name="T45" fmla="*/ 1062 h 1530"/>
                <a:gd name="T46" fmla="*/ 796 w 1700"/>
                <a:gd name="T47" fmla="*/ 1030 h 1530"/>
                <a:gd name="T48" fmla="*/ 822 w 1700"/>
                <a:gd name="T49" fmla="*/ 1016 h 1530"/>
                <a:gd name="T50" fmla="*/ 838 w 1700"/>
                <a:gd name="T51" fmla="*/ 1016 h 1530"/>
                <a:gd name="T52" fmla="*/ 854 w 1700"/>
                <a:gd name="T53" fmla="*/ 1024 h 1530"/>
                <a:gd name="T54" fmla="*/ 878 w 1700"/>
                <a:gd name="T55" fmla="*/ 1014 h 1530"/>
                <a:gd name="T56" fmla="*/ 896 w 1700"/>
                <a:gd name="T57" fmla="*/ 1018 h 1530"/>
                <a:gd name="T58" fmla="*/ 916 w 1700"/>
                <a:gd name="T59" fmla="*/ 1036 h 1530"/>
                <a:gd name="T60" fmla="*/ 900 w 1700"/>
                <a:gd name="T61" fmla="*/ 1048 h 1530"/>
                <a:gd name="T62" fmla="*/ 894 w 1700"/>
                <a:gd name="T63" fmla="*/ 1068 h 1530"/>
                <a:gd name="T64" fmla="*/ 910 w 1700"/>
                <a:gd name="T65" fmla="*/ 1096 h 1530"/>
                <a:gd name="T66" fmla="*/ 908 w 1700"/>
                <a:gd name="T67" fmla="*/ 1122 h 1530"/>
                <a:gd name="T68" fmla="*/ 882 w 1700"/>
                <a:gd name="T69" fmla="*/ 1150 h 1530"/>
                <a:gd name="T70" fmla="*/ 872 w 1700"/>
                <a:gd name="T71" fmla="*/ 1148 h 1530"/>
                <a:gd name="T72" fmla="*/ 872 w 1700"/>
                <a:gd name="T73" fmla="*/ 976 h 1530"/>
                <a:gd name="T74" fmla="*/ 890 w 1700"/>
                <a:gd name="T75" fmla="*/ 968 h 1530"/>
                <a:gd name="T76" fmla="*/ 882 w 1700"/>
                <a:gd name="T77" fmla="*/ 996 h 1530"/>
                <a:gd name="T78" fmla="*/ 866 w 1700"/>
                <a:gd name="T79" fmla="*/ 1008 h 1530"/>
                <a:gd name="T80" fmla="*/ 858 w 1700"/>
                <a:gd name="T81" fmla="*/ 1000 h 1530"/>
                <a:gd name="T82" fmla="*/ 866 w 1700"/>
                <a:gd name="T83" fmla="*/ 982 h 1530"/>
                <a:gd name="T84" fmla="*/ 112 w 1700"/>
                <a:gd name="T85" fmla="*/ 114 h 1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00" h="1530">
                  <a:moveTo>
                    <a:pt x="1036" y="1304"/>
                  </a:moveTo>
                  <a:lnTo>
                    <a:pt x="664" y="1304"/>
                  </a:lnTo>
                  <a:lnTo>
                    <a:pt x="626" y="1474"/>
                  </a:lnTo>
                  <a:lnTo>
                    <a:pt x="510" y="1474"/>
                  </a:lnTo>
                  <a:lnTo>
                    <a:pt x="510" y="1530"/>
                  </a:lnTo>
                  <a:lnTo>
                    <a:pt x="1190" y="1530"/>
                  </a:lnTo>
                  <a:lnTo>
                    <a:pt x="1190" y="1474"/>
                  </a:lnTo>
                  <a:lnTo>
                    <a:pt x="1074" y="1474"/>
                  </a:lnTo>
                  <a:lnTo>
                    <a:pt x="1036" y="1304"/>
                  </a:lnTo>
                  <a:close/>
                  <a:moveTo>
                    <a:pt x="1620" y="0"/>
                  </a:moveTo>
                  <a:lnTo>
                    <a:pt x="80" y="0"/>
                  </a:lnTo>
                  <a:lnTo>
                    <a:pt x="80" y="0"/>
                  </a:lnTo>
                  <a:lnTo>
                    <a:pt x="64" y="2"/>
                  </a:lnTo>
                  <a:lnTo>
                    <a:pt x="48" y="6"/>
                  </a:lnTo>
                  <a:lnTo>
                    <a:pt x="34" y="14"/>
                  </a:lnTo>
                  <a:lnTo>
                    <a:pt x="24" y="24"/>
                  </a:lnTo>
                  <a:lnTo>
                    <a:pt x="14" y="36"/>
                  </a:lnTo>
                  <a:lnTo>
                    <a:pt x="6" y="50"/>
                  </a:lnTo>
                  <a:lnTo>
                    <a:pt x="2" y="64"/>
                  </a:lnTo>
                  <a:lnTo>
                    <a:pt x="0" y="80"/>
                  </a:lnTo>
                  <a:lnTo>
                    <a:pt x="0" y="1168"/>
                  </a:lnTo>
                  <a:lnTo>
                    <a:pt x="0" y="1168"/>
                  </a:lnTo>
                  <a:lnTo>
                    <a:pt x="2" y="1184"/>
                  </a:lnTo>
                  <a:lnTo>
                    <a:pt x="6" y="1198"/>
                  </a:lnTo>
                  <a:lnTo>
                    <a:pt x="14" y="1212"/>
                  </a:lnTo>
                  <a:lnTo>
                    <a:pt x="24" y="1224"/>
                  </a:lnTo>
                  <a:lnTo>
                    <a:pt x="34" y="1234"/>
                  </a:lnTo>
                  <a:lnTo>
                    <a:pt x="48" y="1242"/>
                  </a:lnTo>
                  <a:lnTo>
                    <a:pt x="64" y="1246"/>
                  </a:lnTo>
                  <a:lnTo>
                    <a:pt x="80" y="1248"/>
                  </a:lnTo>
                  <a:lnTo>
                    <a:pt x="1620" y="1248"/>
                  </a:lnTo>
                  <a:lnTo>
                    <a:pt x="1620" y="1248"/>
                  </a:lnTo>
                  <a:lnTo>
                    <a:pt x="1636" y="1246"/>
                  </a:lnTo>
                  <a:lnTo>
                    <a:pt x="1652" y="1242"/>
                  </a:lnTo>
                  <a:lnTo>
                    <a:pt x="1666" y="1234"/>
                  </a:lnTo>
                  <a:lnTo>
                    <a:pt x="1676" y="1224"/>
                  </a:lnTo>
                  <a:lnTo>
                    <a:pt x="1686" y="1212"/>
                  </a:lnTo>
                  <a:lnTo>
                    <a:pt x="1694" y="1198"/>
                  </a:lnTo>
                  <a:lnTo>
                    <a:pt x="1698" y="1184"/>
                  </a:lnTo>
                  <a:lnTo>
                    <a:pt x="1700" y="1168"/>
                  </a:lnTo>
                  <a:lnTo>
                    <a:pt x="1700" y="80"/>
                  </a:lnTo>
                  <a:lnTo>
                    <a:pt x="1700" y="80"/>
                  </a:lnTo>
                  <a:lnTo>
                    <a:pt x="1698" y="64"/>
                  </a:lnTo>
                  <a:lnTo>
                    <a:pt x="1694" y="50"/>
                  </a:lnTo>
                  <a:lnTo>
                    <a:pt x="1686" y="36"/>
                  </a:lnTo>
                  <a:lnTo>
                    <a:pt x="1676" y="24"/>
                  </a:lnTo>
                  <a:lnTo>
                    <a:pt x="1666" y="14"/>
                  </a:lnTo>
                  <a:lnTo>
                    <a:pt x="1652" y="6"/>
                  </a:lnTo>
                  <a:lnTo>
                    <a:pt x="1636" y="2"/>
                  </a:lnTo>
                  <a:lnTo>
                    <a:pt x="1620" y="0"/>
                  </a:lnTo>
                  <a:lnTo>
                    <a:pt x="1620" y="0"/>
                  </a:lnTo>
                  <a:close/>
                  <a:moveTo>
                    <a:pt x="872" y="1148"/>
                  </a:moveTo>
                  <a:lnTo>
                    <a:pt x="872" y="1148"/>
                  </a:lnTo>
                  <a:lnTo>
                    <a:pt x="864" y="1144"/>
                  </a:lnTo>
                  <a:lnTo>
                    <a:pt x="856" y="1142"/>
                  </a:lnTo>
                  <a:lnTo>
                    <a:pt x="848" y="1144"/>
                  </a:lnTo>
                  <a:lnTo>
                    <a:pt x="838" y="1148"/>
                  </a:lnTo>
                  <a:lnTo>
                    <a:pt x="838" y="1148"/>
                  </a:lnTo>
                  <a:lnTo>
                    <a:pt x="832" y="1150"/>
                  </a:lnTo>
                  <a:lnTo>
                    <a:pt x="826" y="1148"/>
                  </a:lnTo>
                  <a:lnTo>
                    <a:pt x="818" y="1142"/>
                  </a:lnTo>
                  <a:lnTo>
                    <a:pt x="810" y="1134"/>
                  </a:lnTo>
                  <a:lnTo>
                    <a:pt x="802" y="1124"/>
                  </a:lnTo>
                  <a:lnTo>
                    <a:pt x="796" y="1114"/>
                  </a:lnTo>
                  <a:lnTo>
                    <a:pt x="790" y="1100"/>
                  </a:lnTo>
                  <a:lnTo>
                    <a:pt x="786" y="1088"/>
                  </a:lnTo>
                  <a:lnTo>
                    <a:pt x="786" y="1088"/>
                  </a:lnTo>
                  <a:lnTo>
                    <a:pt x="782" y="1074"/>
                  </a:lnTo>
                  <a:lnTo>
                    <a:pt x="784" y="1062"/>
                  </a:lnTo>
                  <a:lnTo>
                    <a:pt x="786" y="1050"/>
                  </a:lnTo>
                  <a:lnTo>
                    <a:pt x="790" y="1040"/>
                  </a:lnTo>
                  <a:lnTo>
                    <a:pt x="796" y="1030"/>
                  </a:lnTo>
                  <a:lnTo>
                    <a:pt x="804" y="1022"/>
                  </a:lnTo>
                  <a:lnTo>
                    <a:pt x="812" y="1018"/>
                  </a:lnTo>
                  <a:lnTo>
                    <a:pt x="822" y="1016"/>
                  </a:lnTo>
                  <a:lnTo>
                    <a:pt x="822" y="1016"/>
                  </a:lnTo>
                  <a:lnTo>
                    <a:pt x="830" y="1014"/>
                  </a:lnTo>
                  <a:lnTo>
                    <a:pt x="838" y="1016"/>
                  </a:lnTo>
                  <a:lnTo>
                    <a:pt x="846" y="1020"/>
                  </a:lnTo>
                  <a:lnTo>
                    <a:pt x="854" y="1024"/>
                  </a:lnTo>
                  <a:lnTo>
                    <a:pt x="854" y="1024"/>
                  </a:lnTo>
                  <a:lnTo>
                    <a:pt x="862" y="1020"/>
                  </a:lnTo>
                  <a:lnTo>
                    <a:pt x="870" y="1016"/>
                  </a:lnTo>
                  <a:lnTo>
                    <a:pt x="878" y="1014"/>
                  </a:lnTo>
                  <a:lnTo>
                    <a:pt x="886" y="1016"/>
                  </a:lnTo>
                  <a:lnTo>
                    <a:pt x="886" y="1016"/>
                  </a:lnTo>
                  <a:lnTo>
                    <a:pt x="896" y="1018"/>
                  </a:lnTo>
                  <a:lnTo>
                    <a:pt x="904" y="1022"/>
                  </a:lnTo>
                  <a:lnTo>
                    <a:pt x="910" y="1028"/>
                  </a:lnTo>
                  <a:lnTo>
                    <a:pt x="916" y="1036"/>
                  </a:lnTo>
                  <a:lnTo>
                    <a:pt x="916" y="1036"/>
                  </a:lnTo>
                  <a:lnTo>
                    <a:pt x="908" y="1042"/>
                  </a:lnTo>
                  <a:lnTo>
                    <a:pt x="900" y="1048"/>
                  </a:lnTo>
                  <a:lnTo>
                    <a:pt x="896" y="1058"/>
                  </a:lnTo>
                  <a:lnTo>
                    <a:pt x="894" y="1068"/>
                  </a:lnTo>
                  <a:lnTo>
                    <a:pt x="894" y="1068"/>
                  </a:lnTo>
                  <a:lnTo>
                    <a:pt x="896" y="1080"/>
                  </a:lnTo>
                  <a:lnTo>
                    <a:pt x="902" y="1090"/>
                  </a:lnTo>
                  <a:lnTo>
                    <a:pt x="910" y="1096"/>
                  </a:lnTo>
                  <a:lnTo>
                    <a:pt x="918" y="1102"/>
                  </a:lnTo>
                  <a:lnTo>
                    <a:pt x="918" y="1102"/>
                  </a:lnTo>
                  <a:lnTo>
                    <a:pt x="908" y="1122"/>
                  </a:lnTo>
                  <a:lnTo>
                    <a:pt x="896" y="1140"/>
                  </a:lnTo>
                  <a:lnTo>
                    <a:pt x="888" y="1146"/>
                  </a:lnTo>
                  <a:lnTo>
                    <a:pt x="882" y="1150"/>
                  </a:lnTo>
                  <a:lnTo>
                    <a:pt x="876" y="1150"/>
                  </a:lnTo>
                  <a:lnTo>
                    <a:pt x="872" y="1148"/>
                  </a:lnTo>
                  <a:lnTo>
                    <a:pt x="872" y="1148"/>
                  </a:lnTo>
                  <a:close/>
                  <a:moveTo>
                    <a:pt x="866" y="982"/>
                  </a:moveTo>
                  <a:lnTo>
                    <a:pt x="866" y="982"/>
                  </a:lnTo>
                  <a:lnTo>
                    <a:pt x="872" y="976"/>
                  </a:lnTo>
                  <a:lnTo>
                    <a:pt x="880" y="972"/>
                  </a:lnTo>
                  <a:lnTo>
                    <a:pt x="890" y="968"/>
                  </a:lnTo>
                  <a:lnTo>
                    <a:pt x="890" y="968"/>
                  </a:lnTo>
                  <a:lnTo>
                    <a:pt x="890" y="978"/>
                  </a:lnTo>
                  <a:lnTo>
                    <a:pt x="886" y="986"/>
                  </a:lnTo>
                  <a:lnTo>
                    <a:pt x="882" y="996"/>
                  </a:lnTo>
                  <a:lnTo>
                    <a:pt x="882" y="996"/>
                  </a:lnTo>
                  <a:lnTo>
                    <a:pt x="874" y="1002"/>
                  </a:lnTo>
                  <a:lnTo>
                    <a:pt x="866" y="1008"/>
                  </a:lnTo>
                  <a:lnTo>
                    <a:pt x="858" y="1010"/>
                  </a:lnTo>
                  <a:lnTo>
                    <a:pt x="858" y="1010"/>
                  </a:lnTo>
                  <a:lnTo>
                    <a:pt x="858" y="1000"/>
                  </a:lnTo>
                  <a:lnTo>
                    <a:pt x="860" y="992"/>
                  </a:lnTo>
                  <a:lnTo>
                    <a:pt x="866" y="982"/>
                  </a:lnTo>
                  <a:lnTo>
                    <a:pt x="866" y="982"/>
                  </a:lnTo>
                  <a:close/>
                  <a:moveTo>
                    <a:pt x="1588" y="908"/>
                  </a:moveTo>
                  <a:lnTo>
                    <a:pt x="112" y="908"/>
                  </a:lnTo>
                  <a:lnTo>
                    <a:pt x="112" y="114"/>
                  </a:lnTo>
                  <a:lnTo>
                    <a:pt x="1588" y="114"/>
                  </a:lnTo>
                  <a:lnTo>
                    <a:pt x="1588" y="90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360" name="Прямоугольник 359"/>
          <p:cNvSpPr/>
          <p:nvPr/>
        </p:nvSpPr>
        <p:spPr>
          <a:xfrm>
            <a:off x="287524" y="1239602"/>
            <a:ext cx="1152128" cy="653621"/>
          </a:xfrm>
          <a:prstGeom prst="rect">
            <a:avLst/>
          </a:prstGeom>
          <a:solidFill>
            <a:schemeClr val="accent4">
              <a:lumMod val="50000"/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750" b="1" dirty="0">
                <a:solidFill>
                  <a:schemeClr val="bg1"/>
                </a:solidFill>
              </a:rPr>
              <a:t>Интеграция вне программы</a:t>
            </a:r>
          </a:p>
        </p:txBody>
      </p:sp>
      <p:sp>
        <p:nvSpPr>
          <p:cNvPr id="362" name="Прямоугольник 361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6264188" y="979622"/>
            <a:ext cx="2543200" cy="3752368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450"/>
              </a:spcBef>
            </a:pPr>
            <a:endParaRPr lang="ru-RU" sz="1050" b="1" dirty="0">
              <a:solidFill>
                <a:schemeClr val="bg1"/>
              </a:solidFill>
              <a:latin typeface="DINPro-Medium" panose="02000503030000020004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8" name="Прямоугольник 367"/>
          <p:cNvSpPr/>
          <p:nvPr/>
        </p:nvSpPr>
        <p:spPr>
          <a:xfrm>
            <a:off x="1196447" y="4155926"/>
            <a:ext cx="1361168" cy="28304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ИС при приеме</a:t>
            </a:r>
          </a:p>
        </p:txBody>
      </p:sp>
      <p:sp>
        <p:nvSpPr>
          <p:cNvPr id="369" name="Прямоугольник 368"/>
          <p:cNvSpPr/>
          <p:nvPr/>
        </p:nvSpPr>
        <p:spPr>
          <a:xfrm>
            <a:off x="4014303" y="4187148"/>
            <a:ext cx="1361168" cy="22239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ИС при отпуске</a:t>
            </a:r>
          </a:p>
        </p:txBody>
      </p:sp>
      <p:sp>
        <p:nvSpPr>
          <p:cNvPr id="370" name="Прямоугольник 369"/>
          <p:cNvSpPr/>
          <p:nvPr/>
        </p:nvSpPr>
        <p:spPr>
          <a:xfrm>
            <a:off x="2581679" y="4263351"/>
            <a:ext cx="1361168" cy="10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ИС РВС</a:t>
            </a:r>
            <a:r>
              <a:rPr lang="en-US" sz="700" b="1" dirty="0">
                <a:solidFill>
                  <a:schemeClr val="bg1">
                    <a:lumMod val="95000"/>
                  </a:schemeClr>
                </a:solidFill>
              </a:rPr>
              <a:t>/</a:t>
            </a: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РГС</a:t>
            </a:r>
          </a:p>
        </p:txBody>
      </p:sp>
      <p:grpSp>
        <p:nvGrpSpPr>
          <p:cNvPr id="371" name="Группа 370"/>
          <p:cNvGrpSpPr/>
          <p:nvPr/>
        </p:nvGrpSpPr>
        <p:grpSpPr>
          <a:xfrm>
            <a:off x="1465886" y="3761205"/>
            <a:ext cx="942553" cy="377792"/>
            <a:chOff x="1583668" y="3989565"/>
            <a:chExt cx="942553" cy="377792"/>
          </a:xfrm>
        </p:grpSpPr>
        <p:pic>
          <p:nvPicPr>
            <p:cNvPr id="372" name="Picture 2" descr="\\gazprom-neft.local\dfs\Газпром нефть\Папки пользователей\Личные папки\Driker.AA\Desktop\Инфографика\С заливкой\Транспорт\ж_д_цистерна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3668" y="3989565"/>
              <a:ext cx="704456" cy="3587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73" name="knot_z"/>
            <p:cNvGrpSpPr>
              <a:grpSpLocks noChangeAspect="1"/>
            </p:cNvGrpSpPr>
            <p:nvPr/>
          </p:nvGrpSpPr>
          <p:grpSpPr>
            <a:xfrm rot="5400000">
              <a:off x="2280747" y="4027117"/>
              <a:ext cx="255258" cy="235690"/>
              <a:chOff x="5645151" y="4616451"/>
              <a:chExt cx="854075" cy="681038"/>
            </a:xfrm>
          </p:grpSpPr>
          <p:sp>
            <p:nvSpPr>
              <p:cNvPr id="376" name="Freeform 224"/>
              <p:cNvSpPr>
                <a:spLocks/>
              </p:cNvSpPr>
              <p:nvPr/>
            </p:nvSpPr>
            <p:spPr bwMode="auto">
              <a:xfrm>
                <a:off x="6373813" y="5005388"/>
                <a:ext cx="25400" cy="84138"/>
              </a:xfrm>
              <a:custGeom>
                <a:avLst/>
                <a:gdLst>
                  <a:gd name="T0" fmla="*/ 62 w 62"/>
                  <a:gd name="T1" fmla="*/ 213 h 213"/>
                  <a:gd name="T2" fmla="*/ 0 w 62"/>
                  <a:gd name="T3" fmla="*/ 213 h 213"/>
                  <a:gd name="T4" fmla="*/ 0 w 62"/>
                  <a:gd name="T5" fmla="*/ 0 h 213"/>
                  <a:gd name="T6" fmla="*/ 9 w 62"/>
                  <a:gd name="T7" fmla="*/ 3 h 213"/>
                  <a:gd name="T8" fmla="*/ 17 w 62"/>
                  <a:gd name="T9" fmla="*/ 6 h 213"/>
                  <a:gd name="T10" fmla="*/ 26 w 62"/>
                  <a:gd name="T11" fmla="*/ 6 h 213"/>
                  <a:gd name="T12" fmla="*/ 34 w 62"/>
                  <a:gd name="T13" fmla="*/ 7 h 213"/>
                  <a:gd name="T14" fmla="*/ 41 w 62"/>
                  <a:gd name="T15" fmla="*/ 6 h 213"/>
                  <a:gd name="T16" fmla="*/ 48 w 62"/>
                  <a:gd name="T17" fmla="*/ 4 h 213"/>
                  <a:gd name="T18" fmla="*/ 55 w 62"/>
                  <a:gd name="T19" fmla="*/ 3 h 213"/>
                  <a:gd name="T20" fmla="*/ 62 w 62"/>
                  <a:gd name="T21" fmla="*/ 0 h 213"/>
                  <a:gd name="T22" fmla="*/ 62 w 62"/>
                  <a:gd name="T23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213">
                    <a:moveTo>
                      <a:pt x="62" y="213"/>
                    </a:moveTo>
                    <a:lnTo>
                      <a:pt x="0" y="213"/>
                    </a:lnTo>
                    <a:lnTo>
                      <a:pt x="0" y="0"/>
                    </a:lnTo>
                    <a:lnTo>
                      <a:pt x="9" y="3"/>
                    </a:lnTo>
                    <a:lnTo>
                      <a:pt x="17" y="6"/>
                    </a:lnTo>
                    <a:lnTo>
                      <a:pt x="26" y="6"/>
                    </a:lnTo>
                    <a:lnTo>
                      <a:pt x="34" y="7"/>
                    </a:lnTo>
                    <a:lnTo>
                      <a:pt x="41" y="6"/>
                    </a:lnTo>
                    <a:lnTo>
                      <a:pt x="48" y="4"/>
                    </a:lnTo>
                    <a:lnTo>
                      <a:pt x="55" y="3"/>
                    </a:lnTo>
                    <a:lnTo>
                      <a:pt x="62" y="0"/>
                    </a:lnTo>
                    <a:lnTo>
                      <a:pt x="62" y="213"/>
                    </a:lnTo>
                    <a:close/>
                  </a:path>
                </a:pathLst>
              </a:cu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77" name="Freeform 225"/>
              <p:cNvSpPr>
                <a:spLocks/>
              </p:cNvSpPr>
              <p:nvPr/>
            </p:nvSpPr>
            <p:spPr bwMode="auto">
              <a:xfrm>
                <a:off x="6337301" y="4884738"/>
                <a:ext cx="100013" cy="101600"/>
              </a:xfrm>
              <a:custGeom>
                <a:avLst/>
                <a:gdLst>
                  <a:gd name="T0" fmla="*/ 114 w 253"/>
                  <a:gd name="T1" fmla="*/ 255 h 255"/>
                  <a:gd name="T2" fmla="*/ 89 w 253"/>
                  <a:gd name="T3" fmla="*/ 249 h 255"/>
                  <a:gd name="T4" fmla="*/ 65 w 253"/>
                  <a:gd name="T5" fmla="*/ 239 h 255"/>
                  <a:gd name="T6" fmla="*/ 45 w 253"/>
                  <a:gd name="T7" fmla="*/ 225 h 255"/>
                  <a:gd name="T8" fmla="*/ 28 w 253"/>
                  <a:gd name="T9" fmla="*/ 209 h 255"/>
                  <a:gd name="T10" fmla="*/ 15 w 253"/>
                  <a:gd name="T11" fmla="*/ 188 h 255"/>
                  <a:gd name="T12" fmla="*/ 4 w 253"/>
                  <a:gd name="T13" fmla="*/ 165 h 255"/>
                  <a:gd name="T14" fmla="*/ 0 w 253"/>
                  <a:gd name="T15" fmla="*/ 141 h 255"/>
                  <a:gd name="T16" fmla="*/ 0 w 253"/>
                  <a:gd name="T17" fmla="*/ 115 h 255"/>
                  <a:gd name="T18" fmla="*/ 4 w 253"/>
                  <a:gd name="T19" fmla="*/ 89 h 255"/>
                  <a:gd name="T20" fmla="*/ 15 w 253"/>
                  <a:gd name="T21" fmla="*/ 67 h 255"/>
                  <a:gd name="T22" fmla="*/ 28 w 253"/>
                  <a:gd name="T23" fmla="*/ 47 h 255"/>
                  <a:gd name="T24" fmla="*/ 45 w 253"/>
                  <a:gd name="T25" fmla="*/ 29 h 255"/>
                  <a:gd name="T26" fmla="*/ 65 w 253"/>
                  <a:gd name="T27" fmla="*/ 15 h 255"/>
                  <a:gd name="T28" fmla="*/ 89 w 253"/>
                  <a:gd name="T29" fmla="*/ 6 h 255"/>
                  <a:gd name="T30" fmla="*/ 114 w 253"/>
                  <a:gd name="T31" fmla="*/ 1 h 255"/>
                  <a:gd name="T32" fmla="*/ 139 w 253"/>
                  <a:gd name="T33" fmla="*/ 1 h 255"/>
                  <a:gd name="T34" fmla="*/ 164 w 253"/>
                  <a:gd name="T35" fmla="*/ 6 h 255"/>
                  <a:gd name="T36" fmla="*/ 188 w 253"/>
                  <a:gd name="T37" fmla="*/ 15 h 255"/>
                  <a:gd name="T38" fmla="*/ 208 w 253"/>
                  <a:gd name="T39" fmla="*/ 29 h 255"/>
                  <a:gd name="T40" fmla="*/ 225 w 253"/>
                  <a:gd name="T41" fmla="*/ 47 h 255"/>
                  <a:gd name="T42" fmla="*/ 238 w 253"/>
                  <a:gd name="T43" fmla="*/ 67 h 255"/>
                  <a:gd name="T44" fmla="*/ 247 w 253"/>
                  <a:gd name="T45" fmla="*/ 89 h 255"/>
                  <a:gd name="T46" fmla="*/ 253 w 253"/>
                  <a:gd name="T47" fmla="*/ 115 h 255"/>
                  <a:gd name="T48" fmla="*/ 253 w 253"/>
                  <a:gd name="T49" fmla="*/ 141 h 255"/>
                  <a:gd name="T50" fmla="*/ 247 w 253"/>
                  <a:gd name="T51" fmla="*/ 165 h 255"/>
                  <a:gd name="T52" fmla="*/ 238 w 253"/>
                  <a:gd name="T53" fmla="*/ 188 h 255"/>
                  <a:gd name="T54" fmla="*/ 225 w 253"/>
                  <a:gd name="T55" fmla="*/ 209 h 255"/>
                  <a:gd name="T56" fmla="*/ 208 w 253"/>
                  <a:gd name="T57" fmla="*/ 225 h 255"/>
                  <a:gd name="T58" fmla="*/ 188 w 253"/>
                  <a:gd name="T59" fmla="*/ 239 h 255"/>
                  <a:gd name="T60" fmla="*/ 164 w 253"/>
                  <a:gd name="T61" fmla="*/ 249 h 255"/>
                  <a:gd name="T62" fmla="*/ 139 w 253"/>
                  <a:gd name="T63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3" h="255">
                    <a:moveTo>
                      <a:pt x="127" y="255"/>
                    </a:moveTo>
                    <a:lnTo>
                      <a:pt x="114" y="255"/>
                    </a:lnTo>
                    <a:lnTo>
                      <a:pt x="101" y="252"/>
                    </a:lnTo>
                    <a:lnTo>
                      <a:pt x="89" y="249"/>
                    </a:lnTo>
                    <a:lnTo>
                      <a:pt x="77" y="245"/>
                    </a:lnTo>
                    <a:lnTo>
                      <a:pt x="65" y="239"/>
                    </a:lnTo>
                    <a:lnTo>
                      <a:pt x="55" y="234"/>
                    </a:lnTo>
                    <a:lnTo>
                      <a:pt x="45" y="225"/>
                    </a:lnTo>
                    <a:lnTo>
                      <a:pt x="36" y="217"/>
                    </a:lnTo>
                    <a:lnTo>
                      <a:pt x="28" y="209"/>
                    </a:lnTo>
                    <a:lnTo>
                      <a:pt x="21" y="198"/>
                    </a:lnTo>
                    <a:lnTo>
                      <a:pt x="15" y="188"/>
                    </a:lnTo>
                    <a:lnTo>
                      <a:pt x="9" y="177"/>
                    </a:lnTo>
                    <a:lnTo>
                      <a:pt x="4" y="165"/>
                    </a:lnTo>
                    <a:lnTo>
                      <a:pt x="2" y="153"/>
                    </a:lnTo>
                    <a:lnTo>
                      <a:pt x="0" y="141"/>
                    </a:lnTo>
                    <a:lnTo>
                      <a:pt x="0" y="128"/>
                    </a:lnTo>
                    <a:lnTo>
                      <a:pt x="0" y="115"/>
                    </a:lnTo>
                    <a:lnTo>
                      <a:pt x="2" y="102"/>
                    </a:lnTo>
                    <a:lnTo>
                      <a:pt x="4" y="89"/>
                    </a:lnTo>
                    <a:lnTo>
                      <a:pt x="9" y="77"/>
                    </a:lnTo>
                    <a:lnTo>
                      <a:pt x="15" y="67"/>
                    </a:lnTo>
                    <a:lnTo>
                      <a:pt x="21" y="56"/>
                    </a:lnTo>
                    <a:lnTo>
                      <a:pt x="28" y="47"/>
                    </a:lnTo>
                    <a:lnTo>
                      <a:pt x="36" y="37"/>
                    </a:lnTo>
                    <a:lnTo>
                      <a:pt x="45" y="29"/>
                    </a:lnTo>
                    <a:lnTo>
                      <a:pt x="55" y="22"/>
                    </a:lnTo>
                    <a:lnTo>
                      <a:pt x="65" y="15"/>
                    </a:lnTo>
                    <a:lnTo>
                      <a:pt x="77" y="10"/>
                    </a:lnTo>
                    <a:lnTo>
                      <a:pt x="89" y="6"/>
                    </a:lnTo>
                    <a:lnTo>
                      <a:pt x="101" y="2"/>
                    </a:lnTo>
                    <a:lnTo>
                      <a:pt x="114" y="1"/>
                    </a:lnTo>
                    <a:lnTo>
                      <a:pt x="127" y="0"/>
                    </a:lnTo>
                    <a:lnTo>
                      <a:pt x="139" y="1"/>
                    </a:lnTo>
                    <a:lnTo>
                      <a:pt x="152" y="2"/>
                    </a:lnTo>
                    <a:lnTo>
                      <a:pt x="164" y="6"/>
                    </a:lnTo>
                    <a:lnTo>
                      <a:pt x="176" y="10"/>
                    </a:lnTo>
                    <a:lnTo>
                      <a:pt x="188" y="15"/>
                    </a:lnTo>
                    <a:lnTo>
                      <a:pt x="198" y="22"/>
                    </a:lnTo>
                    <a:lnTo>
                      <a:pt x="208" y="29"/>
                    </a:lnTo>
                    <a:lnTo>
                      <a:pt x="217" y="37"/>
                    </a:lnTo>
                    <a:lnTo>
                      <a:pt x="225" y="47"/>
                    </a:lnTo>
                    <a:lnTo>
                      <a:pt x="232" y="56"/>
                    </a:lnTo>
                    <a:lnTo>
                      <a:pt x="238" y="67"/>
                    </a:lnTo>
                    <a:lnTo>
                      <a:pt x="244" y="77"/>
                    </a:lnTo>
                    <a:lnTo>
                      <a:pt x="247" y="89"/>
                    </a:lnTo>
                    <a:lnTo>
                      <a:pt x="251" y="102"/>
                    </a:lnTo>
                    <a:lnTo>
                      <a:pt x="253" y="115"/>
                    </a:lnTo>
                    <a:lnTo>
                      <a:pt x="253" y="128"/>
                    </a:lnTo>
                    <a:lnTo>
                      <a:pt x="253" y="141"/>
                    </a:lnTo>
                    <a:lnTo>
                      <a:pt x="251" y="153"/>
                    </a:lnTo>
                    <a:lnTo>
                      <a:pt x="247" y="165"/>
                    </a:lnTo>
                    <a:lnTo>
                      <a:pt x="244" y="177"/>
                    </a:lnTo>
                    <a:lnTo>
                      <a:pt x="238" y="188"/>
                    </a:lnTo>
                    <a:lnTo>
                      <a:pt x="232" y="198"/>
                    </a:lnTo>
                    <a:lnTo>
                      <a:pt x="225" y="209"/>
                    </a:lnTo>
                    <a:lnTo>
                      <a:pt x="217" y="217"/>
                    </a:lnTo>
                    <a:lnTo>
                      <a:pt x="208" y="225"/>
                    </a:lnTo>
                    <a:lnTo>
                      <a:pt x="198" y="234"/>
                    </a:lnTo>
                    <a:lnTo>
                      <a:pt x="188" y="239"/>
                    </a:lnTo>
                    <a:lnTo>
                      <a:pt x="176" y="245"/>
                    </a:lnTo>
                    <a:lnTo>
                      <a:pt x="164" y="249"/>
                    </a:lnTo>
                    <a:lnTo>
                      <a:pt x="152" y="252"/>
                    </a:lnTo>
                    <a:lnTo>
                      <a:pt x="139" y="255"/>
                    </a:lnTo>
                    <a:lnTo>
                      <a:pt x="127" y="255"/>
                    </a:lnTo>
                    <a:close/>
                  </a:path>
                </a:pathLst>
              </a:cu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78" name="Freeform 226"/>
              <p:cNvSpPr>
                <a:spLocks noEditPoints="1"/>
              </p:cNvSpPr>
              <p:nvPr/>
            </p:nvSpPr>
            <p:spPr bwMode="auto">
              <a:xfrm>
                <a:off x="6316663" y="4865688"/>
                <a:ext cx="141288" cy="141288"/>
              </a:xfrm>
              <a:custGeom>
                <a:avLst/>
                <a:gdLst>
                  <a:gd name="T0" fmla="*/ 152 w 355"/>
                  <a:gd name="T1" fmla="*/ 303 h 356"/>
                  <a:gd name="T2" fmla="*/ 116 w 355"/>
                  <a:gd name="T3" fmla="*/ 290 h 356"/>
                  <a:gd name="T4" fmla="*/ 87 w 355"/>
                  <a:gd name="T5" fmla="*/ 268 h 356"/>
                  <a:gd name="T6" fmla="*/ 66 w 355"/>
                  <a:gd name="T7" fmla="*/ 239 h 356"/>
                  <a:gd name="T8" fmla="*/ 53 w 355"/>
                  <a:gd name="T9" fmla="*/ 204 h 356"/>
                  <a:gd name="T10" fmla="*/ 51 w 355"/>
                  <a:gd name="T11" fmla="*/ 166 h 356"/>
                  <a:gd name="T12" fmla="*/ 60 w 355"/>
                  <a:gd name="T13" fmla="*/ 128 h 356"/>
                  <a:gd name="T14" fmla="*/ 79 w 355"/>
                  <a:gd name="T15" fmla="*/ 98 h 356"/>
                  <a:gd name="T16" fmla="*/ 106 w 355"/>
                  <a:gd name="T17" fmla="*/ 73 h 356"/>
                  <a:gd name="T18" fmla="*/ 140 w 355"/>
                  <a:gd name="T19" fmla="*/ 57 h 356"/>
                  <a:gd name="T20" fmla="*/ 178 w 355"/>
                  <a:gd name="T21" fmla="*/ 51 h 356"/>
                  <a:gd name="T22" fmla="*/ 215 w 355"/>
                  <a:gd name="T23" fmla="*/ 57 h 356"/>
                  <a:gd name="T24" fmla="*/ 249 w 355"/>
                  <a:gd name="T25" fmla="*/ 73 h 356"/>
                  <a:gd name="T26" fmla="*/ 276 w 355"/>
                  <a:gd name="T27" fmla="*/ 98 h 356"/>
                  <a:gd name="T28" fmla="*/ 295 w 355"/>
                  <a:gd name="T29" fmla="*/ 128 h 356"/>
                  <a:gd name="T30" fmla="*/ 304 w 355"/>
                  <a:gd name="T31" fmla="*/ 166 h 356"/>
                  <a:gd name="T32" fmla="*/ 302 w 355"/>
                  <a:gd name="T33" fmla="*/ 204 h 356"/>
                  <a:gd name="T34" fmla="*/ 289 w 355"/>
                  <a:gd name="T35" fmla="*/ 239 h 356"/>
                  <a:gd name="T36" fmla="*/ 268 w 355"/>
                  <a:gd name="T37" fmla="*/ 268 h 356"/>
                  <a:gd name="T38" fmla="*/ 239 w 355"/>
                  <a:gd name="T39" fmla="*/ 290 h 356"/>
                  <a:gd name="T40" fmla="*/ 203 w 355"/>
                  <a:gd name="T41" fmla="*/ 303 h 356"/>
                  <a:gd name="T42" fmla="*/ 178 w 355"/>
                  <a:gd name="T43" fmla="*/ 0 h 356"/>
                  <a:gd name="T44" fmla="*/ 125 w 355"/>
                  <a:gd name="T45" fmla="*/ 9 h 356"/>
                  <a:gd name="T46" fmla="*/ 78 w 355"/>
                  <a:gd name="T47" fmla="*/ 31 h 356"/>
                  <a:gd name="T48" fmla="*/ 40 w 355"/>
                  <a:gd name="T49" fmla="*/ 65 h 356"/>
                  <a:gd name="T50" fmla="*/ 14 w 355"/>
                  <a:gd name="T51" fmla="*/ 110 h 356"/>
                  <a:gd name="T52" fmla="*/ 0 w 355"/>
                  <a:gd name="T53" fmla="*/ 160 h 356"/>
                  <a:gd name="T54" fmla="*/ 4 w 355"/>
                  <a:gd name="T55" fmla="*/ 214 h 356"/>
                  <a:gd name="T56" fmla="*/ 21 w 355"/>
                  <a:gd name="T57" fmla="*/ 263 h 356"/>
                  <a:gd name="T58" fmla="*/ 52 w 355"/>
                  <a:gd name="T59" fmla="*/ 303 h 356"/>
                  <a:gd name="T60" fmla="*/ 93 w 355"/>
                  <a:gd name="T61" fmla="*/ 335 h 356"/>
                  <a:gd name="T62" fmla="*/ 141 w 355"/>
                  <a:gd name="T63" fmla="*/ 353 h 356"/>
                  <a:gd name="T64" fmla="*/ 195 w 355"/>
                  <a:gd name="T65" fmla="*/ 355 h 356"/>
                  <a:gd name="T66" fmla="*/ 247 w 355"/>
                  <a:gd name="T67" fmla="*/ 342 h 356"/>
                  <a:gd name="T68" fmla="*/ 290 w 355"/>
                  <a:gd name="T69" fmla="*/ 315 h 356"/>
                  <a:gd name="T70" fmla="*/ 324 w 355"/>
                  <a:gd name="T71" fmla="*/ 278 h 356"/>
                  <a:gd name="T72" fmla="*/ 347 w 355"/>
                  <a:gd name="T73" fmla="*/ 232 h 356"/>
                  <a:gd name="T74" fmla="*/ 355 w 355"/>
                  <a:gd name="T75" fmla="*/ 179 h 356"/>
                  <a:gd name="T76" fmla="*/ 347 w 355"/>
                  <a:gd name="T77" fmla="*/ 126 h 356"/>
                  <a:gd name="T78" fmla="*/ 324 w 355"/>
                  <a:gd name="T79" fmla="*/ 79 h 356"/>
                  <a:gd name="T80" fmla="*/ 290 w 355"/>
                  <a:gd name="T81" fmla="*/ 41 h 356"/>
                  <a:gd name="T82" fmla="*/ 247 w 355"/>
                  <a:gd name="T83" fmla="*/ 14 h 356"/>
                  <a:gd name="T84" fmla="*/ 195 w 355"/>
                  <a:gd name="T85" fmla="*/ 1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55" h="356">
                    <a:moveTo>
                      <a:pt x="178" y="306"/>
                    </a:moveTo>
                    <a:lnTo>
                      <a:pt x="165" y="306"/>
                    </a:lnTo>
                    <a:lnTo>
                      <a:pt x="152" y="303"/>
                    </a:lnTo>
                    <a:lnTo>
                      <a:pt x="140" y="300"/>
                    </a:lnTo>
                    <a:lnTo>
                      <a:pt x="128" y="296"/>
                    </a:lnTo>
                    <a:lnTo>
                      <a:pt x="116" y="290"/>
                    </a:lnTo>
                    <a:lnTo>
                      <a:pt x="106" y="285"/>
                    </a:lnTo>
                    <a:lnTo>
                      <a:pt x="96" y="276"/>
                    </a:lnTo>
                    <a:lnTo>
                      <a:pt x="87" y="268"/>
                    </a:lnTo>
                    <a:lnTo>
                      <a:pt x="79" y="260"/>
                    </a:lnTo>
                    <a:lnTo>
                      <a:pt x="72" y="249"/>
                    </a:lnTo>
                    <a:lnTo>
                      <a:pt x="66" y="239"/>
                    </a:lnTo>
                    <a:lnTo>
                      <a:pt x="60" y="228"/>
                    </a:lnTo>
                    <a:lnTo>
                      <a:pt x="55" y="216"/>
                    </a:lnTo>
                    <a:lnTo>
                      <a:pt x="53" y="204"/>
                    </a:lnTo>
                    <a:lnTo>
                      <a:pt x="51" y="192"/>
                    </a:lnTo>
                    <a:lnTo>
                      <a:pt x="51" y="179"/>
                    </a:lnTo>
                    <a:lnTo>
                      <a:pt x="51" y="166"/>
                    </a:lnTo>
                    <a:lnTo>
                      <a:pt x="53" y="153"/>
                    </a:lnTo>
                    <a:lnTo>
                      <a:pt x="55" y="140"/>
                    </a:lnTo>
                    <a:lnTo>
                      <a:pt x="60" y="128"/>
                    </a:lnTo>
                    <a:lnTo>
                      <a:pt x="66" y="118"/>
                    </a:lnTo>
                    <a:lnTo>
                      <a:pt x="72" y="107"/>
                    </a:lnTo>
                    <a:lnTo>
                      <a:pt x="79" y="98"/>
                    </a:lnTo>
                    <a:lnTo>
                      <a:pt x="87" y="88"/>
                    </a:lnTo>
                    <a:lnTo>
                      <a:pt x="96" y="80"/>
                    </a:lnTo>
                    <a:lnTo>
                      <a:pt x="106" y="73"/>
                    </a:lnTo>
                    <a:lnTo>
                      <a:pt x="116" y="66"/>
                    </a:lnTo>
                    <a:lnTo>
                      <a:pt x="128" y="61"/>
                    </a:lnTo>
                    <a:lnTo>
                      <a:pt x="140" y="57"/>
                    </a:lnTo>
                    <a:lnTo>
                      <a:pt x="152" y="53"/>
                    </a:lnTo>
                    <a:lnTo>
                      <a:pt x="165" y="52"/>
                    </a:lnTo>
                    <a:lnTo>
                      <a:pt x="178" y="51"/>
                    </a:lnTo>
                    <a:lnTo>
                      <a:pt x="190" y="52"/>
                    </a:lnTo>
                    <a:lnTo>
                      <a:pt x="203" y="53"/>
                    </a:lnTo>
                    <a:lnTo>
                      <a:pt x="215" y="57"/>
                    </a:lnTo>
                    <a:lnTo>
                      <a:pt x="227" y="61"/>
                    </a:lnTo>
                    <a:lnTo>
                      <a:pt x="239" y="66"/>
                    </a:lnTo>
                    <a:lnTo>
                      <a:pt x="249" y="73"/>
                    </a:lnTo>
                    <a:lnTo>
                      <a:pt x="259" y="80"/>
                    </a:lnTo>
                    <a:lnTo>
                      <a:pt x="268" y="88"/>
                    </a:lnTo>
                    <a:lnTo>
                      <a:pt x="276" y="98"/>
                    </a:lnTo>
                    <a:lnTo>
                      <a:pt x="283" y="107"/>
                    </a:lnTo>
                    <a:lnTo>
                      <a:pt x="289" y="118"/>
                    </a:lnTo>
                    <a:lnTo>
                      <a:pt x="295" y="128"/>
                    </a:lnTo>
                    <a:lnTo>
                      <a:pt x="298" y="140"/>
                    </a:lnTo>
                    <a:lnTo>
                      <a:pt x="302" y="153"/>
                    </a:lnTo>
                    <a:lnTo>
                      <a:pt x="304" y="166"/>
                    </a:lnTo>
                    <a:lnTo>
                      <a:pt x="304" y="179"/>
                    </a:lnTo>
                    <a:lnTo>
                      <a:pt x="304" y="192"/>
                    </a:lnTo>
                    <a:lnTo>
                      <a:pt x="302" y="204"/>
                    </a:lnTo>
                    <a:lnTo>
                      <a:pt x="298" y="216"/>
                    </a:lnTo>
                    <a:lnTo>
                      <a:pt x="295" y="228"/>
                    </a:lnTo>
                    <a:lnTo>
                      <a:pt x="289" y="239"/>
                    </a:lnTo>
                    <a:lnTo>
                      <a:pt x="283" y="249"/>
                    </a:lnTo>
                    <a:lnTo>
                      <a:pt x="276" y="260"/>
                    </a:lnTo>
                    <a:lnTo>
                      <a:pt x="268" y="268"/>
                    </a:lnTo>
                    <a:lnTo>
                      <a:pt x="259" y="276"/>
                    </a:lnTo>
                    <a:lnTo>
                      <a:pt x="249" y="285"/>
                    </a:lnTo>
                    <a:lnTo>
                      <a:pt x="239" y="290"/>
                    </a:lnTo>
                    <a:lnTo>
                      <a:pt x="227" y="296"/>
                    </a:lnTo>
                    <a:lnTo>
                      <a:pt x="215" y="300"/>
                    </a:lnTo>
                    <a:lnTo>
                      <a:pt x="203" y="303"/>
                    </a:lnTo>
                    <a:lnTo>
                      <a:pt x="190" y="306"/>
                    </a:lnTo>
                    <a:lnTo>
                      <a:pt x="178" y="306"/>
                    </a:lnTo>
                    <a:close/>
                    <a:moveTo>
                      <a:pt x="178" y="0"/>
                    </a:moveTo>
                    <a:lnTo>
                      <a:pt x="159" y="1"/>
                    </a:lnTo>
                    <a:lnTo>
                      <a:pt x="141" y="4"/>
                    </a:lnTo>
                    <a:lnTo>
                      <a:pt x="125" y="9"/>
                    </a:lnTo>
                    <a:lnTo>
                      <a:pt x="108" y="14"/>
                    </a:lnTo>
                    <a:lnTo>
                      <a:pt x="93" y="23"/>
                    </a:lnTo>
                    <a:lnTo>
                      <a:pt x="78" y="31"/>
                    </a:lnTo>
                    <a:lnTo>
                      <a:pt x="65" y="41"/>
                    </a:lnTo>
                    <a:lnTo>
                      <a:pt x="52" y="53"/>
                    </a:lnTo>
                    <a:lnTo>
                      <a:pt x="40" y="65"/>
                    </a:lnTo>
                    <a:lnTo>
                      <a:pt x="30" y="79"/>
                    </a:lnTo>
                    <a:lnTo>
                      <a:pt x="21" y="94"/>
                    </a:lnTo>
                    <a:lnTo>
                      <a:pt x="14" y="110"/>
                    </a:lnTo>
                    <a:lnTo>
                      <a:pt x="7" y="126"/>
                    </a:lnTo>
                    <a:lnTo>
                      <a:pt x="4" y="142"/>
                    </a:lnTo>
                    <a:lnTo>
                      <a:pt x="0" y="160"/>
                    </a:lnTo>
                    <a:lnTo>
                      <a:pt x="0" y="179"/>
                    </a:lnTo>
                    <a:lnTo>
                      <a:pt x="0" y="196"/>
                    </a:lnTo>
                    <a:lnTo>
                      <a:pt x="4" y="214"/>
                    </a:lnTo>
                    <a:lnTo>
                      <a:pt x="7" y="232"/>
                    </a:lnTo>
                    <a:lnTo>
                      <a:pt x="14" y="247"/>
                    </a:lnTo>
                    <a:lnTo>
                      <a:pt x="21" y="263"/>
                    </a:lnTo>
                    <a:lnTo>
                      <a:pt x="30" y="278"/>
                    </a:lnTo>
                    <a:lnTo>
                      <a:pt x="40" y="292"/>
                    </a:lnTo>
                    <a:lnTo>
                      <a:pt x="52" y="303"/>
                    </a:lnTo>
                    <a:lnTo>
                      <a:pt x="65" y="315"/>
                    </a:lnTo>
                    <a:lnTo>
                      <a:pt x="78" y="326"/>
                    </a:lnTo>
                    <a:lnTo>
                      <a:pt x="93" y="335"/>
                    </a:lnTo>
                    <a:lnTo>
                      <a:pt x="108" y="342"/>
                    </a:lnTo>
                    <a:lnTo>
                      <a:pt x="125" y="348"/>
                    </a:lnTo>
                    <a:lnTo>
                      <a:pt x="141" y="353"/>
                    </a:lnTo>
                    <a:lnTo>
                      <a:pt x="159" y="355"/>
                    </a:lnTo>
                    <a:lnTo>
                      <a:pt x="178" y="356"/>
                    </a:lnTo>
                    <a:lnTo>
                      <a:pt x="195" y="355"/>
                    </a:lnTo>
                    <a:lnTo>
                      <a:pt x="213" y="353"/>
                    </a:lnTo>
                    <a:lnTo>
                      <a:pt x="230" y="348"/>
                    </a:lnTo>
                    <a:lnTo>
                      <a:pt x="247" y="342"/>
                    </a:lnTo>
                    <a:lnTo>
                      <a:pt x="262" y="335"/>
                    </a:lnTo>
                    <a:lnTo>
                      <a:pt x="276" y="326"/>
                    </a:lnTo>
                    <a:lnTo>
                      <a:pt x="290" y="315"/>
                    </a:lnTo>
                    <a:lnTo>
                      <a:pt x="303" y="303"/>
                    </a:lnTo>
                    <a:lnTo>
                      <a:pt x="315" y="292"/>
                    </a:lnTo>
                    <a:lnTo>
                      <a:pt x="324" y="278"/>
                    </a:lnTo>
                    <a:lnTo>
                      <a:pt x="334" y="263"/>
                    </a:lnTo>
                    <a:lnTo>
                      <a:pt x="341" y="247"/>
                    </a:lnTo>
                    <a:lnTo>
                      <a:pt x="347" y="232"/>
                    </a:lnTo>
                    <a:lnTo>
                      <a:pt x="351" y="214"/>
                    </a:lnTo>
                    <a:lnTo>
                      <a:pt x="354" y="196"/>
                    </a:lnTo>
                    <a:lnTo>
                      <a:pt x="355" y="179"/>
                    </a:lnTo>
                    <a:lnTo>
                      <a:pt x="354" y="160"/>
                    </a:lnTo>
                    <a:lnTo>
                      <a:pt x="351" y="142"/>
                    </a:lnTo>
                    <a:lnTo>
                      <a:pt x="347" y="126"/>
                    </a:lnTo>
                    <a:lnTo>
                      <a:pt x="341" y="110"/>
                    </a:lnTo>
                    <a:lnTo>
                      <a:pt x="334" y="94"/>
                    </a:lnTo>
                    <a:lnTo>
                      <a:pt x="324" y="79"/>
                    </a:lnTo>
                    <a:lnTo>
                      <a:pt x="315" y="65"/>
                    </a:lnTo>
                    <a:lnTo>
                      <a:pt x="303" y="53"/>
                    </a:lnTo>
                    <a:lnTo>
                      <a:pt x="290" y="41"/>
                    </a:lnTo>
                    <a:lnTo>
                      <a:pt x="276" y="31"/>
                    </a:lnTo>
                    <a:lnTo>
                      <a:pt x="262" y="23"/>
                    </a:lnTo>
                    <a:lnTo>
                      <a:pt x="247" y="14"/>
                    </a:lnTo>
                    <a:lnTo>
                      <a:pt x="230" y="9"/>
                    </a:lnTo>
                    <a:lnTo>
                      <a:pt x="213" y="4"/>
                    </a:lnTo>
                    <a:lnTo>
                      <a:pt x="195" y="1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79" name="Freeform 227"/>
              <p:cNvSpPr>
                <a:spLocks noEditPoints="1"/>
              </p:cNvSpPr>
              <p:nvPr/>
            </p:nvSpPr>
            <p:spPr bwMode="auto">
              <a:xfrm>
                <a:off x="6330951" y="4879976"/>
                <a:ext cx="111125" cy="111125"/>
              </a:xfrm>
              <a:custGeom>
                <a:avLst/>
                <a:gdLst>
                  <a:gd name="T0" fmla="*/ 116 w 279"/>
                  <a:gd name="T1" fmla="*/ 253 h 278"/>
                  <a:gd name="T2" fmla="*/ 84 w 279"/>
                  <a:gd name="T3" fmla="*/ 241 h 278"/>
                  <a:gd name="T4" fmla="*/ 57 w 279"/>
                  <a:gd name="T5" fmla="*/ 221 h 278"/>
                  <a:gd name="T6" fmla="*/ 37 w 279"/>
                  <a:gd name="T7" fmla="*/ 194 h 278"/>
                  <a:gd name="T8" fmla="*/ 27 w 279"/>
                  <a:gd name="T9" fmla="*/ 162 h 278"/>
                  <a:gd name="T10" fmla="*/ 24 w 279"/>
                  <a:gd name="T11" fmla="*/ 128 h 278"/>
                  <a:gd name="T12" fmla="*/ 33 w 279"/>
                  <a:gd name="T13" fmla="*/ 94 h 278"/>
                  <a:gd name="T14" fmla="*/ 50 w 279"/>
                  <a:gd name="T15" fmla="*/ 66 h 278"/>
                  <a:gd name="T16" fmla="*/ 75 w 279"/>
                  <a:gd name="T17" fmla="*/ 44 h 278"/>
                  <a:gd name="T18" fmla="*/ 105 w 279"/>
                  <a:gd name="T19" fmla="*/ 29 h 278"/>
                  <a:gd name="T20" fmla="*/ 140 w 279"/>
                  <a:gd name="T21" fmla="*/ 24 h 278"/>
                  <a:gd name="T22" fmla="*/ 174 w 279"/>
                  <a:gd name="T23" fmla="*/ 29 h 278"/>
                  <a:gd name="T24" fmla="*/ 204 w 279"/>
                  <a:gd name="T25" fmla="*/ 44 h 278"/>
                  <a:gd name="T26" fmla="*/ 229 w 279"/>
                  <a:gd name="T27" fmla="*/ 66 h 278"/>
                  <a:gd name="T28" fmla="*/ 246 w 279"/>
                  <a:gd name="T29" fmla="*/ 94 h 278"/>
                  <a:gd name="T30" fmla="*/ 255 w 279"/>
                  <a:gd name="T31" fmla="*/ 128 h 278"/>
                  <a:gd name="T32" fmla="*/ 252 w 279"/>
                  <a:gd name="T33" fmla="*/ 162 h 278"/>
                  <a:gd name="T34" fmla="*/ 241 w 279"/>
                  <a:gd name="T35" fmla="*/ 194 h 278"/>
                  <a:gd name="T36" fmla="*/ 221 w 279"/>
                  <a:gd name="T37" fmla="*/ 221 h 278"/>
                  <a:gd name="T38" fmla="*/ 195 w 279"/>
                  <a:gd name="T39" fmla="*/ 241 h 278"/>
                  <a:gd name="T40" fmla="*/ 163 w 279"/>
                  <a:gd name="T41" fmla="*/ 253 h 278"/>
                  <a:gd name="T42" fmla="*/ 140 w 279"/>
                  <a:gd name="T43" fmla="*/ 0 h 278"/>
                  <a:gd name="T44" fmla="*/ 98 w 279"/>
                  <a:gd name="T45" fmla="*/ 6 h 278"/>
                  <a:gd name="T46" fmla="*/ 62 w 279"/>
                  <a:gd name="T47" fmla="*/ 24 h 278"/>
                  <a:gd name="T48" fmla="*/ 31 w 279"/>
                  <a:gd name="T49" fmla="*/ 51 h 278"/>
                  <a:gd name="T50" fmla="*/ 11 w 279"/>
                  <a:gd name="T51" fmla="*/ 85 h 278"/>
                  <a:gd name="T52" fmla="*/ 1 w 279"/>
                  <a:gd name="T53" fmla="*/ 125 h 278"/>
                  <a:gd name="T54" fmla="*/ 3 w 279"/>
                  <a:gd name="T55" fmla="*/ 167 h 278"/>
                  <a:gd name="T56" fmla="*/ 17 w 279"/>
                  <a:gd name="T57" fmla="*/ 206 h 278"/>
                  <a:gd name="T58" fmla="*/ 41 w 279"/>
                  <a:gd name="T59" fmla="*/ 237 h 278"/>
                  <a:gd name="T60" fmla="*/ 73 w 279"/>
                  <a:gd name="T61" fmla="*/ 262 h 278"/>
                  <a:gd name="T62" fmla="*/ 111 w 279"/>
                  <a:gd name="T63" fmla="*/ 276 h 278"/>
                  <a:gd name="T64" fmla="*/ 154 w 279"/>
                  <a:gd name="T65" fmla="*/ 278 h 278"/>
                  <a:gd name="T66" fmla="*/ 194 w 279"/>
                  <a:gd name="T67" fmla="*/ 268 h 278"/>
                  <a:gd name="T68" fmla="*/ 228 w 279"/>
                  <a:gd name="T69" fmla="*/ 247 h 278"/>
                  <a:gd name="T70" fmla="*/ 255 w 279"/>
                  <a:gd name="T71" fmla="*/ 217 h 278"/>
                  <a:gd name="T72" fmla="*/ 272 w 279"/>
                  <a:gd name="T73" fmla="*/ 181 h 278"/>
                  <a:gd name="T74" fmla="*/ 279 w 279"/>
                  <a:gd name="T75" fmla="*/ 140 h 278"/>
                  <a:gd name="T76" fmla="*/ 272 w 279"/>
                  <a:gd name="T77" fmla="*/ 98 h 278"/>
                  <a:gd name="T78" fmla="*/ 255 w 279"/>
                  <a:gd name="T79" fmla="*/ 61 h 278"/>
                  <a:gd name="T80" fmla="*/ 228 w 279"/>
                  <a:gd name="T81" fmla="*/ 32 h 278"/>
                  <a:gd name="T82" fmla="*/ 194 w 279"/>
                  <a:gd name="T83" fmla="*/ 11 h 278"/>
                  <a:gd name="T84" fmla="*/ 154 w 279"/>
                  <a:gd name="T85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9" h="278">
                    <a:moveTo>
                      <a:pt x="140" y="255"/>
                    </a:moveTo>
                    <a:lnTo>
                      <a:pt x="128" y="254"/>
                    </a:lnTo>
                    <a:lnTo>
                      <a:pt x="116" y="253"/>
                    </a:lnTo>
                    <a:lnTo>
                      <a:pt x="105" y="249"/>
                    </a:lnTo>
                    <a:lnTo>
                      <a:pt x="95" y="246"/>
                    </a:lnTo>
                    <a:lnTo>
                      <a:pt x="84" y="241"/>
                    </a:lnTo>
                    <a:lnTo>
                      <a:pt x="75" y="235"/>
                    </a:lnTo>
                    <a:lnTo>
                      <a:pt x="66" y="228"/>
                    </a:lnTo>
                    <a:lnTo>
                      <a:pt x="57" y="221"/>
                    </a:lnTo>
                    <a:lnTo>
                      <a:pt x="50" y="213"/>
                    </a:lnTo>
                    <a:lnTo>
                      <a:pt x="43" y="203"/>
                    </a:lnTo>
                    <a:lnTo>
                      <a:pt x="37" y="194"/>
                    </a:lnTo>
                    <a:lnTo>
                      <a:pt x="33" y="184"/>
                    </a:lnTo>
                    <a:lnTo>
                      <a:pt x="29" y="174"/>
                    </a:lnTo>
                    <a:lnTo>
                      <a:pt x="27" y="162"/>
                    </a:lnTo>
                    <a:lnTo>
                      <a:pt x="24" y="152"/>
                    </a:lnTo>
                    <a:lnTo>
                      <a:pt x="24" y="140"/>
                    </a:lnTo>
                    <a:lnTo>
                      <a:pt x="24" y="128"/>
                    </a:lnTo>
                    <a:lnTo>
                      <a:pt x="27" y="116"/>
                    </a:lnTo>
                    <a:lnTo>
                      <a:pt x="29" y="105"/>
                    </a:lnTo>
                    <a:lnTo>
                      <a:pt x="33" y="94"/>
                    </a:lnTo>
                    <a:lnTo>
                      <a:pt x="37" y="85"/>
                    </a:lnTo>
                    <a:lnTo>
                      <a:pt x="43" y="75"/>
                    </a:lnTo>
                    <a:lnTo>
                      <a:pt x="50" y="66"/>
                    </a:lnTo>
                    <a:lnTo>
                      <a:pt x="57" y="58"/>
                    </a:lnTo>
                    <a:lnTo>
                      <a:pt x="66" y="51"/>
                    </a:lnTo>
                    <a:lnTo>
                      <a:pt x="75" y="44"/>
                    </a:lnTo>
                    <a:lnTo>
                      <a:pt x="84" y="38"/>
                    </a:lnTo>
                    <a:lnTo>
                      <a:pt x="95" y="33"/>
                    </a:lnTo>
                    <a:lnTo>
                      <a:pt x="105" y="29"/>
                    </a:lnTo>
                    <a:lnTo>
                      <a:pt x="116" y="26"/>
                    </a:lnTo>
                    <a:lnTo>
                      <a:pt x="128" y="25"/>
                    </a:lnTo>
                    <a:lnTo>
                      <a:pt x="140" y="24"/>
                    </a:lnTo>
                    <a:lnTo>
                      <a:pt x="151" y="25"/>
                    </a:lnTo>
                    <a:lnTo>
                      <a:pt x="163" y="26"/>
                    </a:lnTo>
                    <a:lnTo>
                      <a:pt x="174" y="29"/>
                    </a:lnTo>
                    <a:lnTo>
                      <a:pt x="184" y="33"/>
                    </a:lnTo>
                    <a:lnTo>
                      <a:pt x="195" y="38"/>
                    </a:lnTo>
                    <a:lnTo>
                      <a:pt x="204" y="44"/>
                    </a:lnTo>
                    <a:lnTo>
                      <a:pt x="212" y="51"/>
                    </a:lnTo>
                    <a:lnTo>
                      <a:pt x="221" y="58"/>
                    </a:lnTo>
                    <a:lnTo>
                      <a:pt x="229" y="66"/>
                    </a:lnTo>
                    <a:lnTo>
                      <a:pt x="235" y="75"/>
                    </a:lnTo>
                    <a:lnTo>
                      <a:pt x="241" y="85"/>
                    </a:lnTo>
                    <a:lnTo>
                      <a:pt x="246" y="94"/>
                    </a:lnTo>
                    <a:lnTo>
                      <a:pt x="250" y="105"/>
                    </a:lnTo>
                    <a:lnTo>
                      <a:pt x="252" y="116"/>
                    </a:lnTo>
                    <a:lnTo>
                      <a:pt x="255" y="128"/>
                    </a:lnTo>
                    <a:lnTo>
                      <a:pt x="255" y="140"/>
                    </a:lnTo>
                    <a:lnTo>
                      <a:pt x="255" y="152"/>
                    </a:lnTo>
                    <a:lnTo>
                      <a:pt x="252" y="162"/>
                    </a:lnTo>
                    <a:lnTo>
                      <a:pt x="250" y="174"/>
                    </a:lnTo>
                    <a:lnTo>
                      <a:pt x="246" y="184"/>
                    </a:lnTo>
                    <a:lnTo>
                      <a:pt x="241" y="194"/>
                    </a:lnTo>
                    <a:lnTo>
                      <a:pt x="235" y="203"/>
                    </a:lnTo>
                    <a:lnTo>
                      <a:pt x="229" y="213"/>
                    </a:lnTo>
                    <a:lnTo>
                      <a:pt x="221" y="221"/>
                    </a:lnTo>
                    <a:lnTo>
                      <a:pt x="212" y="228"/>
                    </a:lnTo>
                    <a:lnTo>
                      <a:pt x="204" y="235"/>
                    </a:lnTo>
                    <a:lnTo>
                      <a:pt x="195" y="241"/>
                    </a:lnTo>
                    <a:lnTo>
                      <a:pt x="184" y="246"/>
                    </a:lnTo>
                    <a:lnTo>
                      <a:pt x="174" y="249"/>
                    </a:lnTo>
                    <a:lnTo>
                      <a:pt x="163" y="253"/>
                    </a:lnTo>
                    <a:lnTo>
                      <a:pt x="151" y="254"/>
                    </a:lnTo>
                    <a:lnTo>
                      <a:pt x="140" y="255"/>
                    </a:lnTo>
                    <a:close/>
                    <a:moveTo>
                      <a:pt x="140" y="0"/>
                    </a:moveTo>
                    <a:lnTo>
                      <a:pt x="125" y="0"/>
                    </a:lnTo>
                    <a:lnTo>
                      <a:pt x="111" y="2"/>
                    </a:lnTo>
                    <a:lnTo>
                      <a:pt x="98" y="6"/>
                    </a:lnTo>
                    <a:lnTo>
                      <a:pt x="85" y="11"/>
                    </a:lnTo>
                    <a:lnTo>
                      <a:pt x="73" y="17"/>
                    </a:lnTo>
                    <a:lnTo>
                      <a:pt x="62" y="24"/>
                    </a:lnTo>
                    <a:lnTo>
                      <a:pt x="50" y="32"/>
                    </a:lnTo>
                    <a:lnTo>
                      <a:pt x="41" y="41"/>
                    </a:lnTo>
                    <a:lnTo>
                      <a:pt x="31" y="51"/>
                    </a:lnTo>
                    <a:lnTo>
                      <a:pt x="24" y="61"/>
                    </a:lnTo>
                    <a:lnTo>
                      <a:pt x="17" y="73"/>
                    </a:lnTo>
                    <a:lnTo>
                      <a:pt x="11" y="85"/>
                    </a:lnTo>
                    <a:lnTo>
                      <a:pt x="7" y="98"/>
                    </a:lnTo>
                    <a:lnTo>
                      <a:pt x="3" y="112"/>
                    </a:lnTo>
                    <a:lnTo>
                      <a:pt x="1" y="125"/>
                    </a:lnTo>
                    <a:lnTo>
                      <a:pt x="0" y="140"/>
                    </a:lnTo>
                    <a:lnTo>
                      <a:pt x="1" y="154"/>
                    </a:lnTo>
                    <a:lnTo>
                      <a:pt x="3" y="167"/>
                    </a:lnTo>
                    <a:lnTo>
                      <a:pt x="7" y="181"/>
                    </a:lnTo>
                    <a:lnTo>
                      <a:pt x="11" y="194"/>
                    </a:lnTo>
                    <a:lnTo>
                      <a:pt x="17" y="206"/>
                    </a:lnTo>
                    <a:lnTo>
                      <a:pt x="24" y="217"/>
                    </a:lnTo>
                    <a:lnTo>
                      <a:pt x="31" y="228"/>
                    </a:lnTo>
                    <a:lnTo>
                      <a:pt x="41" y="237"/>
                    </a:lnTo>
                    <a:lnTo>
                      <a:pt x="50" y="247"/>
                    </a:lnTo>
                    <a:lnTo>
                      <a:pt x="62" y="255"/>
                    </a:lnTo>
                    <a:lnTo>
                      <a:pt x="73" y="262"/>
                    </a:lnTo>
                    <a:lnTo>
                      <a:pt x="85" y="268"/>
                    </a:lnTo>
                    <a:lnTo>
                      <a:pt x="98" y="273"/>
                    </a:lnTo>
                    <a:lnTo>
                      <a:pt x="111" y="276"/>
                    </a:lnTo>
                    <a:lnTo>
                      <a:pt x="125" y="278"/>
                    </a:lnTo>
                    <a:lnTo>
                      <a:pt x="140" y="278"/>
                    </a:lnTo>
                    <a:lnTo>
                      <a:pt x="154" y="278"/>
                    </a:lnTo>
                    <a:lnTo>
                      <a:pt x="168" y="276"/>
                    </a:lnTo>
                    <a:lnTo>
                      <a:pt x="181" y="273"/>
                    </a:lnTo>
                    <a:lnTo>
                      <a:pt x="194" y="268"/>
                    </a:lnTo>
                    <a:lnTo>
                      <a:pt x="205" y="262"/>
                    </a:lnTo>
                    <a:lnTo>
                      <a:pt x="217" y="255"/>
                    </a:lnTo>
                    <a:lnTo>
                      <a:pt x="228" y="247"/>
                    </a:lnTo>
                    <a:lnTo>
                      <a:pt x="238" y="237"/>
                    </a:lnTo>
                    <a:lnTo>
                      <a:pt x="246" y="228"/>
                    </a:lnTo>
                    <a:lnTo>
                      <a:pt x="255" y="217"/>
                    </a:lnTo>
                    <a:lnTo>
                      <a:pt x="262" y="206"/>
                    </a:lnTo>
                    <a:lnTo>
                      <a:pt x="268" y="194"/>
                    </a:lnTo>
                    <a:lnTo>
                      <a:pt x="272" y="181"/>
                    </a:lnTo>
                    <a:lnTo>
                      <a:pt x="276" y="167"/>
                    </a:lnTo>
                    <a:lnTo>
                      <a:pt x="278" y="154"/>
                    </a:lnTo>
                    <a:lnTo>
                      <a:pt x="279" y="140"/>
                    </a:lnTo>
                    <a:lnTo>
                      <a:pt x="278" y="125"/>
                    </a:lnTo>
                    <a:lnTo>
                      <a:pt x="276" y="112"/>
                    </a:lnTo>
                    <a:lnTo>
                      <a:pt x="272" y="98"/>
                    </a:lnTo>
                    <a:lnTo>
                      <a:pt x="268" y="85"/>
                    </a:lnTo>
                    <a:lnTo>
                      <a:pt x="262" y="73"/>
                    </a:lnTo>
                    <a:lnTo>
                      <a:pt x="255" y="61"/>
                    </a:lnTo>
                    <a:lnTo>
                      <a:pt x="246" y="51"/>
                    </a:lnTo>
                    <a:lnTo>
                      <a:pt x="238" y="41"/>
                    </a:lnTo>
                    <a:lnTo>
                      <a:pt x="228" y="32"/>
                    </a:lnTo>
                    <a:lnTo>
                      <a:pt x="217" y="24"/>
                    </a:lnTo>
                    <a:lnTo>
                      <a:pt x="205" y="17"/>
                    </a:lnTo>
                    <a:lnTo>
                      <a:pt x="194" y="11"/>
                    </a:lnTo>
                    <a:lnTo>
                      <a:pt x="181" y="6"/>
                    </a:lnTo>
                    <a:lnTo>
                      <a:pt x="168" y="2"/>
                    </a:lnTo>
                    <a:lnTo>
                      <a:pt x="154" y="0"/>
                    </a:lnTo>
                    <a:lnTo>
                      <a:pt x="140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0" name="Freeform 228"/>
              <p:cNvSpPr>
                <a:spLocks noEditPoints="1"/>
              </p:cNvSpPr>
              <p:nvPr/>
            </p:nvSpPr>
            <p:spPr bwMode="auto">
              <a:xfrm>
                <a:off x="6311901" y="4860926"/>
                <a:ext cx="150813" cy="233363"/>
              </a:xfrm>
              <a:custGeom>
                <a:avLst/>
                <a:gdLst>
                  <a:gd name="T0" fmla="*/ 158 w 380"/>
                  <a:gd name="T1" fmla="*/ 352 h 590"/>
                  <a:gd name="T2" fmla="*/ 112 w 380"/>
                  <a:gd name="T3" fmla="*/ 334 h 590"/>
                  <a:gd name="T4" fmla="*/ 73 w 380"/>
                  <a:gd name="T5" fmla="*/ 306 h 590"/>
                  <a:gd name="T6" fmla="*/ 45 w 380"/>
                  <a:gd name="T7" fmla="*/ 269 h 590"/>
                  <a:gd name="T8" fmla="*/ 28 w 380"/>
                  <a:gd name="T9" fmla="*/ 223 h 590"/>
                  <a:gd name="T10" fmla="*/ 25 w 380"/>
                  <a:gd name="T11" fmla="*/ 172 h 590"/>
                  <a:gd name="T12" fmla="*/ 38 w 380"/>
                  <a:gd name="T13" fmla="*/ 125 h 590"/>
                  <a:gd name="T14" fmla="*/ 62 w 380"/>
                  <a:gd name="T15" fmla="*/ 84 h 590"/>
                  <a:gd name="T16" fmla="*/ 98 w 380"/>
                  <a:gd name="T17" fmla="*/ 52 h 590"/>
                  <a:gd name="T18" fmla="*/ 141 w 380"/>
                  <a:gd name="T19" fmla="*/ 31 h 590"/>
                  <a:gd name="T20" fmla="*/ 191 w 380"/>
                  <a:gd name="T21" fmla="*/ 24 h 590"/>
                  <a:gd name="T22" fmla="*/ 240 w 380"/>
                  <a:gd name="T23" fmla="*/ 31 h 590"/>
                  <a:gd name="T24" fmla="*/ 283 w 380"/>
                  <a:gd name="T25" fmla="*/ 52 h 590"/>
                  <a:gd name="T26" fmla="*/ 319 w 380"/>
                  <a:gd name="T27" fmla="*/ 84 h 590"/>
                  <a:gd name="T28" fmla="*/ 343 w 380"/>
                  <a:gd name="T29" fmla="*/ 125 h 590"/>
                  <a:gd name="T30" fmla="*/ 355 w 380"/>
                  <a:gd name="T31" fmla="*/ 172 h 590"/>
                  <a:gd name="T32" fmla="*/ 353 w 380"/>
                  <a:gd name="T33" fmla="*/ 223 h 590"/>
                  <a:gd name="T34" fmla="*/ 336 w 380"/>
                  <a:gd name="T35" fmla="*/ 269 h 590"/>
                  <a:gd name="T36" fmla="*/ 307 w 380"/>
                  <a:gd name="T37" fmla="*/ 306 h 590"/>
                  <a:gd name="T38" fmla="*/ 269 w 380"/>
                  <a:gd name="T39" fmla="*/ 334 h 590"/>
                  <a:gd name="T40" fmla="*/ 223 w 380"/>
                  <a:gd name="T41" fmla="*/ 352 h 590"/>
                  <a:gd name="T42" fmla="*/ 380 w 380"/>
                  <a:gd name="T43" fmla="*/ 190 h 590"/>
                  <a:gd name="T44" fmla="*/ 371 w 380"/>
                  <a:gd name="T45" fmla="*/ 133 h 590"/>
                  <a:gd name="T46" fmla="*/ 347 w 380"/>
                  <a:gd name="T47" fmla="*/ 83 h 590"/>
                  <a:gd name="T48" fmla="*/ 310 w 380"/>
                  <a:gd name="T49" fmla="*/ 43 h 590"/>
                  <a:gd name="T50" fmla="*/ 264 w 380"/>
                  <a:gd name="T51" fmla="*/ 15 h 590"/>
                  <a:gd name="T52" fmla="*/ 209 w 380"/>
                  <a:gd name="T53" fmla="*/ 1 h 590"/>
                  <a:gd name="T54" fmla="*/ 152 w 380"/>
                  <a:gd name="T55" fmla="*/ 3 h 590"/>
                  <a:gd name="T56" fmla="*/ 100 w 380"/>
                  <a:gd name="T57" fmla="*/ 23 h 590"/>
                  <a:gd name="T58" fmla="*/ 57 w 380"/>
                  <a:gd name="T59" fmla="*/ 56 h 590"/>
                  <a:gd name="T60" fmla="*/ 24 w 380"/>
                  <a:gd name="T61" fmla="*/ 99 h 590"/>
                  <a:gd name="T62" fmla="*/ 5 w 380"/>
                  <a:gd name="T63" fmla="*/ 151 h 590"/>
                  <a:gd name="T64" fmla="*/ 1 w 380"/>
                  <a:gd name="T65" fmla="*/ 206 h 590"/>
                  <a:gd name="T66" fmla="*/ 12 w 380"/>
                  <a:gd name="T67" fmla="*/ 253 h 590"/>
                  <a:gd name="T68" fmla="*/ 33 w 380"/>
                  <a:gd name="T69" fmla="*/ 296 h 590"/>
                  <a:gd name="T70" fmla="*/ 64 w 380"/>
                  <a:gd name="T71" fmla="*/ 331 h 590"/>
                  <a:gd name="T72" fmla="*/ 102 w 380"/>
                  <a:gd name="T73" fmla="*/ 358 h 590"/>
                  <a:gd name="T74" fmla="*/ 147 w 380"/>
                  <a:gd name="T75" fmla="*/ 374 h 590"/>
                  <a:gd name="T76" fmla="*/ 151 w 380"/>
                  <a:gd name="T77" fmla="*/ 587 h 590"/>
                  <a:gd name="T78" fmla="*/ 165 w 380"/>
                  <a:gd name="T79" fmla="*/ 589 h 590"/>
                  <a:gd name="T80" fmla="*/ 172 w 380"/>
                  <a:gd name="T81" fmla="*/ 577 h 590"/>
                  <a:gd name="T82" fmla="*/ 191 w 380"/>
                  <a:gd name="T83" fmla="*/ 379 h 590"/>
                  <a:gd name="T84" fmla="*/ 209 w 380"/>
                  <a:gd name="T85" fmla="*/ 577 h 590"/>
                  <a:gd name="T86" fmla="*/ 216 w 380"/>
                  <a:gd name="T87" fmla="*/ 589 h 590"/>
                  <a:gd name="T88" fmla="*/ 229 w 380"/>
                  <a:gd name="T89" fmla="*/ 587 h 590"/>
                  <a:gd name="T90" fmla="*/ 233 w 380"/>
                  <a:gd name="T91" fmla="*/ 374 h 590"/>
                  <a:gd name="T92" fmla="*/ 277 w 380"/>
                  <a:gd name="T93" fmla="*/ 358 h 590"/>
                  <a:gd name="T94" fmla="*/ 316 w 380"/>
                  <a:gd name="T95" fmla="*/ 331 h 590"/>
                  <a:gd name="T96" fmla="*/ 347 w 380"/>
                  <a:gd name="T97" fmla="*/ 296 h 590"/>
                  <a:gd name="T98" fmla="*/ 369 w 380"/>
                  <a:gd name="T99" fmla="*/ 253 h 590"/>
                  <a:gd name="T100" fmla="*/ 380 w 380"/>
                  <a:gd name="T101" fmla="*/ 206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80" h="590">
                    <a:moveTo>
                      <a:pt x="191" y="354"/>
                    </a:moveTo>
                    <a:lnTo>
                      <a:pt x="174" y="354"/>
                    </a:lnTo>
                    <a:lnTo>
                      <a:pt x="158" y="352"/>
                    </a:lnTo>
                    <a:lnTo>
                      <a:pt x="141" y="347"/>
                    </a:lnTo>
                    <a:lnTo>
                      <a:pt x="126" y="341"/>
                    </a:lnTo>
                    <a:lnTo>
                      <a:pt x="112" y="334"/>
                    </a:lnTo>
                    <a:lnTo>
                      <a:pt x="98" y="326"/>
                    </a:lnTo>
                    <a:lnTo>
                      <a:pt x="85" y="317"/>
                    </a:lnTo>
                    <a:lnTo>
                      <a:pt x="73" y="306"/>
                    </a:lnTo>
                    <a:lnTo>
                      <a:pt x="62" y="294"/>
                    </a:lnTo>
                    <a:lnTo>
                      <a:pt x="53" y="281"/>
                    </a:lnTo>
                    <a:lnTo>
                      <a:pt x="45" y="269"/>
                    </a:lnTo>
                    <a:lnTo>
                      <a:pt x="38" y="253"/>
                    </a:lnTo>
                    <a:lnTo>
                      <a:pt x="32" y="238"/>
                    </a:lnTo>
                    <a:lnTo>
                      <a:pt x="28" y="223"/>
                    </a:lnTo>
                    <a:lnTo>
                      <a:pt x="25" y="206"/>
                    </a:lnTo>
                    <a:lnTo>
                      <a:pt x="25" y="190"/>
                    </a:lnTo>
                    <a:lnTo>
                      <a:pt x="25" y="172"/>
                    </a:lnTo>
                    <a:lnTo>
                      <a:pt x="28" y="156"/>
                    </a:lnTo>
                    <a:lnTo>
                      <a:pt x="32" y="141"/>
                    </a:lnTo>
                    <a:lnTo>
                      <a:pt x="38" y="125"/>
                    </a:lnTo>
                    <a:lnTo>
                      <a:pt x="45" y="110"/>
                    </a:lnTo>
                    <a:lnTo>
                      <a:pt x="53" y="97"/>
                    </a:lnTo>
                    <a:lnTo>
                      <a:pt x="62" y="84"/>
                    </a:lnTo>
                    <a:lnTo>
                      <a:pt x="73" y="72"/>
                    </a:lnTo>
                    <a:lnTo>
                      <a:pt x="85" y="62"/>
                    </a:lnTo>
                    <a:lnTo>
                      <a:pt x="98" y="52"/>
                    </a:lnTo>
                    <a:lnTo>
                      <a:pt x="112" y="44"/>
                    </a:lnTo>
                    <a:lnTo>
                      <a:pt x="126" y="37"/>
                    </a:lnTo>
                    <a:lnTo>
                      <a:pt x="141" y="31"/>
                    </a:lnTo>
                    <a:lnTo>
                      <a:pt x="158" y="28"/>
                    </a:lnTo>
                    <a:lnTo>
                      <a:pt x="174" y="24"/>
                    </a:lnTo>
                    <a:lnTo>
                      <a:pt x="191" y="24"/>
                    </a:lnTo>
                    <a:lnTo>
                      <a:pt x="207" y="24"/>
                    </a:lnTo>
                    <a:lnTo>
                      <a:pt x="223" y="28"/>
                    </a:lnTo>
                    <a:lnTo>
                      <a:pt x="240" y="31"/>
                    </a:lnTo>
                    <a:lnTo>
                      <a:pt x="255" y="37"/>
                    </a:lnTo>
                    <a:lnTo>
                      <a:pt x="269" y="44"/>
                    </a:lnTo>
                    <a:lnTo>
                      <a:pt x="283" y="52"/>
                    </a:lnTo>
                    <a:lnTo>
                      <a:pt x="295" y="62"/>
                    </a:lnTo>
                    <a:lnTo>
                      <a:pt x="307" y="72"/>
                    </a:lnTo>
                    <a:lnTo>
                      <a:pt x="319" y="84"/>
                    </a:lnTo>
                    <a:lnTo>
                      <a:pt x="328" y="97"/>
                    </a:lnTo>
                    <a:lnTo>
                      <a:pt x="336" y="110"/>
                    </a:lnTo>
                    <a:lnTo>
                      <a:pt x="343" y="125"/>
                    </a:lnTo>
                    <a:lnTo>
                      <a:pt x="348" y="141"/>
                    </a:lnTo>
                    <a:lnTo>
                      <a:pt x="353" y="156"/>
                    </a:lnTo>
                    <a:lnTo>
                      <a:pt x="355" y="172"/>
                    </a:lnTo>
                    <a:lnTo>
                      <a:pt x="356" y="190"/>
                    </a:lnTo>
                    <a:lnTo>
                      <a:pt x="355" y="206"/>
                    </a:lnTo>
                    <a:lnTo>
                      <a:pt x="353" y="223"/>
                    </a:lnTo>
                    <a:lnTo>
                      <a:pt x="348" y="238"/>
                    </a:lnTo>
                    <a:lnTo>
                      <a:pt x="343" y="253"/>
                    </a:lnTo>
                    <a:lnTo>
                      <a:pt x="336" y="269"/>
                    </a:lnTo>
                    <a:lnTo>
                      <a:pt x="328" y="281"/>
                    </a:lnTo>
                    <a:lnTo>
                      <a:pt x="319" y="294"/>
                    </a:lnTo>
                    <a:lnTo>
                      <a:pt x="307" y="306"/>
                    </a:lnTo>
                    <a:lnTo>
                      <a:pt x="295" y="317"/>
                    </a:lnTo>
                    <a:lnTo>
                      <a:pt x="283" y="326"/>
                    </a:lnTo>
                    <a:lnTo>
                      <a:pt x="269" y="334"/>
                    </a:lnTo>
                    <a:lnTo>
                      <a:pt x="255" y="341"/>
                    </a:lnTo>
                    <a:lnTo>
                      <a:pt x="240" y="347"/>
                    </a:lnTo>
                    <a:lnTo>
                      <a:pt x="223" y="352"/>
                    </a:lnTo>
                    <a:lnTo>
                      <a:pt x="207" y="354"/>
                    </a:lnTo>
                    <a:lnTo>
                      <a:pt x="191" y="354"/>
                    </a:lnTo>
                    <a:close/>
                    <a:moveTo>
                      <a:pt x="380" y="190"/>
                    </a:moveTo>
                    <a:lnTo>
                      <a:pt x="378" y="170"/>
                    </a:lnTo>
                    <a:lnTo>
                      <a:pt x="376" y="151"/>
                    </a:lnTo>
                    <a:lnTo>
                      <a:pt x="371" y="133"/>
                    </a:lnTo>
                    <a:lnTo>
                      <a:pt x="364" y="116"/>
                    </a:lnTo>
                    <a:lnTo>
                      <a:pt x="357" y="99"/>
                    </a:lnTo>
                    <a:lnTo>
                      <a:pt x="347" y="83"/>
                    </a:lnTo>
                    <a:lnTo>
                      <a:pt x="336" y="69"/>
                    </a:lnTo>
                    <a:lnTo>
                      <a:pt x="324" y="56"/>
                    </a:lnTo>
                    <a:lnTo>
                      <a:pt x="310" y="43"/>
                    </a:lnTo>
                    <a:lnTo>
                      <a:pt x="296" y="32"/>
                    </a:lnTo>
                    <a:lnTo>
                      <a:pt x="281" y="23"/>
                    </a:lnTo>
                    <a:lnTo>
                      <a:pt x="264" y="15"/>
                    </a:lnTo>
                    <a:lnTo>
                      <a:pt x="247" y="8"/>
                    </a:lnTo>
                    <a:lnTo>
                      <a:pt x="228" y="3"/>
                    </a:lnTo>
                    <a:lnTo>
                      <a:pt x="209" y="1"/>
                    </a:lnTo>
                    <a:lnTo>
                      <a:pt x="191" y="0"/>
                    </a:lnTo>
                    <a:lnTo>
                      <a:pt x="171" y="1"/>
                    </a:lnTo>
                    <a:lnTo>
                      <a:pt x="152" y="3"/>
                    </a:lnTo>
                    <a:lnTo>
                      <a:pt x="134" y="8"/>
                    </a:lnTo>
                    <a:lnTo>
                      <a:pt x="117" y="15"/>
                    </a:lnTo>
                    <a:lnTo>
                      <a:pt x="100" y="23"/>
                    </a:lnTo>
                    <a:lnTo>
                      <a:pt x="85" y="32"/>
                    </a:lnTo>
                    <a:lnTo>
                      <a:pt x="70" y="43"/>
                    </a:lnTo>
                    <a:lnTo>
                      <a:pt x="57" y="56"/>
                    </a:lnTo>
                    <a:lnTo>
                      <a:pt x="44" y="69"/>
                    </a:lnTo>
                    <a:lnTo>
                      <a:pt x="33" y="83"/>
                    </a:lnTo>
                    <a:lnTo>
                      <a:pt x="24" y="99"/>
                    </a:lnTo>
                    <a:lnTo>
                      <a:pt x="16" y="116"/>
                    </a:lnTo>
                    <a:lnTo>
                      <a:pt x="10" y="133"/>
                    </a:lnTo>
                    <a:lnTo>
                      <a:pt x="5" y="151"/>
                    </a:lnTo>
                    <a:lnTo>
                      <a:pt x="1" y="170"/>
                    </a:lnTo>
                    <a:lnTo>
                      <a:pt x="0" y="190"/>
                    </a:lnTo>
                    <a:lnTo>
                      <a:pt x="1" y="206"/>
                    </a:lnTo>
                    <a:lnTo>
                      <a:pt x="4" y="223"/>
                    </a:lnTo>
                    <a:lnTo>
                      <a:pt x="7" y="238"/>
                    </a:lnTo>
                    <a:lnTo>
                      <a:pt x="12" y="253"/>
                    </a:lnTo>
                    <a:lnTo>
                      <a:pt x="18" y="269"/>
                    </a:lnTo>
                    <a:lnTo>
                      <a:pt x="25" y="281"/>
                    </a:lnTo>
                    <a:lnTo>
                      <a:pt x="33" y="296"/>
                    </a:lnTo>
                    <a:lnTo>
                      <a:pt x="43" y="308"/>
                    </a:lnTo>
                    <a:lnTo>
                      <a:pt x="53" y="320"/>
                    </a:lnTo>
                    <a:lnTo>
                      <a:pt x="64" y="331"/>
                    </a:lnTo>
                    <a:lnTo>
                      <a:pt x="77" y="340"/>
                    </a:lnTo>
                    <a:lnTo>
                      <a:pt x="89" y="350"/>
                    </a:lnTo>
                    <a:lnTo>
                      <a:pt x="102" y="358"/>
                    </a:lnTo>
                    <a:lnTo>
                      <a:pt x="118" y="364"/>
                    </a:lnTo>
                    <a:lnTo>
                      <a:pt x="132" y="370"/>
                    </a:lnTo>
                    <a:lnTo>
                      <a:pt x="147" y="374"/>
                    </a:lnTo>
                    <a:lnTo>
                      <a:pt x="147" y="577"/>
                    </a:lnTo>
                    <a:lnTo>
                      <a:pt x="148" y="582"/>
                    </a:lnTo>
                    <a:lnTo>
                      <a:pt x="151" y="587"/>
                    </a:lnTo>
                    <a:lnTo>
                      <a:pt x="155" y="589"/>
                    </a:lnTo>
                    <a:lnTo>
                      <a:pt x="159" y="590"/>
                    </a:lnTo>
                    <a:lnTo>
                      <a:pt x="165" y="589"/>
                    </a:lnTo>
                    <a:lnTo>
                      <a:pt x="168" y="587"/>
                    </a:lnTo>
                    <a:lnTo>
                      <a:pt x="171" y="582"/>
                    </a:lnTo>
                    <a:lnTo>
                      <a:pt x="172" y="577"/>
                    </a:lnTo>
                    <a:lnTo>
                      <a:pt x="172" y="378"/>
                    </a:lnTo>
                    <a:lnTo>
                      <a:pt x="181" y="379"/>
                    </a:lnTo>
                    <a:lnTo>
                      <a:pt x="191" y="379"/>
                    </a:lnTo>
                    <a:lnTo>
                      <a:pt x="200" y="379"/>
                    </a:lnTo>
                    <a:lnTo>
                      <a:pt x="209" y="378"/>
                    </a:lnTo>
                    <a:lnTo>
                      <a:pt x="209" y="577"/>
                    </a:lnTo>
                    <a:lnTo>
                      <a:pt x="210" y="582"/>
                    </a:lnTo>
                    <a:lnTo>
                      <a:pt x="213" y="587"/>
                    </a:lnTo>
                    <a:lnTo>
                      <a:pt x="216" y="589"/>
                    </a:lnTo>
                    <a:lnTo>
                      <a:pt x="221" y="590"/>
                    </a:lnTo>
                    <a:lnTo>
                      <a:pt x="226" y="589"/>
                    </a:lnTo>
                    <a:lnTo>
                      <a:pt x="229" y="587"/>
                    </a:lnTo>
                    <a:lnTo>
                      <a:pt x="233" y="582"/>
                    </a:lnTo>
                    <a:lnTo>
                      <a:pt x="233" y="577"/>
                    </a:lnTo>
                    <a:lnTo>
                      <a:pt x="233" y="374"/>
                    </a:lnTo>
                    <a:lnTo>
                      <a:pt x="249" y="370"/>
                    </a:lnTo>
                    <a:lnTo>
                      <a:pt x="263" y="364"/>
                    </a:lnTo>
                    <a:lnTo>
                      <a:pt x="277" y="358"/>
                    </a:lnTo>
                    <a:lnTo>
                      <a:pt x="292" y="350"/>
                    </a:lnTo>
                    <a:lnTo>
                      <a:pt x="304" y="340"/>
                    </a:lnTo>
                    <a:lnTo>
                      <a:pt x="316" y="331"/>
                    </a:lnTo>
                    <a:lnTo>
                      <a:pt x="328" y="320"/>
                    </a:lnTo>
                    <a:lnTo>
                      <a:pt x="338" y="308"/>
                    </a:lnTo>
                    <a:lnTo>
                      <a:pt x="347" y="296"/>
                    </a:lnTo>
                    <a:lnTo>
                      <a:pt x="356" y="281"/>
                    </a:lnTo>
                    <a:lnTo>
                      <a:pt x="363" y="269"/>
                    </a:lnTo>
                    <a:lnTo>
                      <a:pt x="369" y="253"/>
                    </a:lnTo>
                    <a:lnTo>
                      <a:pt x="374" y="238"/>
                    </a:lnTo>
                    <a:lnTo>
                      <a:pt x="377" y="223"/>
                    </a:lnTo>
                    <a:lnTo>
                      <a:pt x="380" y="206"/>
                    </a:lnTo>
                    <a:lnTo>
                      <a:pt x="380" y="19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1" name="Freeform 229"/>
              <p:cNvSpPr>
                <a:spLocks/>
              </p:cNvSpPr>
              <p:nvPr/>
            </p:nvSpPr>
            <p:spPr bwMode="auto">
              <a:xfrm>
                <a:off x="6381751" y="4906963"/>
                <a:ext cx="33338" cy="33338"/>
              </a:xfrm>
              <a:custGeom>
                <a:avLst/>
                <a:gdLst>
                  <a:gd name="T0" fmla="*/ 61 w 82"/>
                  <a:gd name="T1" fmla="*/ 4 h 85"/>
                  <a:gd name="T2" fmla="*/ 2 w 82"/>
                  <a:gd name="T3" fmla="*/ 63 h 85"/>
                  <a:gd name="T4" fmla="*/ 0 w 82"/>
                  <a:gd name="T5" fmla="*/ 68 h 85"/>
                  <a:gd name="T6" fmla="*/ 0 w 82"/>
                  <a:gd name="T7" fmla="*/ 73 h 85"/>
                  <a:gd name="T8" fmla="*/ 0 w 82"/>
                  <a:gd name="T9" fmla="*/ 78 h 85"/>
                  <a:gd name="T10" fmla="*/ 3 w 82"/>
                  <a:gd name="T11" fmla="*/ 81 h 85"/>
                  <a:gd name="T12" fmla="*/ 7 w 82"/>
                  <a:gd name="T13" fmla="*/ 83 h 85"/>
                  <a:gd name="T14" fmla="*/ 12 w 82"/>
                  <a:gd name="T15" fmla="*/ 85 h 85"/>
                  <a:gd name="T16" fmla="*/ 16 w 82"/>
                  <a:gd name="T17" fmla="*/ 83 h 85"/>
                  <a:gd name="T18" fmla="*/ 20 w 82"/>
                  <a:gd name="T19" fmla="*/ 81 h 85"/>
                  <a:gd name="T20" fmla="*/ 78 w 82"/>
                  <a:gd name="T21" fmla="*/ 20 h 85"/>
                  <a:gd name="T22" fmla="*/ 81 w 82"/>
                  <a:gd name="T23" fmla="*/ 16 h 85"/>
                  <a:gd name="T24" fmla="*/ 82 w 82"/>
                  <a:gd name="T25" fmla="*/ 12 h 85"/>
                  <a:gd name="T26" fmla="*/ 81 w 82"/>
                  <a:gd name="T27" fmla="*/ 7 h 85"/>
                  <a:gd name="T28" fmla="*/ 78 w 82"/>
                  <a:gd name="T29" fmla="*/ 4 h 85"/>
                  <a:gd name="T30" fmla="*/ 75 w 82"/>
                  <a:gd name="T31" fmla="*/ 0 h 85"/>
                  <a:gd name="T32" fmla="*/ 70 w 82"/>
                  <a:gd name="T33" fmla="*/ 0 h 85"/>
                  <a:gd name="T34" fmla="*/ 66 w 82"/>
                  <a:gd name="T35" fmla="*/ 1 h 85"/>
                  <a:gd name="T36" fmla="*/ 61 w 82"/>
                  <a:gd name="T37" fmla="*/ 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2" h="85">
                    <a:moveTo>
                      <a:pt x="61" y="4"/>
                    </a:moveTo>
                    <a:lnTo>
                      <a:pt x="2" y="63"/>
                    </a:lnTo>
                    <a:lnTo>
                      <a:pt x="0" y="68"/>
                    </a:lnTo>
                    <a:lnTo>
                      <a:pt x="0" y="73"/>
                    </a:lnTo>
                    <a:lnTo>
                      <a:pt x="0" y="78"/>
                    </a:lnTo>
                    <a:lnTo>
                      <a:pt x="3" y="81"/>
                    </a:lnTo>
                    <a:lnTo>
                      <a:pt x="7" y="83"/>
                    </a:lnTo>
                    <a:lnTo>
                      <a:pt x="12" y="85"/>
                    </a:lnTo>
                    <a:lnTo>
                      <a:pt x="16" y="83"/>
                    </a:lnTo>
                    <a:lnTo>
                      <a:pt x="20" y="81"/>
                    </a:lnTo>
                    <a:lnTo>
                      <a:pt x="78" y="20"/>
                    </a:lnTo>
                    <a:lnTo>
                      <a:pt x="81" y="16"/>
                    </a:lnTo>
                    <a:lnTo>
                      <a:pt x="82" y="12"/>
                    </a:lnTo>
                    <a:lnTo>
                      <a:pt x="81" y="7"/>
                    </a:lnTo>
                    <a:lnTo>
                      <a:pt x="78" y="4"/>
                    </a:lnTo>
                    <a:lnTo>
                      <a:pt x="75" y="0"/>
                    </a:lnTo>
                    <a:lnTo>
                      <a:pt x="70" y="0"/>
                    </a:lnTo>
                    <a:lnTo>
                      <a:pt x="66" y="1"/>
                    </a:lnTo>
                    <a:lnTo>
                      <a:pt x="61" y="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2" name="Rectangle 230"/>
              <p:cNvSpPr>
                <a:spLocks noChangeArrowheads="1"/>
              </p:cNvSpPr>
              <p:nvPr/>
            </p:nvSpPr>
            <p:spPr bwMode="auto">
              <a:xfrm>
                <a:off x="6030913" y="4935538"/>
                <a:ext cx="80963" cy="2540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3" name="Rectangle 231"/>
              <p:cNvSpPr>
                <a:spLocks noChangeArrowheads="1"/>
              </p:cNvSpPr>
              <p:nvPr/>
            </p:nvSpPr>
            <p:spPr bwMode="auto">
              <a:xfrm>
                <a:off x="5919788" y="5089526"/>
                <a:ext cx="304800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4" name="Rectangle 232"/>
              <p:cNvSpPr>
                <a:spLocks noChangeArrowheads="1"/>
              </p:cNvSpPr>
              <p:nvPr/>
            </p:nvSpPr>
            <p:spPr bwMode="auto">
              <a:xfrm>
                <a:off x="5686426" y="5089526"/>
                <a:ext cx="141288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5" name="Rectangle 233"/>
              <p:cNvSpPr>
                <a:spLocks noChangeArrowheads="1"/>
              </p:cNvSpPr>
              <p:nvPr/>
            </p:nvSpPr>
            <p:spPr bwMode="auto">
              <a:xfrm>
                <a:off x="6316663" y="5089526"/>
                <a:ext cx="141288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6" name="Rectangle 234"/>
              <p:cNvSpPr>
                <a:spLocks noChangeArrowheads="1"/>
              </p:cNvSpPr>
              <p:nvPr/>
            </p:nvSpPr>
            <p:spPr bwMode="auto">
              <a:xfrm>
                <a:off x="5649913" y="5019676"/>
                <a:ext cx="36513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7" name="Rectangle 235"/>
              <p:cNvSpPr>
                <a:spLocks noChangeArrowheads="1"/>
              </p:cNvSpPr>
              <p:nvPr/>
            </p:nvSpPr>
            <p:spPr bwMode="auto">
              <a:xfrm>
                <a:off x="6457951" y="5019676"/>
                <a:ext cx="36513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8" name="Rectangle 236"/>
              <p:cNvSpPr>
                <a:spLocks noChangeArrowheads="1"/>
              </p:cNvSpPr>
              <p:nvPr/>
            </p:nvSpPr>
            <p:spPr bwMode="auto">
              <a:xfrm>
                <a:off x="5827713" y="5019676"/>
                <a:ext cx="92075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89" name="Rectangle 237"/>
              <p:cNvSpPr>
                <a:spLocks noChangeArrowheads="1"/>
              </p:cNvSpPr>
              <p:nvPr/>
            </p:nvSpPr>
            <p:spPr bwMode="auto">
              <a:xfrm>
                <a:off x="6224588" y="5019676"/>
                <a:ext cx="92075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90" name="Rectangle 238"/>
              <p:cNvSpPr>
                <a:spLocks noChangeArrowheads="1"/>
              </p:cNvSpPr>
              <p:nvPr/>
            </p:nvSpPr>
            <p:spPr bwMode="auto">
              <a:xfrm>
                <a:off x="5994401" y="4960938"/>
                <a:ext cx="155575" cy="128588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91" name="Rectangle 239"/>
              <p:cNvSpPr>
                <a:spLocks noChangeArrowheads="1"/>
              </p:cNvSpPr>
              <p:nvPr/>
            </p:nvSpPr>
            <p:spPr bwMode="auto">
              <a:xfrm>
                <a:off x="5943601" y="4648201"/>
                <a:ext cx="257175" cy="26035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92" name="Freeform 240"/>
              <p:cNvSpPr>
                <a:spLocks noEditPoints="1"/>
              </p:cNvSpPr>
              <p:nvPr/>
            </p:nvSpPr>
            <p:spPr bwMode="auto">
              <a:xfrm>
                <a:off x="5915026" y="4621213"/>
                <a:ext cx="312738" cy="314325"/>
              </a:xfrm>
              <a:custGeom>
                <a:avLst/>
                <a:gdLst>
                  <a:gd name="T0" fmla="*/ 70 w 788"/>
                  <a:gd name="T1" fmla="*/ 723 h 794"/>
                  <a:gd name="T2" fmla="*/ 719 w 788"/>
                  <a:gd name="T3" fmla="*/ 723 h 794"/>
                  <a:gd name="T4" fmla="*/ 719 w 788"/>
                  <a:gd name="T5" fmla="*/ 70 h 794"/>
                  <a:gd name="T6" fmla="*/ 70 w 788"/>
                  <a:gd name="T7" fmla="*/ 70 h 794"/>
                  <a:gd name="T8" fmla="*/ 70 w 788"/>
                  <a:gd name="T9" fmla="*/ 723 h 794"/>
                  <a:gd name="T10" fmla="*/ 727 w 788"/>
                  <a:gd name="T11" fmla="*/ 794 h 794"/>
                  <a:gd name="T12" fmla="*/ 62 w 788"/>
                  <a:gd name="T13" fmla="*/ 794 h 794"/>
                  <a:gd name="T14" fmla="*/ 56 w 788"/>
                  <a:gd name="T15" fmla="*/ 793 h 794"/>
                  <a:gd name="T16" fmla="*/ 49 w 788"/>
                  <a:gd name="T17" fmla="*/ 793 h 794"/>
                  <a:gd name="T18" fmla="*/ 43 w 788"/>
                  <a:gd name="T19" fmla="*/ 790 h 794"/>
                  <a:gd name="T20" fmla="*/ 37 w 788"/>
                  <a:gd name="T21" fmla="*/ 788 h 794"/>
                  <a:gd name="T22" fmla="*/ 27 w 788"/>
                  <a:gd name="T23" fmla="*/ 783 h 794"/>
                  <a:gd name="T24" fmla="*/ 19 w 788"/>
                  <a:gd name="T25" fmla="*/ 775 h 794"/>
                  <a:gd name="T26" fmla="*/ 10 w 788"/>
                  <a:gd name="T27" fmla="*/ 766 h 794"/>
                  <a:gd name="T28" fmla="*/ 5 w 788"/>
                  <a:gd name="T29" fmla="*/ 755 h 794"/>
                  <a:gd name="T30" fmla="*/ 2 w 788"/>
                  <a:gd name="T31" fmla="*/ 749 h 794"/>
                  <a:gd name="T32" fmla="*/ 1 w 788"/>
                  <a:gd name="T33" fmla="*/ 743 h 794"/>
                  <a:gd name="T34" fmla="*/ 0 w 788"/>
                  <a:gd name="T35" fmla="*/ 737 h 794"/>
                  <a:gd name="T36" fmla="*/ 0 w 788"/>
                  <a:gd name="T37" fmla="*/ 732 h 794"/>
                  <a:gd name="T38" fmla="*/ 0 w 788"/>
                  <a:gd name="T39" fmla="*/ 62 h 794"/>
                  <a:gd name="T40" fmla="*/ 0 w 788"/>
                  <a:gd name="T41" fmla="*/ 55 h 794"/>
                  <a:gd name="T42" fmla="*/ 1 w 788"/>
                  <a:gd name="T43" fmla="*/ 49 h 794"/>
                  <a:gd name="T44" fmla="*/ 2 w 788"/>
                  <a:gd name="T45" fmla="*/ 43 h 794"/>
                  <a:gd name="T46" fmla="*/ 5 w 788"/>
                  <a:gd name="T47" fmla="*/ 37 h 794"/>
                  <a:gd name="T48" fmla="*/ 10 w 788"/>
                  <a:gd name="T49" fmla="*/ 27 h 794"/>
                  <a:gd name="T50" fmla="*/ 19 w 788"/>
                  <a:gd name="T51" fmla="*/ 17 h 794"/>
                  <a:gd name="T52" fmla="*/ 27 w 788"/>
                  <a:gd name="T53" fmla="*/ 10 h 794"/>
                  <a:gd name="T54" fmla="*/ 37 w 788"/>
                  <a:gd name="T55" fmla="*/ 5 h 794"/>
                  <a:gd name="T56" fmla="*/ 43 w 788"/>
                  <a:gd name="T57" fmla="*/ 2 h 794"/>
                  <a:gd name="T58" fmla="*/ 49 w 788"/>
                  <a:gd name="T59" fmla="*/ 1 h 794"/>
                  <a:gd name="T60" fmla="*/ 56 w 788"/>
                  <a:gd name="T61" fmla="*/ 0 h 794"/>
                  <a:gd name="T62" fmla="*/ 62 w 788"/>
                  <a:gd name="T63" fmla="*/ 0 h 794"/>
                  <a:gd name="T64" fmla="*/ 727 w 788"/>
                  <a:gd name="T65" fmla="*/ 0 h 794"/>
                  <a:gd name="T66" fmla="*/ 733 w 788"/>
                  <a:gd name="T67" fmla="*/ 0 h 794"/>
                  <a:gd name="T68" fmla="*/ 739 w 788"/>
                  <a:gd name="T69" fmla="*/ 1 h 794"/>
                  <a:gd name="T70" fmla="*/ 746 w 788"/>
                  <a:gd name="T71" fmla="*/ 2 h 794"/>
                  <a:gd name="T72" fmla="*/ 750 w 788"/>
                  <a:gd name="T73" fmla="*/ 5 h 794"/>
                  <a:gd name="T74" fmla="*/ 761 w 788"/>
                  <a:gd name="T75" fmla="*/ 10 h 794"/>
                  <a:gd name="T76" fmla="*/ 770 w 788"/>
                  <a:gd name="T77" fmla="*/ 17 h 794"/>
                  <a:gd name="T78" fmla="*/ 777 w 788"/>
                  <a:gd name="T79" fmla="*/ 27 h 794"/>
                  <a:gd name="T80" fmla="*/ 783 w 788"/>
                  <a:gd name="T81" fmla="*/ 37 h 794"/>
                  <a:gd name="T82" fmla="*/ 786 w 788"/>
                  <a:gd name="T83" fmla="*/ 43 h 794"/>
                  <a:gd name="T84" fmla="*/ 787 w 788"/>
                  <a:gd name="T85" fmla="*/ 49 h 794"/>
                  <a:gd name="T86" fmla="*/ 788 w 788"/>
                  <a:gd name="T87" fmla="*/ 55 h 794"/>
                  <a:gd name="T88" fmla="*/ 788 w 788"/>
                  <a:gd name="T89" fmla="*/ 62 h 794"/>
                  <a:gd name="T90" fmla="*/ 788 w 788"/>
                  <a:gd name="T91" fmla="*/ 732 h 794"/>
                  <a:gd name="T92" fmla="*/ 788 w 788"/>
                  <a:gd name="T93" fmla="*/ 737 h 794"/>
                  <a:gd name="T94" fmla="*/ 787 w 788"/>
                  <a:gd name="T95" fmla="*/ 743 h 794"/>
                  <a:gd name="T96" fmla="*/ 786 w 788"/>
                  <a:gd name="T97" fmla="*/ 749 h 794"/>
                  <a:gd name="T98" fmla="*/ 783 w 788"/>
                  <a:gd name="T99" fmla="*/ 755 h 794"/>
                  <a:gd name="T100" fmla="*/ 777 w 788"/>
                  <a:gd name="T101" fmla="*/ 766 h 794"/>
                  <a:gd name="T102" fmla="*/ 770 w 788"/>
                  <a:gd name="T103" fmla="*/ 775 h 794"/>
                  <a:gd name="T104" fmla="*/ 761 w 788"/>
                  <a:gd name="T105" fmla="*/ 783 h 794"/>
                  <a:gd name="T106" fmla="*/ 750 w 788"/>
                  <a:gd name="T107" fmla="*/ 788 h 794"/>
                  <a:gd name="T108" fmla="*/ 746 w 788"/>
                  <a:gd name="T109" fmla="*/ 790 h 794"/>
                  <a:gd name="T110" fmla="*/ 739 w 788"/>
                  <a:gd name="T111" fmla="*/ 793 h 794"/>
                  <a:gd name="T112" fmla="*/ 733 w 788"/>
                  <a:gd name="T113" fmla="*/ 793 h 794"/>
                  <a:gd name="T114" fmla="*/ 727 w 788"/>
                  <a:gd name="T115" fmla="*/ 794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8" h="794">
                    <a:moveTo>
                      <a:pt x="70" y="723"/>
                    </a:moveTo>
                    <a:lnTo>
                      <a:pt x="719" y="723"/>
                    </a:lnTo>
                    <a:lnTo>
                      <a:pt x="719" y="70"/>
                    </a:lnTo>
                    <a:lnTo>
                      <a:pt x="70" y="70"/>
                    </a:lnTo>
                    <a:lnTo>
                      <a:pt x="70" y="723"/>
                    </a:lnTo>
                    <a:close/>
                    <a:moveTo>
                      <a:pt x="727" y="794"/>
                    </a:moveTo>
                    <a:lnTo>
                      <a:pt x="62" y="794"/>
                    </a:lnTo>
                    <a:lnTo>
                      <a:pt x="56" y="793"/>
                    </a:lnTo>
                    <a:lnTo>
                      <a:pt x="49" y="793"/>
                    </a:lnTo>
                    <a:lnTo>
                      <a:pt x="43" y="790"/>
                    </a:lnTo>
                    <a:lnTo>
                      <a:pt x="37" y="788"/>
                    </a:lnTo>
                    <a:lnTo>
                      <a:pt x="27" y="783"/>
                    </a:lnTo>
                    <a:lnTo>
                      <a:pt x="19" y="775"/>
                    </a:lnTo>
                    <a:lnTo>
                      <a:pt x="10" y="766"/>
                    </a:lnTo>
                    <a:lnTo>
                      <a:pt x="5" y="755"/>
                    </a:lnTo>
                    <a:lnTo>
                      <a:pt x="2" y="749"/>
                    </a:lnTo>
                    <a:lnTo>
                      <a:pt x="1" y="743"/>
                    </a:lnTo>
                    <a:lnTo>
                      <a:pt x="0" y="737"/>
                    </a:lnTo>
                    <a:lnTo>
                      <a:pt x="0" y="732"/>
                    </a:lnTo>
                    <a:lnTo>
                      <a:pt x="0" y="62"/>
                    </a:lnTo>
                    <a:lnTo>
                      <a:pt x="0" y="55"/>
                    </a:lnTo>
                    <a:lnTo>
                      <a:pt x="1" y="49"/>
                    </a:lnTo>
                    <a:lnTo>
                      <a:pt x="2" y="43"/>
                    </a:lnTo>
                    <a:lnTo>
                      <a:pt x="5" y="37"/>
                    </a:lnTo>
                    <a:lnTo>
                      <a:pt x="10" y="27"/>
                    </a:lnTo>
                    <a:lnTo>
                      <a:pt x="19" y="17"/>
                    </a:lnTo>
                    <a:lnTo>
                      <a:pt x="27" y="10"/>
                    </a:lnTo>
                    <a:lnTo>
                      <a:pt x="37" y="5"/>
                    </a:lnTo>
                    <a:lnTo>
                      <a:pt x="43" y="2"/>
                    </a:lnTo>
                    <a:lnTo>
                      <a:pt x="49" y="1"/>
                    </a:lnTo>
                    <a:lnTo>
                      <a:pt x="56" y="0"/>
                    </a:lnTo>
                    <a:lnTo>
                      <a:pt x="62" y="0"/>
                    </a:lnTo>
                    <a:lnTo>
                      <a:pt x="727" y="0"/>
                    </a:lnTo>
                    <a:lnTo>
                      <a:pt x="733" y="0"/>
                    </a:lnTo>
                    <a:lnTo>
                      <a:pt x="739" y="1"/>
                    </a:lnTo>
                    <a:lnTo>
                      <a:pt x="746" y="2"/>
                    </a:lnTo>
                    <a:lnTo>
                      <a:pt x="750" y="5"/>
                    </a:lnTo>
                    <a:lnTo>
                      <a:pt x="761" y="10"/>
                    </a:lnTo>
                    <a:lnTo>
                      <a:pt x="770" y="17"/>
                    </a:lnTo>
                    <a:lnTo>
                      <a:pt x="777" y="27"/>
                    </a:lnTo>
                    <a:lnTo>
                      <a:pt x="783" y="37"/>
                    </a:lnTo>
                    <a:lnTo>
                      <a:pt x="786" y="43"/>
                    </a:lnTo>
                    <a:lnTo>
                      <a:pt x="787" y="49"/>
                    </a:lnTo>
                    <a:lnTo>
                      <a:pt x="788" y="55"/>
                    </a:lnTo>
                    <a:lnTo>
                      <a:pt x="788" y="62"/>
                    </a:lnTo>
                    <a:lnTo>
                      <a:pt x="788" y="732"/>
                    </a:lnTo>
                    <a:lnTo>
                      <a:pt x="788" y="737"/>
                    </a:lnTo>
                    <a:lnTo>
                      <a:pt x="787" y="743"/>
                    </a:lnTo>
                    <a:lnTo>
                      <a:pt x="786" y="749"/>
                    </a:lnTo>
                    <a:lnTo>
                      <a:pt x="783" y="755"/>
                    </a:lnTo>
                    <a:lnTo>
                      <a:pt x="777" y="766"/>
                    </a:lnTo>
                    <a:lnTo>
                      <a:pt x="770" y="775"/>
                    </a:lnTo>
                    <a:lnTo>
                      <a:pt x="761" y="783"/>
                    </a:lnTo>
                    <a:lnTo>
                      <a:pt x="750" y="788"/>
                    </a:lnTo>
                    <a:lnTo>
                      <a:pt x="746" y="790"/>
                    </a:lnTo>
                    <a:lnTo>
                      <a:pt x="739" y="793"/>
                    </a:lnTo>
                    <a:lnTo>
                      <a:pt x="733" y="793"/>
                    </a:lnTo>
                    <a:lnTo>
                      <a:pt x="727" y="794"/>
                    </a:lnTo>
                    <a:close/>
                  </a:path>
                </a:pathLst>
              </a:cu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93" name="Freeform 241"/>
              <p:cNvSpPr>
                <a:spLocks noEditPoints="1"/>
              </p:cNvSpPr>
              <p:nvPr/>
            </p:nvSpPr>
            <p:spPr bwMode="auto">
              <a:xfrm>
                <a:off x="5645151" y="4616451"/>
                <a:ext cx="854075" cy="681038"/>
              </a:xfrm>
              <a:custGeom>
                <a:avLst/>
                <a:gdLst>
                  <a:gd name="T0" fmla="*/ 2131 w 2155"/>
                  <a:gd name="T1" fmla="*/ 1693 h 1716"/>
                  <a:gd name="T2" fmla="*/ 1704 w 2155"/>
                  <a:gd name="T3" fmla="*/ 1516 h 1716"/>
                  <a:gd name="T4" fmla="*/ 1679 w 2155"/>
                  <a:gd name="T5" fmla="*/ 1693 h 1716"/>
                  <a:gd name="T6" fmla="*/ 705 w 2155"/>
                  <a:gd name="T7" fmla="*/ 1516 h 1716"/>
                  <a:gd name="T8" fmla="*/ 682 w 2155"/>
                  <a:gd name="T9" fmla="*/ 1693 h 1716"/>
                  <a:gd name="T10" fmla="*/ 118 w 2155"/>
                  <a:gd name="T11" fmla="*/ 1516 h 1716"/>
                  <a:gd name="T12" fmla="*/ 93 w 2155"/>
                  <a:gd name="T13" fmla="*/ 1693 h 1716"/>
                  <a:gd name="T14" fmla="*/ 891 w 2155"/>
                  <a:gd name="T15" fmla="*/ 881 h 1716"/>
                  <a:gd name="T16" fmla="*/ 985 w 2155"/>
                  <a:gd name="T17" fmla="*/ 818 h 1716"/>
                  <a:gd name="T18" fmla="*/ 703 w 2155"/>
                  <a:gd name="T19" fmla="*/ 46 h 1716"/>
                  <a:gd name="T20" fmla="*/ 744 w 2155"/>
                  <a:gd name="T21" fmla="*/ 24 h 1716"/>
                  <a:gd name="T22" fmla="*/ 1444 w 2155"/>
                  <a:gd name="T23" fmla="*/ 39 h 1716"/>
                  <a:gd name="T24" fmla="*/ 1458 w 2155"/>
                  <a:gd name="T25" fmla="*/ 744 h 1716"/>
                  <a:gd name="T26" fmla="*/ 1437 w 2155"/>
                  <a:gd name="T27" fmla="*/ 785 h 1716"/>
                  <a:gd name="T28" fmla="*/ 734 w 2155"/>
                  <a:gd name="T29" fmla="*/ 792 h 1716"/>
                  <a:gd name="T30" fmla="*/ 698 w 2155"/>
                  <a:gd name="T31" fmla="*/ 762 h 1716"/>
                  <a:gd name="T32" fmla="*/ 2044 w 2155"/>
                  <a:gd name="T33" fmla="*/ 1007 h 1716"/>
                  <a:gd name="T34" fmla="*/ 1704 w 2155"/>
                  <a:gd name="T35" fmla="*/ 1182 h 1716"/>
                  <a:gd name="T36" fmla="*/ 1692 w 2155"/>
                  <a:gd name="T37" fmla="*/ 1006 h 1716"/>
                  <a:gd name="T38" fmla="*/ 1448 w 2155"/>
                  <a:gd name="T39" fmla="*/ 1018 h 1716"/>
                  <a:gd name="T40" fmla="*/ 1282 w 2155"/>
                  <a:gd name="T41" fmla="*/ 860 h 1716"/>
                  <a:gd name="T42" fmla="*/ 1409 w 2155"/>
                  <a:gd name="T43" fmla="*/ 818 h 1716"/>
                  <a:gd name="T44" fmla="*/ 1444 w 2155"/>
                  <a:gd name="T45" fmla="*/ 808 h 1716"/>
                  <a:gd name="T46" fmla="*/ 1470 w 2155"/>
                  <a:gd name="T47" fmla="*/ 785 h 1716"/>
                  <a:gd name="T48" fmla="*/ 1483 w 2155"/>
                  <a:gd name="T49" fmla="*/ 751 h 1716"/>
                  <a:gd name="T50" fmla="*/ 1479 w 2155"/>
                  <a:gd name="T51" fmla="*/ 52 h 1716"/>
                  <a:gd name="T52" fmla="*/ 1462 w 2155"/>
                  <a:gd name="T53" fmla="*/ 21 h 1716"/>
                  <a:gd name="T54" fmla="*/ 1431 w 2155"/>
                  <a:gd name="T55" fmla="*/ 4 h 1716"/>
                  <a:gd name="T56" fmla="*/ 737 w 2155"/>
                  <a:gd name="T57" fmla="*/ 0 h 1716"/>
                  <a:gd name="T58" fmla="*/ 703 w 2155"/>
                  <a:gd name="T59" fmla="*/ 13 h 1716"/>
                  <a:gd name="T60" fmla="*/ 678 w 2155"/>
                  <a:gd name="T61" fmla="*/ 39 h 1716"/>
                  <a:gd name="T62" fmla="*/ 670 w 2155"/>
                  <a:gd name="T63" fmla="*/ 74 h 1716"/>
                  <a:gd name="T64" fmla="*/ 676 w 2155"/>
                  <a:gd name="T65" fmla="*/ 772 h 1716"/>
                  <a:gd name="T66" fmla="*/ 697 w 2155"/>
                  <a:gd name="T67" fmla="*/ 800 h 1716"/>
                  <a:gd name="T68" fmla="*/ 729 w 2155"/>
                  <a:gd name="T69" fmla="*/ 816 h 1716"/>
                  <a:gd name="T70" fmla="*/ 879 w 2155"/>
                  <a:gd name="T71" fmla="*/ 856 h 1716"/>
                  <a:gd name="T72" fmla="*/ 867 w 2155"/>
                  <a:gd name="T73" fmla="*/ 1182 h 1716"/>
                  <a:gd name="T74" fmla="*/ 698 w 2155"/>
                  <a:gd name="T75" fmla="*/ 1007 h 1716"/>
                  <a:gd name="T76" fmla="*/ 451 w 2155"/>
                  <a:gd name="T77" fmla="*/ 1014 h 1716"/>
                  <a:gd name="T78" fmla="*/ 117 w 2155"/>
                  <a:gd name="T79" fmla="*/ 1014 h 1716"/>
                  <a:gd name="T80" fmla="*/ 7 w 2155"/>
                  <a:gd name="T81" fmla="*/ 1007 h 1716"/>
                  <a:gd name="T82" fmla="*/ 1 w 2155"/>
                  <a:gd name="T83" fmla="*/ 1709 h 1716"/>
                  <a:gd name="T84" fmla="*/ 111 w 2155"/>
                  <a:gd name="T85" fmla="*/ 1716 h 1716"/>
                  <a:gd name="T86" fmla="*/ 449 w 2155"/>
                  <a:gd name="T87" fmla="*/ 1541 h 1716"/>
                  <a:gd name="T88" fmla="*/ 461 w 2155"/>
                  <a:gd name="T89" fmla="*/ 1716 h 1716"/>
                  <a:gd name="T90" fmla="*/ 705 w 2155"/>
                  <a:gd name="T91" fmla="*/ 1704 h 1716"/>
                  <a:gd name="T92" fmla="*/ 1451 w 2155"/>
                  <a:gd name="T93" fmla="*/ 1713 h 1716"/>
                  <a:gd name="T94" fmla="*/ 1700 w 2155"/>
                  <a:gd name="T95" fmla="*/ 1713 h 1716"/>
                  <a:gd name="T96" fmla="*/ 2036 w 2155"/>
                  <a:gd name="T97" fmla="*/ 1704 h 1716"/>
                  <a:gd name="T98" fmla="*/ 2143 w 2155"/>
                  <a:gd name="T99" fmla="*/ 1716 h 1716"/>
                  <a:gd name="T100" fmla="*/ 2155 w 2155"/>
                  <a:gd name="T101" fmla="*/ 1018 h 1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55" h="1716">
                    <a:moveTo>
                      <a:pt x="2131" y="1693"/>
                    </a:moveTo>
                    <a:lnTo>
                      <a:pt x="2061" y="1693"/>
                    </a:lnTo>
                    <a:lnTo>
                      <a:pt x="2061" y="1030"/>
                    </a:lnTo>
                    <a:lnTo>
                      <a:pt x="2131" y="1030"/>
                    </a:lnTo>
                    <a:lnTo>
                      <a:pt x="2131" y="1693"/>
                    </a:lnTo>
                    <a:close/>
                    <a:moveTo>
                      <a:pt x="1704" y="1516"/>
                    </a:moveTo>
                    <a:lnTo>
                      <a:pt x="1704" y="1206"/>
                    </a:lnTo>
                    <a:lnTo>
                      <a:pt x="2036" y="1206"/>
                    </a:lnTo>
                    <a:lnTo>
                      <a:pt x="2036" y="1516"/>
                    </a:lnTo>
                    <a:lnTo>
                      <a:pt x="1704" y="1516"/>
                    </a:lnTo>
                    <a:close/>
                    <a:moveTo>
                      <a:pt x="1679" y="1693"/>
                    </a:moveTo>
                    <a:lnTo>
                      <a:pt x="1471" y="1693"/>
                    </a:lnTo>
                    <a:lnTo>
                      <a:pt x="1471" y="1030"/>
                    </a:lnTo>
                    <a:lnTo>
                      <a:pt x="1679" y="1030"/>
                    </a:lnTo>
                    <a:lnTo>
                      <a:pt x="1679" y="1693"/>
                    </a:lnTo>
                    <a:close/>
                    <a:moveTo>
                      <a:pt x="705" y="1516"/>
                    </a:moveTo>
                    <a:lnTo>
                      <a:pt x="705" y="1206"/>
                    </a:lnTo>
                    <a:lnTo>
                      <a:pt x="1448" y="1206"/>
                    </a:lnTo>
                    <a:lnTo>
                      <a:pt x="1448" y="1516"/>
                    </a:lnTo>
                    <a:lnTo>
                      <a:pt x="705" y="1516"/>
                    </a:lnTo>
                    <a:close/>
                    <a:moveTo>
                      <a:pt x="682" y="1693"/>
                    </a:moveTo>
                    <a:lnTo>
                      <a:pt x="473" y="1693"/>
                    </a:lnTo>
                    <a:lnTo>
                      <a:pt x="473" y="1030"/>
                    </a:lnTo>
                    <a:lnTo>
                      <a:pt x="682" y="1030"/>
                    </a:lnTo>
                    <a:lnTo>
                      <a:pt x="682" y="1693"/>
                    </a:lnTo>
                    <a:close/>
                    <a:moveTo>
                      <a:pt x="118" y="1516"/>
                    </a:moveTo>
                    <a:lnTo>
                      <a:pt x="118" y="1206"/>
                    </a:lnTo>
                    <a:lnTo>
                      <a:pt x="449" y="1206"/>
                    </a:lnTo>
                    <a:lnTo>
                      <a:pt x="449" y="1516"/>
                    </a:lnTo>
                    <a:lnTo>
                      <a:pt x="118" y="1516"/>
                    </a:lnTo>
                    <a:close/>
                    <a:moveTo>
                      <a:pt x="93" y="1693"/>
                    </a:moveTo>
                    <a:lnTo>
                      <a:pt x="24" y="1693"/>
                    </a:lnTo>
                    <a:lnTo>
                      <a:pt x="24" y="1030"/>
                    </a:lnTo>
                    <a:lnTo>
                      <a:pt x="93" y="1030"/>
                    </a:lnTo>
                    <a:lnTo>
                      <a:pt x="93" y="1693"/>
                    </a:lnTo>
                    <a:close/>
                    <a:moveTo>
                      <a:pt x="891" y="881"/>
                    </a:moveTo>
                    <a:lnTo>
                      <a:pt x="1261" y="881"/>
                    </a:lnTo>
                    <a:lnTo>
                      <a:pt x="1261" y="1182"/>
                    </a:lnTo>
                    <a:lnTo>
                      <a:pt x="891" y="1182"/>
                    </a:lnTo>
                    <a:lnTo>
                      <a:pt x="891" y="881"/>
                    </a:lnTo>
                    <a:close/>
                    <a:moveTo>
                      <a:pt x="985" y="818"/>
                    </a:moveTo>
                    <a:lnTo>
                      <a:pt x="1167" y="818"/>
                    </a:lnTo>
                    <a:lnTo>
                      <a:pt x="1167" y="856"/>
                    </a:lnTo>
                    <a:lnTo>
                      <a:pt x="985" y="856"/>
                    </a:lnTo>
                    <a:lnTo>
                      <a:pt x="985" y="818"/>
                    </a:lnTo>
                    <a:close/>
                    <a:moveTo>
                      <a:pt x="694" y="744"/>
                    </a:moveTo>
                    <a:lnTo>
                      <a:pt x="694" y="74"/>
                    </a:lnTo>
                    <a:lnTo>
                      <a:pt x="695" y="64"/>
                    </a:lnTo>
                    <a:lnTo>
                      <a:pt x="698" y="54"/>
                    </a:lnTo>
                    <a:lnTo>
                      <a:pt x="703" y="46"/>
                    </a:lnTo>
                    <a:lnTo>
                      <a:pt x="709" y="39"/>
                    </a:lnTo>
                    <a:lnTo>
                      <a:pt x="716" y="32"/>
                    </a:lnTo>
                    <a:lnTo>
                      <a:pt x="724" y="28"/>
                    </a:lnTo>
                    <a:lnTo>
                      <a:pt x="734" y="25"/>
                    </a:lnTo>
                    <a:lnTo>
                      <a:pt x="744" y="24"/>
                    </a:lnTo>
                    <a:lnTo>
                      <a:pt x="1409" y="24"/>
                    </a:lnTo>
                    <a:lnTo>
                      <a:pt x="1418" y="25"/>
                    </a:lnTo>
                    <a:lnTo>
                      <a:pt x="1428" y="28"/>
                    </a:lnTo>
                    <a:lnTo>
                      <a:pt x="1437" y="32"/>
                    </a:lnTo>
                    <a:lnTo>
                      <a:pt x="1444" y="39"/>
                    </a:lnTo>
                    <a:lnTo>
                      <a:pt x="1450" y="46"/>
                    </a:lnTo>
                    <a:lnTo>
                      <a:pt x="1455" y="54"/>
                    </a:lnTo>
                    <a:lnTo>
                      <a:pt x="1458" y="64"/>
                    </a:lnTo>
                    <a:lnTo>
                      <a:pt x="1458" y="74"/>
                    </a:lnTo>
                    <a:lnTo>
                      <a:pt x="1458" y="744"/>
                    </a:lnTo>
                    <a:lnTo>
                      <a:pt x="1458" y="753"/>
                    </a:lnTo>
                    <a:lnTo>
                      <a:pt x="1455" y="762"/>
                    </a:lnTo>
                    <a:lnTo>
                      <a:pt x="1450" y="771"/>
                    </a:lnTo>
                    <a:lnTo>
                      <a:pt x="1444" y="779"/>
                    </a:lnTo>
                    <a:lnTo>
                      <a:pt x="1437" y="785"/>
                    </a:lnTo>
                    <a:lnTo>
                      <a:pt x="1428" y="789"/>
                    </a:lnTo>
                    <a:lnTo>
                      <a:pt x="1418" y="792"/>
                    </a:lnTo>
                    <a:lnTo>
                      <a:pt x="1409" y="793"/>
                    </a:lnTo>
                    <a:lnTo>
                      <a:pt x="744" y="793"/>
                    </a:lnTo>
                    <a:lnTo>
                      <a:pt x="734" y="792"/>
                    </a:lnTo>
                    <a:lnTo>
                      <a:pt x="724" y="789"/>
                    </a:lnTo>
                    <a:lnTo>
                      <a:pt x="716" y="785"/>
                    </a:lnTo>
                    <a:lnTo>
                      <a:pt x="709" y="779"/>
                    </a:lnTo>
                    <a:lnTo>
                      <a:pt x="703" y="771"/>
                    </a:lnTo>
                    <a:lnTo>
                      <a:pt x="698" y="762"/>
                    </a:lnTo>
                    <a:lnTo>
                      <a:pt x="695" y="753"/>
                    </a:lnTo>
                    <a:lnTo>
                      <a:pt x="694" y="744"/>
                    </a:lnTo>
                    <a:close/>
                    <a:moveTo>
                      <a:pt x="2143" y="1006"/>
                    </a:moveTo>
                    <a:lnTo>
                      <a:pt x="2049" y="1006"/>
                    </a:lnTo>
                    <a:lnTo>
                      <a:pt x="2044" y="1007"/>
                    </a:lnTo>
                    <a:lnTo>
                      <a:pt x="2041" y="1009"/>
                    </a:lnTo>
                    <a:lnTo>
                      <a:pt x="2037" y="1014"/>
                    </a:lnTo>
                    <a:lnTo>
                      <a:pt x="2036" y="1018"/>
                    </a:lnTo>
                    <a:lnTo>
                      <a:pt x="2036" y="1182"/>
                    </a:lnTo>
                    <a:lnTo>
                      <a:pt x="1704" y="1182"/>
                    </a:lnTo>
                    <a:lnTo>
                      <a:pt x="1704" y="1018"/>
                    </a:lnTo>
                    <a:lnTo>
                      <a:pt x="1703" y="1014"/>
                    </a:lnTo>
                    <a:lnTo>
                      <a:pt x="1700" y="1009"/>
                    </a:lnTo>
                    <a:lnTo>
                      <a:pt x="1697" y="1007"/>
                    </a:lnTo>
                    <a:lnTo>
                      <a:pt x="1692" y="1006"/>
                    </a:lnTo>
                    <a:lnTo>
                      <a:pt x="1459" y="1006"/>
                    </a:lnTo>
                    <a:lnTo>
                      <a:pt x="1455" y="1007"/>
                    </a:lnTo>
                    <a:lnTo>
                      <a:pt x="1451" y="1009"/>
                    </a:lnTo>
                    <a:lnTo>
                      <a:pt x="1449" y="1014"/>
                    </a:lnTo>
                    <a:lnTo>
                      <a:pt x="1448" y="1018"/>
                    </a:lnTo>
                    <a:lnTo>
                      <a:pt x="1448" y="1182"/>
                    </a:lnTo>
                    <a:lnTo>
                      <a:pt x="1286" y="1182"/>
                    </a:lnTo>
                    <a:lnTo>
                      <a:pt x="1286" y="869"/>
                    </a:lnTo>
                    <a:lnTo>
                      <a:pt x="1284" y="865"/>
                    </a:lnTo>
                    <a:lnTo>
                      <a:pt x="1282" y="860"/>
                    </a:lnTo>
                    <a:lnTo>
                      <a:pt x="1279" y="858"/>
                    </a:lnTo>
                    <a:lnTo>
                      <a:pt x="1273" y="856"/>
                    </a:lnTo>
                    <a:lnTo>
                      <a:pt x="1192" y="856"/>
                    </a:lnTo>
                    <a:lnTo>
                      <a:pt x="1192" y="818"/>
                    </a:lnTo>
                    <a:lnTo>
                      <a:pt x="1409" y="818"/>
                    </a:lnTo>
                    <a:lnTo>
                      <a:pt x="1416" y="816"/>
                    </a:lnTo>
                    <a:lnTo>
                      <a:pt x="1424" y="816"/>
                    </a:lnTo>
                    <a:lnTo>
                      <a:pt x="1431" y="814"/>
                    </a:lnTo>
                    <a:lnTo>
                      <a:pt x="1437" y="812"/>
                    </a:lnTo>
                    <a:lnTo>
                      <a:pt x="1444" y="808"/>
                    </a:lnTo>
                    <a:lnTo>
                      <a:pt x="1450" y="805"/>
                    </a:lnTo>
                    <a:lnTo>
                      <a:pt x="1456" y="800"/>
                    </a:lnTo>
                    <a:lnTo>
                      <a:pt x="1462" y="795"/>
                    </a:lnTo>
                    <a:lnTo>
                      <a:pt x="1466" y="791"/>
                    </a:lnTo>
                    <a:lnTo>
                      <a:pt x="1470" y="785"/>
                    </a:lnTo>
                    <a:lnTo>
                      <a:pt x="1474" y="779"/>
                    </a:lnTo>
                    <a:lnTo>
                      <a:pt x="1477" y="772"/>
                    </a:lnTo>
                    <a:lnTo>
                      <a:pt x="1479" y="765"/>
                    </a:lnTo>
                    <a:lnTo>
                      <a:pt x="1482" y="758"/>
                    </a:lnTo>
                    <a:lnTo>
                      <a:pt x="1483" y="751"/>
                    </a:lnTo>
                    <a:lnTo>
                      <a:pt x="1483" y="744"/>
                    </a:lnTo>
                    <a:lnTo>
                      <a:pt x="1483" y="74"/>
                    </a:lnTo>
                    <a:lnTo>
                      <a:pt x="1483" y="66"/>
                    </a:lnTo>
                    <a:lnTo>
                      <a:pt x="1482" y="59"/>
                    </a:lnTo>
                    <a:lnTo>
                      <a:pt x="1479" y="52"/>
                    </a:lnTo>
                    <a:lnTo>
                      <a:pt x="1477" y="45"/>
                    </a:lnTo>
                    <a:lnTo>
                      <a:pt x="1474" y="39"/>
                    </a:lnTo>
                    <a:lnTo>
                      <a:pt x="1470" y="33"/>
                    </a:lnTo>
                    <a:lnTo>
                      <a:pt x="1466" y="27"/>
                    </a:lnTo>
                    <a:lnTo>
                      <a:pt x="1462" y="21"/>
                    </a:lnTo>
                    <a:lnTo>
                      <a:pt x="1456" y="17"/>
                    </a:lnTo>
                    <a:lnTo>
                      <a:pt x="1450" y="13"/>
                    </a:lnTo>
                    <a:lnTo>
                      <a:pt x="1444" y="8"/>
                    </a:lnTo>
                    <a:lnTo>
                      <a:pt x="1437" y="6"/>
                    </a:lnTo>
                    <a:lnTo>
                      <a:pt x="1431" y="4"/>
                    </a:lnTo>
                    <a:lnTo>
                      <a:pt x="1424" y="1"/>
                    </a:lnTo>
                    <a:lnTo>
                      <a:pt x="1416" y="0"/>
                    </a:lnTo>
                    <a:lnTo>
                      <a:pt x="1409" y="0"/>
                    </a:lnTo>
                    <a:lnTo>
                      <a:pt x="744" y="0"/>
                    </a:lnTo>
                    <a:lnTo>
                      <a:pt x="737" y="0"/>
                    </a:lnTo>
                    <a:lnTo>
                      <a:pt x="729" y="1"/>
                    </a:lnTo>
                    <a:lnTo>
                      <a:pt x="722" y="4"/>
                    </a:lnTo>
                    <a:lnTo>
                      <a:pt x="715" y="6"/>
                    </a:lnTo>
                    <a:lnTo>
                      <a:pt x="709" y="8"/>
                    </a:lnTo>
                    <a:lnTo>
                      <a:pt x="703" y="13"/>
                    </a:lnTo>
                    <a:lnTo>
                      <a:pt x="697" y="17"/>
                    </a:lnTo>
                    <a:lnTo>
                      <a:pt x="691" y="21"/>
                    </a:lnTo>
                    <a:lnTo>
                      <a:pt x="687" y="27"/>
                    </a:lnTo>
                    <a:lnTo>
                      <a:pt x="683" y="33"/>
                    </a:lnTo>
                    <a:lnTo>
                      <a:pt x="678" y="39"/>
                    </a:lnTo>
                    <a:lnTo>
                      <a:pt x="676" y="45"/>
                    </a:lnTo>
                    <a:lnTo>
                      <a:pt x="674" y="52"/>
                    </a:lnTo>
                    <a:lnTo>
                      <a:pt x="671" y="59"/>
                    </a:lnTo>
                    <a:lnTo>
                      <a:pt x="670" y="66"/>
                    </a:lnTo>
                    <a:lnTo>
                      <a:pt x="670" y="74"/>
                    </a:lnTo>
                    <a:lnTo>
                      <a:pt x="670" y="744"/>
                    </a:lnTo>
                    <a:lnTo>
                      <a:pt x="670" y="751"/>
                    </a:lnTo>
                    <a:lnTo>
                      <a:pt x="671" y="758"/>
                    </a:lnTo>
                    <a:lnTo>
                      <a:pt x="674" y="765"/>
                    </a:lnTo>
                    <a:lnTo>
                      <a:pt x="676" y="772"/>
                    </a:lnTo>
                    <a:lnTo>
                      <a:pt x="678" y="779"/>
                    </a:lnTo>
                    <a:lnTo>
                      <a:pt x="683" y="785"/>
                    </a:lnTo>
                    <a:lnTo>
                      <a:pt x="687" y="791"/>
                    </a:lnTo>
                    <a:lnTo>
                      <a:pt x="691" y="795"/>
                    </a:lnTo>
                    <a:lnTo>
                      <a:pt x="697" y="800"/>
                    </a:lnTo>
                    <a:lnTo>
                      <a:pt x="703" y="805"/>
                    </a:lnTo>
                    <a:lnTo>
                      <a:pt x="709" y="808"/>
                    </a:lnTo>
                    <a:lnTo>
                      <a:pt x="715" y="812"/>
                    </a:lnTo>
                    <a:lnTo>
                      <a:pt x="722" y="814"/>
                    </a:lnTo>
                    <a:lnTo>
                      <a:pt x="729" y="816"/>
                    </a:lnTo>
                    <a:lnTo>
                      <a:pt x="737" y="816"/>
                    </a:lnTo>
                    <a:lnTo>
                      <a:pt x="744" y="818"/>
                    </a:lnTo>
                    <a:lnTo>
                      <a:pt x="961" y="818"/>
                    </a:lnTo>
                    <a:lnTo>
                      <a:pt x="961" y="856"/>
                    </a:lnTo>
                    <a:lnTo>
                      <a:pt x="879" y="856"/>
                    </a:lnTo>
                    <a:lnTo>
                      <a:pt x="875" y="858"/>
                    </a:lnTo>
                    <a:lnTo>
                      <a:pt x="871" y="860"/>
                    </a:lnTo>
                    <a:lnTo>
                      <a:pt x="869" y="865"/>
                    </a:lnTo>
                    <a:lnTo>
                      <a:pt x="867" y="869"/>
                    </a:lnTo>
                    <a:lnTo>
                      <a:pt x="867" y="1182"/>
                    </a:lnTo>
                    <a:lnTo>
                      <a:pt x="705" y="1182"/>
                    </a:lnTo>
                    <a:lnTo>
                      <a:pt x="705" y="1018"/>
                    </a:lnTo>
                    <a:lnTo>
                      <a:pt x="704" y="1014"/>
                    </a:lnTo>
                    <a:lnTo>
                      <a:pt x="702" y="1009"/>
                    </a:lnTo>
                    <a:lnTo>
                      <a:pt x="698" y="1007"/>
                    </a:lnTo>
                    <a:lnTo>
                      <a:pt x="694" y="1006"/>
                    </a:lnTo>
                    <a:lnTo>
                      <a:pt x="461" y="1006"/>
                    </a:lnTo>
                    <a:lnTo>
                      <a:pt x="456" y="1007"/>
                    </a:lnTo>
                    <a:lnTo>
                      <a:pt x="453" y="1009"/>
                    </a:lnTo>
                    <a:lnTo>
                      <a:pt x="451" y="1014"/>
                    </a:lnTo>
                    <a:lnTo>
                      <a:pt x="449" y="1018"/>
                    </a:lnTo>
                    <a:lnTo>
                      <a:pt x="449" y="1182"/>
                    </a:lnTo>
                    <a:lnTo>
                      <a:pt x="118" y="1182"/>
                    </a:lnTo>
                    <a:lnTo>
                      <a:pt x="118" y="1018"/>
                    </a:lnTo>
                    <a:lnTo>
                      <a:pt x="117" y="1014"/>
                    </a:lnTo>
                    <a:lnTo>
                      <a:pt x="115" y="1009"/>
                    </a:lnTo>
                    <a:lnTo>
                      <a:pt x="111" y="1007"/>
                    </a:lnTo>
                    <a:lnTo>
                      <a:pt x="105" y="1006"/>
                    </a:lnTo>
                    <a:lnTo>
                      <a:pt x="11" y="1006"/>
                    </a:lnTo>
                    <a:lnTo>
                      <a:pt x="7" y="1007"/>
                    </a:lnTo>
                    <a:lnTo>
                      <a:pt x="3" y="1009"/>
                    </a:lnTo>
                    <a:lnTo>
                      <a:pt x="1" y="1014"/>
                    </a:lnTo>
                    <a:lnTo>
                      <a:pt x="0" y="1018"/>
                    </a:lnTo>
                    <a:lnTo>
                      <a:pt x="0" y="1704"/>
                    </a:lnTo>
                    <a:lnTo>
                      <a:pt x="1" y="1709"/>
                    </a:lnTo>
                    <a:lnTo>
                      <a:pt x="3" y="1713"/>
                    </a:lnTo>
                    <a:lnTo>
                      <a:pt x="7" y="1716"/>
                    </a:lnTo>
                    <a:lnTo>
                      <a:pt x="11" y="1716"/>
                    </a:lnTo>
                    <a:lnTo>
                      <a:pt x="105" y="1716"/>
                    </a:lnTo>
                    <a:lnTo>
                      <a:pt x="111" y="1716"/>
                    </a:lnTo>
                    <a:lnTo>
                      <a:pt x="115" y="1713"/>
                    </a:lnTo>
                    <a:lnTo>
                      <a:pt x="117" y="1709"/>
                    </a:lnTo>
                    <a:lnTo>
                      <a:pt x="118" y="1704"/>
                    </a:lnTo>
                    <a:lnTo>
                      <a:pt x="118" y="1541"/>
                    </a:lnTo>
                    <a:lnTo>
                      <a:pt x="449" y="1541"/>
                    </a:lnTo>
                    <a:lnTo>
                      <a:pt x="449" y="1704"/>
                    </a:lnTo>
                    <a:lnTo>
                      <a:pt x="451" y="1709"/>
                    </a:lnTo>
                    <a:lnTo>
                      <a:pt x="453" y="1713"/>
                    </a:lnTo>
                    <a:lnTo>
                      <a:pt x="456" y="1716"/>
                    </a:lnTo>
                    <a:lnTo>
                      <a:pt x="461" y="1716"/>
                    </a:lnTo>
                    <a:lnTo>
                      <a:pt x="694" y="1716"/>
                    </a:lnTo>
                    <a:lnTo>
                      <a:pt x="698" y="1716"/>
                    </a:lnTo>
                    <a:lnTo>
                      <a:pt x="702" y="1713"/>
                    </a:lnTo>
                    <a:lnTo>
                      <a:pt x="704" y="1709"/>
                    </a:lnTo>
                    <a:lnTo>
                      <a:pt x="705" y="1704"/>
                    </a:lnTo>
                    <a:lnTo>
                      <a:pt x="705" y="1541"/>
                    </a:lnTo>
                    <a:lnTo>
                      <a:pt x="1448" y="1541"/>
                    </a:lnTo>
                    <a:lnTo>
                      <a:pt x="1448" y="1704"/>
                    </a:lnTo>
                    <a:lnTo>
                      <a:pt x="1449" y="1709"/>
                    </a:lnTo>
                    <a:lnTo>
                      <a:pt x="1451" y="1713"/>
                    </a:lnTo>
                    <a:lnTo>
                      <a:pt x="1455" y="1716"/>
                    </a:lnTo>
                    <a:lnTo>
                      <a:pt x="1459" y="1716"/>
                    </a:lnTo>
                    <a:lnTo>
                      <a:pt x="1692" y="1716"/>
                    </a:lnTo>
                    <a:lnTo>
                      <a:pt x="1697" y="1716"/>
                    </a:lnTo>
                    <a:lnTo>
                      <a:pt x="1700" y="1713"/>
                    </a:lnTo>
                    <a:lnTo>
                      <a:pt x="1703" y="1709"/>
                    </a:lnTo>
                    <a:lnTo>
                      <a:pt x="1704" y="1704"/>
                    </a:lnTo>
                    <a:lnTo>
                      <a:pt x="1704" y="1541"/>
                    </a:lnTo>
                    <a:lnTo>
                      <a:pt x="2036" y="1541"/>
                    </a:lnTo>
                    <a:lnTo>
                      <a:pt x="2036" y="1704"/>
                    </a:lnTo>
                    <a:lnTo>
                      <a:pt x="2037" y="1709"/>
                    </a:lnTo>
                    <a:lnTo>
                      <a:pt x="2041" y="1713"/>
                    </a:lnTo>
                    <a:lnTo>
                      <a:pt x="2044" y="1716"/>
                    </a:lnTo>
                    <a:lnTo>
                      <a:pt x="2049" y="1716"/>
                    </a:lnTo>
                    <a:lnTo>
                      <a:pt x="2143" y="1716"/>
                    </a:lnTo>
                    <a:lnTo>
                      <a:pt x="2148" y="1716"/>
                    </a:lnTo>
                    <a:lnTo>
                      <a:pt x="2151" y="1713"/>
                    </a:lnTo>
                    <a:lnTo>
                      <a:pt x="2154" y="1709"/>
                    </a:lnTo>
                    <a:lnTo>
                      <a:pt x="2155" y="1704"/>
                    </a:lnTo>
                    <a:lnTo>
                      <a:pt x="2155" y="1018"/>
                    </a:lnTo>
                    <a:lnTo>
                      <a:pt x="2154" y="1014"/>
                    </a:lnTo>
                    <a:lnTo>
                      <a:pt x="2151" y="1009"/>
                    </a:lnTo>
                    <a:lnTo>
                      <a:pt x="2148" y="1007"/>
                    </a:lnTo>
                    <a:lnTo>
                      <a:pt x="2143" y="100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94" name="Freeform 242"/>
              <p:cNvSpPr>
                <a:spLocks noEditPoints="1"/>
              </p:cNvSpPr>
              <p:nvPr/>
            </p:nvSpPr>
            <p:spPr bwMode="auto">
              <a:xfrm>
                <a:off x="5938838" y="4643438"/>
                <a:ext cx="266700" cy="269875"/>
              </a:xfrm>
              <a:custGeom>
                <a:avLst/>
                <a:gdLst>
                  <a:gd name="T0" fmla="*/ 650 w 673"/>
                  <a:gd name="T1" fmla="*/ 655 h 678"/>
                  <a:gd name="T2" fmla="*/ 25 w 673"/>
                  <a:gd name="T3" fmla="*/ 655 h 678"/>
                  <a:gd name="T4" fmla="*/ 25 w 673"/>
                  <a:gd name="T5" fmla="*/ 25 h 678"/>
                  <a:gd name="T6" fmla="*/ 650 w 673"/>
                  <a:gd name="T7" fmla="*/ 25 h 678"/>
                  <a:gd name="T8" fmla="*/ 650 w 673"/>
                  <a:gd name="T9" fmla="*/ 655 h 678"/>
                  <a:gd name="T10" fmla="*/ 673 w 673"/>
                  <a:gd name="T11" fmla="*/ 666 h 678"/>
                  <a:gd name="T12" fmla="*/ 673 w 673"/>
                  <a:gd name="T13" fmla="*/ 13 h 678"/>
                  <a:gd name="T14" fmla="*/ 673 w 673"/>
                  <a:gd name="T15" fmla="*/ 9 h 678"/>
                  <a:gd name="T16" fmla="*/ 670 w 673"/>
                  <a:gd name="T17" fmla="*/ 4 h 678"/>
                  <a:gd name="T18" fmla="*/ 666 w 673"/>
                  <a:gd name="T19" fmla="*/ 2 h 678"/>
                  <a:gd name="T20" fmla="*/ 662 w 673"/>
                  <a:gd name="T21" fmla="*/ 0 h 678"/>
                  <a:gd name="T22" fmla="*/ 13 w 673"/>
                  <a:gd name="T23" fmla="*/ 0 h 678"/>
                  <a:gd name="T24" fmla="*/ 9 w 673"/>
                  <a:gd name="T25" fmla="*/ 2 h 678"/>
                  <a:gd name="T26" fmla="*/ 5 w 673"/>
                  <a:gd name="T27" fmla="*/ 4 h 678"/>
                  <a:gd name="T28" fmla="*/ 2 w 673"/>
                  <a:gd name="T29" fmla="*/ 9 h 678"/>
                  <a:gd name="T30" fmla="*/ 0 w 673"/>
                  <a:gd name="T31" fmla="*/ 13 h 678"/>
                  <a:gd name="T32" fmla="*/ 0 w 673"/>
                  <a:gd name="T33" fmla="*/ 666 h 678"/>
                  <a:gd name="T34" fmla="*/ 2 w 673"/>
                  <a:gd name="T35" fmla="*/ 671 h 678"/>
                  <a:gd name="T36" fmla="*/ 5 w 673"/>
                  <a:gd name="T37" fmla="*/ 675 h 678"/>
                  <a:gd name="T38" fmla="*/ 9 w 673"/>
                  <a:gd name="T39" fmla="*/ 677 h 678"/>
                  <a:gd name="T40" fmla="*/ 13 w 673"/>
                  <a:gd name="T41" fmla="*/ 678 h 678"/>
                  <a:gd name="T42" fmla="*/ 662 w 673"/>
                  <a:gd name="T43" fmla="*/ 678 h 678"/>
                  <a:gd name="T44" fmla="*/ 666 w 673"/>
                  <a:gd name="T45" fmla="*/ 677 h 678"/>
                  <a:gd name="T46" fmla="*/ 670 w 673"/>
                  <a:gd name="T47" fmla="*/ 675 h 678"/>
                  <a:gd name="T48" fmla="*/ 673 w 673"/>
                  <a:gd name="T49" fmla="*/ 671 h 678"/>
                  <a:gd name="T50" fmla="*/ 673 w 673"/>
                  <a:gd name="T51" fmla="*/ 666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73" h="678">
                    <a:moveTo>
                      <a:pt x="650" y="655"/>
                    </a:moveTo>
                    <a:lnTo>
                      <a:pt x="25" y="655"/>
                    </a:lnTo>
                    <a:lnTo>
                      <a:pt x="25" y="25"/>
                    </a:lnTo>
                    <a:lnTo>
                      <a:pt x="650" y="25"/>
                    </a:lnTo>
                    <a:lnTo>
                      <a:pt x="650" y="655"/>
                    </a:lnTo>
                    <a:close/>
                    <a:moveTo>
                      <a:pt x="673" y="666"/>
                    </a:moveTo>
                    <a:lnTo>
                      <a:pt x="673" y="13"/>
                    </a:lnTo>
                    <a:lnTo>
                      <a:pt x="673" y="9"/>
                    </a:lnTo>
                    <a:lnTo>
                      <a:pt x="670" y="4"/>
                    </a:lnTo>
                    <a:lnTo>
                      <a:pt x="666" y="2"/>
                    </a:lnTo>
                    <a:lnTo>
                      <a:pt x="662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666"/>
                    </a:lnTo>
                    <a:lnTo>
                      <a:pt x="2" y="671"/>
                    </a:lnTo>
                    <a:lnTo>
                      <a:pt x="5" y="675"/>
                    </a:lnTo>
                    <a:lnTo>
                      <a:pt x="9" y="677"/>
                    </a:lnTo>
                    <a:lnTo>
                      <a:pt x="13" y="678"/>
                    </a:lnTo>
                    <a:lnTo>
                      <a:pt x="662" y="678"/>
                    </a:lnTo>
                    <a:lnTo>
                      <a:pt x="666" y="677"/>
                    </a:lnTo>
                    <a:lnTo>
                      <a:pt x="670" y="675"/>
                    </a:lnTo>
                    <a:lnTo>
                      <a:pt x="673" y="671"/>
                    </a:lnTo>
                    <a:lnTo>
                      <a:pt x="673" y="66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95" name="Rectangle 243"/>
              <p:cNvSpPr>
                <a:spLocks noChangeArrowheads="1"/>
              </p:cNvSpPr>
              <p:nvPr/>
            </p:nvSpPr>
            <p:spPr bwMode="auto">
              <a:xfrm>
                <a:off x="5973763" y="4678363"/>
                <a:ext cx="195263" cy="825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396" name="Freeform 244"/>
              <p:cNvSpPr>
                <a:spLocks noEditPoints="1"/>
              </p:cNvSpPr>
              <p:nvPr/>
            </p:nvSpPr>
            <p:spPr bwMode="auto">
              <a:xfrm>
                <a:off x="5969001" y="4673601"/>
                <a:ext cx="204788" cy="92075"/>
              </a:xfrm>
              <a:custGeom>
                <a:avLst/>
                <a:gdLst>
                  <a:gd name="T0" fmla="*/ 492 w 516"/>
                  <a:gd name="T1" fmla="*/ 210 h 233"/>
                  <a:gd name="T2" fmla="*/ 25 w 516"/>
                  <a:gd name="T3" fmla="*/ 210 h 233"/>
                  <a:gd name="T4" fmla="*/ 25 w 516"/>
                  <a:gd name="T5" fmla="*/ 23 h 233"/>
                  <a:gd name="T6" fmla="*/ 492 w 516"/>
                  <a:gd name="T7" fmla="*/ 23 h 233"/>
                  <a:gd name="T8" fmla="*/ 492 w 516"/>
                  <a:gd name="T9" fmla="*/ 210 h 233"/>
                  <a:gd name="T10" fmla="*/ 504 w 516"/>
                  <a:gd name="T11" fmla="*/ 0 h 233"/>
                  <a:gd name="T12" fmla="*/ 13 w 516"/>
                  <a:gd name="T13" fmla="*/ 0 h 233"/>
                  <a:gd name="T14" fmla="*/ 8 w 516"/>
                  <a:gd name="T15" fmla="*/ 0 h 233"/>
                  <a:gd name="T16" fmla="*/ 4 w 516"/>
                  <a:gd name="T17" fmla="*/ 3 h 233"/>
                  <a:gd name="T18" fmla="*/ 1 w 516"/>
                  <a:gd name="T19" fmla="*/ 7 h 233"/>
                  <a:gd name="T20" fmla="*/ 0 w 516"/>
                  <a:gd name="T21" fmla="*/ 11 h 233"/>
                  <a:gd name="T22" fmla="*/ 0 w 516"/>
                  <a:gd name="T23" fmla="*/ 222 h 233"/>
                  <a:gd name="T24" fmla="*/ 1 w 516"/>
                  <a:gd name="T25" fmla="*/ 226 h 233"/>
                  <a:gd name="T26" fmla="*/ 4 w 516"/>
                  <a:gd name="T27" fmla="*/ 230 h 233"/>
                  <a:gd name="T28" fmla="*/ 8 w 516"/>
                  <a:gd name="T29" fmla="*/ 233 h 233"/>
                  <a:gd name="T30" fmla="*/ 13 w 516"/>
                  <a:gd name="T31" fmla="*/ 233 h 233"/>
                  <a:gd name="T32" fmla="*/ 504 w 516"/>
                  <a:gd name="T33" fmla="*/ 233 h 233"/>
                  <a:gd name="T34" fmla="*/ 509 w 516"/>
                  <a:gd name="T35" fmla="*/ 233 h 233"/>
                  <a:gd name="T36" fmla="*/ 512 w 516"/>
                  <a:gd name="T37" fmla="*/ 230 h 233"/>
                  <a:gd name="T38" fmla="*/ 516 w 516"/>
                  <a:gd name="T39" fmla="*/ 226 h 233"/>
                  <a:gd name="T40" fmla="*/ 516 w 516"/>
                  <a:gd name="T41" fmla="*/ 222 h 233"/>
                  <a:gd name="T42" fmla="*/ 516 w 516"/>
                  <a:gd name="T43" fmla="*/ 11 h 233"/>
                  <a:gd name="T44" fmla="*/ 516 w 516"/>
                  <a:gd name="T45" fmla="*/ 7 h 233"/>
                  <a:gd name="T46" fmla="*/ 512 w 516"/>
                  <a:gd name="T47" fmla="*/ 3 h 233"/>
                  <a:gd name="T48" fmla="*/ 509 w 516"/>
                  <a:gd name="T49" fmla="*/ 0 h 233"/>
                  <a:gd name="T50" fmla="*/ 504 w 516"/>
                  <a:gd name="T51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6" h="233">
                    <a:moveTo>
                      <a:pt x="492" y="210"/>
                    </a:moveTo>
                    <a:lnTo>
                      <a:pt x="25" y="210"/>
                    </a:lnTo>
                    <a:lnTo>
                      <a:pt x="25" y="23"/>
                    </a:lnTo>
                    <a:lnTo>
                      <a:pt x="492" y="23"/>
                    </a:lnTo>
                    <a:lnTo>
                      <a:pt x="492" y="210"/>
                    </a:lnTo>
                    <a:close/>
                    <a:moveTo>
                      <a:pt x="504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8" y="233"/>
                    </a:lnTo>
                    <a:lnTo>
                      <a:pt x="13" y="233"/>
                    </a:lnTo>
                    <a:lnTo>
                      <a:pt x="504" y="233"/>
                    </a:lnTo>
                    <a:lnTo>
                      <a:pt x="509" y="233"/>
                    </a:lnTo>
                    <a:lnTo>
                      <a:pt x="512" y="230"/>
                    </a:lnTo>
                    <a:lnTo>
                      <a:pt x="516" y="226"/>
                    </a:lnTo>
                    <a:lnTo>
                      <a:pt x="516" y="222"/>
                    </a:lnTo>
                    <a:lnTo>
                      <a:pt x="516" y="11"/>
                    </a:lnTo>
                    <a:lnTo>
                      <a:pt x="516" y="7"/>
                    </a:lnTo>
                    <a:lnTo>
                      <a:pt x="512" y="3"/>
                    </a:lnTo>
                    <a:lnTo>
                      <a:pt x="509" y="0"/>
                    </a:ln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</p:grpSp>
        <p:sp>
          <p:nvSpPr>
            <p:cNvPr id="374" name="Равнобедренный треугольник 373"/>
            <p:cNvSpPr/>
            <p:nvPr/>
          </p:nvSpPr>
          <p:spPr>
            <a:xfrm flipV="1">
              <a:off x="2305381" y="4281438"/>
              <a:ext cx="57121" cy="85919"/>
            </a:xfrm>
            <a:prstGeom prst="triangle">
              <a:avLst/>
            </a:prstGeom>
            <a:solidFill>
              <a:schemeClr val="tx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375" name="TextBox 374"/>
            <p:cNvSpPr txBox="1"/>
            <p:nvPr/>
          </p:nvSpPr>
          <p:spPr>
            <a:xfrm>
              <a:off x="1802746" y="4068719"/>
              <a:ext cx="294766" cy="16586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450"/>
                </a:spcBef>
              </a:pPr>
              <a:r>
                <a:rPr lang="ru-RU" sz="788" dirty="0"/>
                <a:t>ЖДЦ</a:t>
              </a:r>
            </a:p>
          </p:txBody>
        </p:sp>
      </p:grpSp>
      <p:grpSp>
        <p:nvGrpSpPr>
          <p:cNvPr id="397" name="Группа 396"/>
          <p:cNvGrpSpPr/>
          <p:nvPr/>
        </p:nvGrpSpPr>
        <p:grpSpPr>
          <a:xfrm>
            <a:off x="2693969" y="3556870"/>
            <a:ext cx="1161296" cy="639753"/>
            <a:chOff x="2680085" y="3723878"/>
            <a:chExt cx="1161296" cy="639753"/>
          </a:xfrm>
        </p:grpSpPr>
        <p:pic>
          <p:nvPicPr>
            <p:cNvPr id="398" name="Picture 6" descr="\\gazprom-neft.local\dfs\Газпром нефть\Папки пользователей\Личные папки\Driker.AA\Desktop\Инфографика\С заливкой\Переработка_и_сбыт\емкость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80085" y="3875664"/>
              <a:ext cx="668338" cy="4879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99" name="knot_z"/>
            <p:cNvGrpSpPr>
              <a:grpSpLocks noChangeAspect="1"/>
            </p:cNvGrpSpPr>
            <p:nvPr/>
          </p:nvGrpSpPr>
          <p:grpSpPr>
            <a:xfrm>
              <a:off x="2818836" y="3723878"/>
              <a:ext cx="98769" cy="127729"/>
              <a:chOff x="5915026" y="4621213"/>
              <a:chExt cx="312738" cy="468313"/>
            </a:xfrm>
          </p:grpSpPr>
          <p:sp>
            <p:nvSpPr>
              <p:cNvPr id="415" name="Rectangle 230"/>
              <p:cNvSpPr>
                <a:spLocks noChangeArrowheads="1"/>
              </p:cNvSpPr>
              <p:nvPr/>
            </p:nvSpPr>
            <p:spPr bwMode="auto">
              <a:xfrm>
                <a:off x="6030913" y="4935538"/>
                <a:ext cx="80963" cy="2540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16" name="Rectangle 238"/>
              <p:cNvSpPr>
                <a:spLocks noChangeArrowheads="1"/>
              </p:cNvSpPr>
              <p:nvPr/>
            </p:nvSpPr>
            <p:spPr bwMode="auto">
              <a:xfrm>
                <a:off x="5994401" y="4960938"/>
                <a:ext cx="155575" cy="128588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17" name="Rectangle 239"/>
              <p:cNvSpPr>
                <a:spLocks noChangeArrowheads="1"/>
              </p:cNvSpPr>
              <p:nvPr/>
            </p:nvSpPr>
            <p:spPr bwMode="auto">
              <a:xfrm>
                <a:off x="5943601" y="4648201"/>
                <a:ext cx="257175" cy="26035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18" name="Freeform 240"/>
              <p:cNvSpPr>
                <a:spLocks noEditPoints="1"/>
              </p:cNvSpPr>
              <p:nvPr/>
            </p:nvSpPr>
            <p:spPr bwMode="auto">
              <a:xfrm>
                <a:off x="5915026" y="4621213"/>
                <a:ext cx="312738" cy="314325"/>
              </a:xfrm>
              <a:custGeom>
                <a:avLst/>
                <a:gdLst>
                  <a:gd name="T0" fmla="*/ 70 w 788"/>
                  <a:gd name="T1" fmla="*/ 723 h 794"/>
                  <a:gd name="T2" fmla="*/ 719 w 788"/>
                  <a:gd name="T3" fmla="*/ 723 h 794"/>
                  <a:gd name="T4" fmla="*/ 719 w 788"/>
                  <a:gd name="T5" fmla="*/ 70 h 794"/>
                  <a:gd name="T6" fmla="*/ 70 w 788"/>
                  <a:gd name="T7" fmla="*/ 70 h 794"/>
                  <a:gd name="T8" fmla="*/ 70 w 788"/>
                  <a:gd name="T9" fmla="*/ 723 h 794"/>
                  <a:gd name="T10" fmla="*/ 727 w 788"/>
                  <a:gd name="T11" fmla="*/ 794 h 794"/>
                  <a:gd name="T12" fmla="*/ 62 w 788"/>
                  <a:gd name="T13" fmla="*/ 794 h 794"/>
                  <a:gd name="T14" fmla="*/ 56 w 788"/>
                  <a:gd name="T15" fmla="*/ 793 h 794"/>
                  <a:gd name="T16" fmla="*/ 49 w 788"/>
                  <a:gd name="T17" fmla="*/ 793 h 794"/>
                  <a:gd name="T18" fmla="*/ 43 w 788"/>
                  <a:gd name="T19" fmla="*/ 790 h 794"/>
                  <a:gd name="T20" fmla="*/ 37 w 788"/>
                  <a:gd name="T21" fmla="*/ 788 h 794"/>
                  <a:gd name="T22" fmla="*/ 27 w 788"/>
                  <a:gd name="T23" fmla="*/ 783 h 794"/>
                  <a:gd name="T24" fmla="*/ 19 w 788"/>
                  <a:gd name="T25" fmla="*/ 775 h 794"/>
                  <a:gd name="T26" fmla="*/ 10 w 788"/>
                  <a:gd name="T27" fmla="*/ 766 h 794"/>
                  <a:gd name="T28" fmla="*/ 5 w 788"/>
                  <a:gd name="T29" fmla="*/ 755 h 794"/>
                  <a:gd name="T30" fmla="*/ 2 w 788"/>
                  <a:gd name="T31" fmla="*/ 749 h 794"/>
                  <a:gd name="T32" fmla="*/ 1 w 788"/>
                  <a:gd name="T33" fmla="*/ 743 h 794"/>
                  <a:gd name="T34" fmla="*/ 0 w 788"/>
                  <a:gd name="T35" fmla="*/ 737 h 794"/>
                  <a:gd name="T36" fmla="*/ 0 w 788"/>
                  <a:gd name="T37" fmla="*/ 732 h 794"/>
                  <a:gd name="T38" fmla="*/ 0 w 788"/>
                  <a:gd name="T39" fmla="*/ 62 h 794"/>
                  <a:gd name="T40" fmla="*/ 0 w 788"/>
                  <a:gd name="T41" fmla="*/ 55 h 794"/>
                  <a:gd name="T42" fmla="*/ 1 w 788"/>
                  <a:gd name="T43" fmla="*/ 49 h 794"/>
                  <a:gd name="T44" fmla="*/ 2 w 788"/>
                  <a:gd name="T45" fmla="*/ 43 h 794"/>
                  <a:gd name="T46" fmla="*/ 5 w 788"/>
                  <a:gd name="T47" fmla="*/ 37 h 794"/>
                  <a:gd name="T48" fmla="*/ 10 w 788"/>
                  <a:gd name="T49" fmla="*/ 27 h 794"/>
                  <a:gd name="T50" fmla="*/ 19 w 788"/>
                  <a:gd name="T51" fmla="*/ 17 h 794"/>
                  <a:gd name="T52" fmla="*/ 27 w 788"/>
                  <a:gd name="T53" fmla="*/ 10 h 794"/>
                  <a:gd name="T54" fmla="*/ 37 w 788"/>
                  <a:gd name="T55" fmla="*/ 5 h 794"/>
                  <a:gd name="T56" fmla="*/ 43 w 788"/>
                  <a:gd name="T57" fmla="*/ 2 h 794"/>
                  <a:gd name="T58" fmla="*/ 49 w 788"/>
                  <a:gd name="T59" fmla="*/ 1 h 794"/>
                  <a:gd name="T60" fmla="*/ 56 w 788"/>
                  <a:gd name="T61" fmla="*/ 0 h 794"/>
                  <a:gd name="T62" fmla="*/ 62 w 788"/>
                  <a:gd name="T63" fmla="*/ 0 h 794"/>
                  <a:gd name="T64" fmla="*/ 727 w 788"/>
                  <a:gd name="T65" fmla="*/ 0 h 794"/>
                  <a:gd name="T66" fmla="*/ 733 w 788"/>
                  <a:gd name="T67" fmla="*/ 0 h 794"/>
                  <a:gd name="T68" fmla="*/ 739 w 788"/>
                  <a:gd name="T69" fmla="*/ 1 h 794"/>
                  <a:gd name="T70" fmla="*/ 746 w 788"/>
                  <a:gd name="T71" fmla="*/ 2 h 794"/>
                  <a:gd name="T72" fmla="*/ 750 w 788"/>
                  <a:gd name="T73" fmla="*/ 5 h 794"/>
                  <a:gd name="T74" fmla="*/ 761 w 788"/>
                  <a:gd name="T75" fmla="*/ 10 h 794"/>
                  <a:gd name="T76" fmla="*/ 770 w 788"/>
                  <a:gd name="T77" fmla="*/ 17 h 794"/>
                  <a:gd name="T78" fmla="*/ 777 w 788"/>
                  <a:gd name="T79" fmla="*/ 27 h 794"/>
                  <a:gd name="T80" fmla="*/ 783 w 788"/>
                  <a:gd name="T81" fmla="*/ 37 h 794"/>
                  <a:gd name="T82" fmla="*/ 786 w 788"/>
                  <a:gd name="T83" fmla="*/ 43 h 794"/>
                  <a:gd name="T84" fmla="*/ 787 w 788"/>
                  <a:gd name="T85" fmla="*/ 49 h 794"/>
                  <a:gd name="T86" fmla="*/ 788 w 788"/>
                  <a:gd name="T87" fmla="*/ 55 h 794"/>
                  <a:gd name="T88" fmla="*/ 788 w 788"/>
                  <a:gd name="T89" fmla="*/ 62 h 794"/>
                  <a:gd name="T90" fmla="*/ 788 w 788"/>
                  <a:gd name="T91" fmla="*/ 732 h 794"/>
                  <a:gd name="T92" fmla="*/ 788 w 788"/>
                  <a:gd name="T93" fmla="*/ 737 h 794"/>
                  <a:gd name="T94" fmla="*/ 787 w 788"/>
                  <a:gd name="T95" fmla="*/ 743 h 794"/>
                  <a:gd name="T96" fmla="*/ 786 w 788"/>
                  <a:gd name="T97" fmla="*/ 749 h 794"/>
                  <a:gd name="T98" fmla="*/ 783 w 788"/>
                  <a:gd name="T99" fmla="*/ 755 h 794"/>
                  <a:gd name="T100" fmla="*/ 777 w 788"/>
                  <a:gd name="T101" fmla="*/ 766 h 794"/>
                  <a:gd name="T102" fmla="*/ 770 w 788"/>
                  <a:gd name="T103" fmla="*/ 775 h 794"/>
                  <a:gd name="T104" fmla="*/ 761 w 788"/>
                  <a:gd name="T105" fmla="*/ 783 h 794"/>
                  <a:gd name="T106" fmla="*/ 750 w 788"/>
                  <a:gd name="T107" fmla="*/ 788 h 794"/>
                  <a:gd name="T108" fmla="*/ 746 w 788"/>
                  <a:gd name="T109" fmla="*/ 790 h 794"/>
                  <a:gd name="T110" fmla="*/ 739 w 788"/>
                  <a:gd name="T111" fmla="*/ 793 h 794"/>
                  <a:gd name="T112" fmla="*/ 733 w 788"/>
                  <a:gd name="T113" fmla="*/ 793 h 794"/>
                  <a:gd name="T114" fmla="*/ 727 w 788"/>
                  <a:gd name="T115" fmla="*/ 794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8" h="794">
                    <a:moveTo>
                      <a:pt x="70" y="723"/>
                    </a:moveTo>
                    <a:lnTo>
                      <a:pt x="719" y="723"/>
                    </a:lnTo>
                    <a:lnTo>
                      <a:pt x="719" y="70"/>
                    </a:lnTo>
                    <a:lnTo>
                      <a:pt x="70" y="70"/>
                    </a:lnTo>
                    <a:lnTo>
                      <a:pt x="70" y="723"/>
                    </a:lnTo>
                    <a:close/>
                    <a:moveTo>
                      <a:pt x="727" y="794"/>
                    </a:moveTo>
                    <a:lnTo>
                      <a:pt x="62" y="794"/>
                    </a:lnTo>
                    <a:lnTo>
                      <a:pt x="56" y="793"/>
                    </a:lnTo>
                    <a:lnTo>
                      <a:pt x="49" y="793"/>
                    </a:lnTo>
                    <a:lnTo>
                      <a:pt x="43" y="790"/>
                    </a:lnTo>
                    <a:lnTo>
                      <a:pt x="37" y="788"/>
                    </a:lnTo>
                    <a:lnTo>
                      <a:pt x="27" y="783"/>
                    </a:lnTo>
                    <a:lnTo>
                      <a:pt x="19" y="775"/>
                    </a:lnTo>
                    <a:lnTo>
                      <a:pt x="10" y="766"/>
                    </a:lnTo>
                    <a:lnTo>
                      <a:pt x="5" y="755"/>
                    </a:lnTo>
                    <a:lnTo>
                      <a:pt x="2" y="749"/>
                    </a:lnTo>
                    <a:lnTo>
                      <a:pt x="1" y="743"/>
                    </a:lnTo>
                    <a:lnTo>
                      <a:pt x="0" y="737"/>
                    </a:lnTo>
                    <a:lnTo>
                      <a:pt x="0" y="732"/>
                    </a:lnTo>
                    <a:lnTo>
                      <a:pt x="0" y="62"/>
                    </a:lnTo>
                    <a:lnTo>
                      <a:pt x="0" y="55"/>
                    </a:lnTo>
                    <a:lnTo>
                      <a:pt x="1" y="49"/>
                    </a:lnTo>
                    <a:lnTo>
                      <a:pt x="2" y="43"/>
                    </a:lnTo>
                    <a:lnTo>
                      <a:pt x="5" y="37"/>
                    </a:lnTo>
                    <a:lnTo>
                      <a:pt x="10" y="27"/>
                    </a:lnTo>
                    <a:lnTo>
                      <a:pt x="19" y="17"/>
                    </a:lnTo>
                    <a:lnTo>
                      <a:pt x="27" y="10"/>
                    </a:lnTo>
                    <a:lnTo>
                      <a:pt x="37" y="5"/>
                    </a:lnTo>
                    <a:lnTo>
                      <a:pt x="43" y="2"/>
                    </a:lnTo>
                    <a:lnTo>
                      <a:pt x="49" y="1"/>
                    </a:lnTo>
                    <a:lnTo>
                      <a:pt x="56" y="0"/>
                    </a:lnTo>
                    <a:lnTo>
                      <a:pt x="62" y="0"/>
                    </a:lnTo>
                    <a:lnTo>
                      <a:pt x="727" y="0"/>
                    </a:lnTo>
                    <a:lnTo>
                      <a:pt x="733" y="0"/>
                    </a:lnTo>
                    <a:lnTo>
                      <a:pt x="739" y="1"/>
                    </a:lnTo>
                    <a:lnTo>
                      <a:pt x="746" y="2"/>
                    </a:lnTo>
                    <a:lnTo>
                      <a:pt x="750" y="5"/>
                    </a:lnTo>
                    <a:lnTo>
                      <a:pt x="761" y="10"/>
                    </a:lnTo>
                    <a:lnTo>
                      <a:pt x="770" y="17"/>
                    </a:lnTo>
                    <a:lnTo>
                      <a:pt x="777" y="27"/>
                    </a:lnTo>
                    <a:lnTo>
                      <a:pt x="783" y="37"/>
                    </a:lnTo>
                    <a:lnTo>
                      <a:pt x="786" y="43"/>
                    </a:lnTo>
                    <a:lnTo>
                      <a:pt x="787" y="49"/>
                    </a:lnTo>
                    <a:lnTo>
                      <a:pt x="788" y="55"/>
                    </a:lnTo>
                    <a:lnTo>
                      <a:pt x="788" y="62"/>
                    </a:lnTo>
                    <a:lnTo>
                      <a:pt x="788" y="732"/>
                    </a:lnTo>
                    <a:lnTo>
                      <a:pt x="788" y="737"/>
                    </a:lnTo>
                    <a:lnTo>
                      <a:pt x="787" y="743"/>
                    </a:lnTo>
                    <a:lnTo>
                      <a:pt x="786" y="749"/>
                    </a:lnTo>
                    <a:lnTo>
                      <a:pt x="783" y="755"/>
                    </a:lnTo>
                    <a:lnTo>
                      <a:pt x="777" y="766"/>
                    </a:lnTo>
                    <a:lnTo>
                      <a:pt x="770" y="775"/>
                    </a:lnTo>
                    <a:lnTo>
                      <a:pt x="761" y="783"/>
                    </a:lnTo>
                    <a:lnTo>
                      <a:pt x="750" y="788"/>
                    </a:lnTo>
                    <a:lnTo>
                      <a:pt x="746" y="790"/>
                    </a:lnTo>
                    <a:lnTo>
                      <a:pt x="739" y="793"/>
                    </a:lnTo>
                    <a:lnTo>
                      <a:pt x="733" y="793"/>
                    </a:lnTo>
                    <a:lnTo>
                      <a:pt x="727" y="794"/>
                    </a:lnTo>
                    <a:close/>
                  </a:path>
                </a:pathLst>
              </a:cu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19" name="Freeform 242"/>
              <p:cNvSpPr>
                <a:spLocks noEditPoints="1"/>
              </p:cNvSpPr>
              <p:nvPr/>
            </p:nvSpPr>
            <p:spPr bwMode="auto">
              <a:xfrm>
                <a:off x="5938838" y="4643438"/>
                <a:ext cx="266700" cy="269875"/>
              </a:xfrm>
              <a:custGeom>
                <a:avLst/>
                <a:gdLst>
                  <a:gd name="T0" fmla="*/ 650 w 673"/>
                  <a:gd name="T1" fmla="*/ 655 h 678"/>
                  <a:gd name="T2" fmla="*/ 25 w 673"/>
                  <a:gd name="T3" fmla="*/ 655 h 678"/>
                  <a:gd name="T4" fmla="*/ 25 w 673"/>
                  <a:gd name="T5" fmla="*/ 25 h 678"/>
                  <a:gd name="T6" fmla="*/ 650 w 673"/>
                  <a:gd name="T7" fmla="*/ 25 h 678"/>
                  <a:gd name="T8" fmla="*/ 650 w 673"/>
                  <a:gd name="T9" fmla="*/ 655 h 678"/>
                  <a:gd name="T10" fmla="*/ 673 w 673"/>
                  <a:gd name="T11" fmla="*/ 666 h 678"/>
                  <a:gd name="T12" fmla="*/ 673 w 673"/>
                  <a:gd name="T13" fmla="*/ 13 h 678"/>
                  <a:gd name="T14" fmla="*/ 673 w 673"/>
                  <a:gd name="T15" fmla="*/ 9 h 678"/>
                  <a:gd name="T16" fmla="*/ 670 w 673"/>
                  <a:gd name="T17" fmla="*/ 4 h 678"/>
                  <a:gd name="T18" fmla="*/ 666 w 673"/>
                  <a:gd name="T19" fmla="*/ 2 h 678"/>
                  <a:gd name="T20" fmla="*/ 662 w 673"/>
                  <a:gd name="T21" fmla="*/ 0 h 678"/>
                  <a:gd name="T22" fmla="*/ 13 w 673"/>
                  <a:gd name="T23" fmla="*/ 0 h 678"/>
                  <a:gd name="T24" fmla="*/ 9 w 673"/>
                  <a:gd name="T25" fmla="*/ 2 h 678"/>
                  <a:gd name="T26" fmla="*/ 5 w 673"/>
                  <a:gd name="T27" fmla="*/ 4 h 678"/>
                  <a:gd name="T28" fmla="*/ 2 w 673"/>
                  <a:gd name="T29" fmla="*/ 9 h 678"/>
                  <a:gd name="T30" fmla="*/ 0 w 673"/>
                  <a:gd name="T31" fmla="*/ 13 h 678"/>
                  <a:gd name="T32" fmla="*/ 0 w 673"/>
                  <a:gd name="T33" fmla="*/ 666 h 678"/>
                  <a:gd name="T34" fmla="*/ 2 w 673"/>
                  <a:gd name="T35" fmla="*/ 671 h 678"/>
                  <a:gd name="T36" fmla="*/ 5 w 673"/>
                  <a:gd name="T37" fmla="*/ 675 h 678"/>
                  <a:gd name="T38" fmla="*/ 9 w 673"/>
                  <a:gd name="T39" fmla="*/ 677 h 678"/>
                  <a:gd name="T40" fmla="*/ 13 w 673"/>
                  <a:gd name="T41" fmla="*/ 678 h 678"/>
                  <a:gd name="T42" fmla="*/ 662 w 673"/>
                  <a:gd name="T43" fmla="*/ 678 h 678"/>
                  <a:gd name="T44" fmla="*/ 666 w 673"/>
                  <a:gd name="T45" fmla="*/ 677 h 678"/>
                  <a:gd name="T46" fmla="*/ 670 w 673"/>
                  <a:gd name="T47" fmla="*/ 675 h 678"/>
                  <a:gd name="T48" fmla="*/ 673 w 673"/>
                  <a:gd name="T49" fmla="*/ 671 h 678"/>
                  <a:gd name="T50" fmla="*/ 673 w 673"/>
                  <a:gd name="T51" fmla="*/ 666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73" h="678">
                    <a:moveTo>
                      <a:pt x="650" y="655"/>
                    </a:moveTo>
                    <a:lnTo>
                      <a:pt x="25" y="655"/>
                    </a:lnTo>
                    <a:lnTo>
                      <a:pt x="25" y="25"/>
                    </a:lnTo>
                    <a:lnTo>
                      <a:pt x="650" y="25"/>
                    </a:lnTo>
                    <a:lnTo>
                      <a:pt x="650" y="655"/>
                    </a:lnTo>
                    <a:close/>
                    <a:moveTo>
                      <a:pt x="673" y="666"/>
                    </a:moveTo>
                    <a:lnTo>
                      <a:pt x="673" y="13"/>
                    </a:lnTo>
                    <a:lnTo>
                      <a:pt x="673" y="9"/>
                    </a:lnTo>
                    <a:lnTo>
                      <a:pt x="670" y="4"/>
                    </a:lnTo>
                    <a:lnTo>
                      <a:pt x="666" y="2"/>
                    </a:lnTo>
                    <a:lnTo>
                      <a:pt x="662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666"/>
                    </a:lnTo>
                    <a:lnTo>
                      <a:pt x="2" y="671"/>
                    </a:lnTo>
                    <a:lnTo>
                      <a:pt x="5" y="675"/>
                    </a:lnTo>
                    <a:lnTo>
                      <a:pt x="9" y="677"/>
                    </a:lnTo>
                    <a:lnTo>
                      <a:pt x="13" y="678"/>
                    </a:lnTo>
                    <a:lnTo>
                      <a:pt x="662" y="678"/>
                    </a:lnTo>
                    <a:lnTo>
                      <a:pt x="666" y="677"/>
                    </a:lnTo>
                    <a:lnTo>
                      <a:pt x="670" y="675"/>
                    </a:lnTo>
                    <a:lnTo>
                      <a:pt x="673" y="671"/>
                    </a:lnTo>
                    <a:lnTo>
                      <a:pt x="673" y="66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20" name="Rectangle 243"/>
              <p:cNvSpPr>
                <a:spLocks noChangeArrowheads="1"/>
              </p:cNvSpPr>
              <p:nvPr/>
            </p:nvSpPr>
            <p:spPr bwMode="auto">
              <a:xfrm>
                <a:off x="5973763" y="4678363"/>
                <a:ext cx="195263" cy="825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21" name="Freeform 244"/>
              <p:cNvSpPr>
                <a:spLocks noEditPoints="1"/>
              </p:cNvSpPr>
              <p:nvPr/>
            </p:nvSpPr>
            <p:spPr bwMode="auto">
              <a:xfrm>
                <a:off x="5969001" y="4673601"/>
                <a:ext cx="204788" cy="92075"/>
              </a:xfrm>
              <a:custGeom>
                <a:avLst/>
                <a:gdLst>
                  <a:gd name="T0" fmla="*/ 492 w 516"/>
                  <a:gd name="T1" fmla="*/ 210 h 233"/>
                  <a:gd name="T2" fmla="*/ 25 w 516"/>
                  <a:gd name="T3" fmla="*/ 210 h 233"/>
                  <a:gd name="T4" fmla="*/ 25 w 516"/>
                  <a:gd name="T5" fmla="*/ 23 h 233"/>
                  <a:gd name="T6" fmla="*/ 492 w 516"/>
                  <a:gd name="T7" fmla="*/ 23 h 233"/>
                  <a:gd name="T8" fmla="*/ 492 w 516"/>
                  <a:gd name="T9" fmla="*/ 210 h 233"/>
                  <a:gd name="T10" fmla="*/ 504 w 516"/>
                  <a:gd name="T11" fmla="*/ 0 h 233"/>
                  <a:gd name="T12" fmla="*/ 13 w 516"/>
                  <a:gd name="T13" fmla="*/ 0 h 233"/>
                  <a:gd name="T14" fmla="*/ 8 w 516"/>
                  <a:gd name="T15" fmla="*/ 0 h 233"/>
                  <a:gd name="T16" fmla="*/ 4 w 516"/>
                  <a:gd name="T17" fmla="*/ 3 h 233"/>
                  <a:gd name="T18" fmla="*/ 1 w 516"/>
                  <a:gd name="T19" fmla="*/ 7 h 233"/>
                  <a:gd name="T20" fmla="*/ 0 w 516"/>
                  <a:gd name="T21" fmla="*/ 11 h 233"/>
                  <a:gd name="T22" fmla="*/ 0 w 516"/>
                  <a:gd name="T23" fmla="*/ 222 h 233"/>
                  <a:gd name="T24" fmla="*/ 1 w 516"/>
                  <a:gd name="T25" fmla="*/ 226 h 233"/>
                  <a:gd name="T26" fmla="*/ 4 w 516"/>
                  <a:gd name="T27" fmla="*/ 230 h 233"/>
                  <a:gd name="T28" fmla="*/ 8 w 516"/>
                  <a:gd name="T29" fmla="*/ 233 h 233"/>
                  <a:gd name="T30" fmla="*/ 13 w 516"/>
                  <a:gd name="T31" fmla="*/ 233 h 233"/>
                  <a:gd name="T32" fmla="*/ 504 w 516"/>
                  <a:gd name="T33" fmla="*/ 233 h 233"/>
                  <a:gd name="T34" fmla="*/ 509 w 516"/>
                  <a:gd name="T35" fmla="*/ 233 h 233"/>
                  <a:gd name="T36" fmla="*/ 512 w 516"/>
                  <a:gd name="T37" fmla="*/ 230 h 233"/>
                  <a:gd name="T38" fmla="*/ 516 w 516"/>
                  <a:gd name="T39" fmla="*/ 226 h 233"/>
                  <a:gd name="T40" fmla="*/ 516 w 516"/>
                  <a:gd name="T41" fmla="*/ 222 h 233"/>
                  <a:gd name="T42" fmla="*/ 516 w 516"/>
                  <a:gd name="T43" fmla="*/ 11 h 233"/>
                  <a:gd name="T44" fmla="*/ 516 w 516"/>
                  <a:gd name="T45" fmla="*/ 7 h 233"/>
                  <a:gd name="T46" fmla="*/ 512 w 516"/>
                  <a:gd name="T47" fmla="*/ 3 h 233"/>
                  <a:gd name="T48" fmla="*/ 509 w 516"/>
                  <a:gd name="T49" fmla="*/ 0 h 233"/>
                  <a:gd name="T50" fmla="*/ 504 w 516"/>
                  <a:gd name="T51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6" h="233">
                    <a:moveTo>
                      <a:pt x="492" y="210"/>
                    </a:moveTo>
                    <a:lnTo>
                      <a:pt x="25" y="210"/>
                    </a:lnTo>
                    <a:lnTo>
                      <a:pt x="25" y="23"/>
                    </a:lnTo>
                    <a:lnTo>
                      <a:pt x="492" y="23"/>
                    </a:lnTo>
                    <a:lnTo>
                      <a:pt x="492" y="210"/>
                    </a:lnTo>
                    <a:close/>
                    <a:moveTo>
                      <a:pt x="504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8" y="233"/>
                    </a:lnTo>
                    <a:lnTo>
                      <a:pt x="13" y="233"/>
                    </a:lnTo>
                    <a:lnTo>
                      <a:pt x="504" y="233"/>
                    </a:lnTo>
                    <a:lnTo>
                      <a:pt x="509" y="233"/>
                    </a:lnTo>
                    <a:lnTo>
                      <a:pt x="512" y="230"/>
                    </a:lnTo>
                    <a:lnTo>
                      <a:pt x="516" y="226"/>
                    </a:lnTo>
                    <a:lnTo>
                      <a:pt x="516" y="222"/>
                    </a:lnTo>
                    <a:lnTo>
                      <a:pt x="516" y="11"/>
                    </a:lnTo>
                    <a:lnTo>
                      <a:pt x="516" y="7"/>
                    </a:lnTo>
                    <a:lnTo>
                      <a:pt x="512" y="3"/>
                    </a:lnTo>
                    <a:lnTo>
                      <a:pt x="509" y="0"/>
                    </a:ln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</p:grpSp>
        <p:cxnSp>
          <p:nvCxnSpPr>
            <p:cNvPr id="400" name="Прямая соединительная линия 399"/>
            <p:cNvCxnSpPr/>
            <p:nvPr/>
          </p:nvCxnSpPr>
          <p:spPr>
            <a:xfrm flipV="1">
              <a:off x="2863711" y="3855306"/>
              <a:ext cx="0" cy="456076"/>
            </a:xfrm>
            <a:prstGeom prst="line">
              <a:avLst/>
            </a:prstGeom>
            <a:ln w="38100" cap="rnd" cmpd="dbl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01" name="Picture 35" descr="C:\Users\Driker.AA\Desktop\Инфографика\С заливкой\Транспорт\цистерна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8169" y="4111654"/>
              <a:ext cx="473212" cy="2256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02" name="knot_z"/>
            <p:cNvGrpSpPr>
              <a:grpSpLocks noChangeAspect="1"/>
            </p:cNvGrpSpPr>
            <p:nvPr/>
          </p:nvGrpSpPr>
          <p:grpSpPr>
            <a:xfrm>
              <a:off x="3452493" y="3951261"/>
              <a:ext cx="98769" cy="127729"/>
              <a:chOff x="5915026" y="4621213"/>
              <a:chExt cx="312738" cy="468313"/>
            </a:xfrm>
          </p:grpSpPr>
          <p:sp>
            <p:nvSpPr>
              <p:cNvPr id="408" name="Rectangle 230"/>
              <p:cNvSpPr>
                <a:spLocks noChangeArrowheads="1"/>
              </p:cNvSpPr>
              <p:nvPr/>
            </p:nvSpPr>
            <p:spPr bwMode="auto">
              <a:xfrm>
                <a:off x="6030913" y="4935538"/>
                <a:ext cx="80963" cy="2540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09" name="Rectangle 238"/>
              <p:cNvSpPr>
                <a:spLocks noChangeArrowheads="1"/>
              </p:cNvSpPr>
              <p:nvPr/>
            </p:nvSpPr>
            <p:spPr bwMode="auto">
              <a:xfrm>
                <a:off x="5994401" y="4960938"/>
                <a:ext cx="155575" cy="128588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10" name="Rectangle 239"/>
              <p:cNvSpPr>
                <a:spLocks noChangeArrowheads="1"/>
              </p:cNvSpPr>
              <p:nvPr/>
            </p:nvSpPr>
            <p:spPr bwMode="auto">
              <a:xfrm>
                <a:off x="5943601" y="4648201"/>
                <a:ext cx="257175" cy="26035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11" name="Freeform 240"/>
              <p:cNvSpPr>
                <a:spLocks noEditPoints="1"/>
              </p:cNvSpPr>
              <p:nvPr/>
            </p:nvSpPr>
            <p:spPr bwMode="auto">
              <a:xfrm>
                <a:off x="5915026" y="4621213"/>
                <a:ext cx="312738" cy="314325"/>
              </a:xfrm>
              <a:custGeom>
                <a:avLst/>
                <a:gdLst>
                  <a:gd name="T0" fmla="*/ 70 w 788"/>
                  <a:gd name="T1" fmla="*/ 723 h 794"/>
                  <a:gd name="T2" fmla="*/ 719 w 788"/>
                  <a:gd name="T3" fmla="*/ 723 h 794"/>
                  <a:gd name="T4" fmla="*/ 719 w 788"/>
                  <a:gd name="T5" fmla="*/ 70 h 794"/>
                  <a:gd name="T6" fmla="*/ 70 w 788"/>
                  <a:gd name="T7" fmla="*/ 70 h 794"/>
                  <a:gd name="T8" fmla="*/ 70 w 788"/>
                  <a:gd name="T9" fmla="*/ 723 h 794"/>
                  <a:gd name="T10" fmla="*/ 727 w 788"/>
                  <a:gd name="T11" fmla="*/ 794 h 794"/>
                  <a:gd name="T12" fmla="*/ 62 w 788"/>
                  <a:gd name="T13" fmla="*/ 794 h 794"/>
                  <a:gd name="T14" fmla="*/ 56 w 788"/>
                  <a:gd name="T15" fmla="*/ 793 h 794"/>
                  <a:gd name="T16" fmla="*/ 49 w 788"/>
                  <a:gd name="T17" fmla="*/ 793 h 794"/>
                  <a:gd name="T18" fmla="*/ 43 w 788"/>
                  <a:gd name="T19" fmla="*/ 790 h 794"/>
                  <a:gd name="T20" fmla="*/ 37 w 788"/>
                  <a:gd name="T21" fmla="*/ 788 h 794"/>
                  <a:gd name="T22" fmla="*/ 27 w 788"/>
                  <a:gd name="T23" fmla="*/ 783 h 794"/>
                  <a:gd name="T24" fmla="*/ 19 w 788"/>
                  <a:gd name="T25" fmla="*/ 775 h 794"/>
                  <a:gd name="T26" fmla="*/ 10 w 788"/>
                  <a:gd name="T27" fmla="*/ 766 h 794"/>
                  <a:gd name="T28" fmla="*/ 5 w 788"/>
                  <a:gd name="T29" fmla="*/ 755 h 794"/>
                  <a:gd name="T30" fmla="*/ 2 w 788"/>
                  <a:gd name="T31" fmla="*/ 749 h 794"/>
                  <a:gd name="T32" fmla="*/ 1 w 788"/>
                  <a:gd name="T33" fmla="*/ 743 h 794"/>
                  <a:gd name="T34" fmla="*/ 0 w 788"/>
                  <a:gd name="T35" fmla="*/ 737 h 794"/>
                  <a:gd name="T36" fmla="*/ 0 w 788"/>
                  <a:gd name="T37" fmla="*/ 732 h 794"/>
                  <a:gd name="T38" fmla="*/ 0 w 788"/>
                  <a:gd name="T39" fmla="*/ 62 h 794"/>
                  <a:gd name="T40" fmla="*/ 0 w 788"/>
                  <a:gd name="T41" fmla="*/ 55 h 794"/>
                  <a:gd name="T42" fmla="*/ 1 w 788"/>
                  <a:gd name="T43" fmla="*/ 49 h 794"/>
                  <a:gd name="T44" fmla="*/ 2 w 788"/>
                  <a:gd name="T45" fmla="*/ 43 h 794"/>
                  <a:gd name="T46" fmla="*/ 5 w 788"/>
                  <a:gd name="T47" fmla="*/ 37 h 794"/>
                  <a:gd name="T48" fmla="*/ 10 w 788"/>
                  <a:gd name="T49" fmla="*/ 27 h 794"/>
                  <a:gd name="T50" fmla="*/ 19 w 788"/>
                  <a:gd name="T51" fmla="*/ 17 h 794"/>
                  <a:gd name="T52" fmla="*/ 27 w 788"/>
                  <a:gd name="T53" fmla="*/ 10 h 794"/>
                  <a:gd name="T54" fmla="*/ 37 w 788"/>
                  <a:gd name="T55" fmla="*/ 5 h 794"/>
                  <a:gd name="T56" fmla="*/ 43 w 788"/>
                  <a:gd name="T57" fmla="*/ 2 h 794"/>
                  <a:gd name="T58" fmla="*/ 49 w 788"/>
                  <a:gd name="T59" fmla="*/ 1 h 794"/>
                  <a:gd name="T60" fmla="*/ 56 w 788"/>
                  <a:gd name="T61" fmla="*/ 0 h 794"/>
                  <a:gd name="T62" fmla="*/ 62 w 788"/>
                  <a:gd name="T63" fmla="*/ 0 h 794"/>
                  <a:gd name="T64" fmla="*/ 727 w 788"/>
                  <a:gd name="T65" fmla="*/ 0 h 794"/>
                  <a:gd name="T66" fmla="*/ 733 w 788"/>
                  <a:gd name="T67" fmla="*/ 0 h 794"/>
                  <a:gd name="T68" fmla="*/ 739 w 788"/>
                  <a:gd name="T69" fmla="*/ 1 h 794"/>
                  <a:gd name="T70" fmla="*/ 746 w 788"/>
                  <a:gd name="T71" fmla="*/ 2 h 794"/>
                  <a:gd name="T72" fmla="*/ 750 w 788"/>
                  <a:gd name="T73" fmla="*/ 5 h 794"/>
                  <a:gd name="T74" fmla="*/ 761 w 788"/>
                  <a:gd name="T75" fmla="*/ 10 h 794"/>
                  <a:gd name="T76" fmla="*/ 770 w 788"/>
                  <a:gd name="T77" fmla="*/ 17 h 794"/>
                  <a:gd name="T78" fmla="*/ 777 w 788"/>
                  <a:gd name="T79" fmla="*/ 27 h 794"/>
                  <a:gd name="T80" fmla="*/ 783 w 788"/>
                  <a:gd name="T81" fmla="*/ 37 h 794"/>
                  <a:gd name="T82" fmla="*/ 786 w 788"/>
                  <a:gd name="T83" fmla="*/ 43 h 794"/>
                  <a:gd name="T84" fmla="*/ 787 w 788"/>
                  <a:gd name="T85" fmla="*/ 49 h 794"/>
                  <a:gd name="T86" fmla="*/ 788 w 788"/>
                  <a:gd name="T87" fmla="*/ 55 h 794"/>
                  <a:gd name="T88" fmla="*/ 788 w 788"/>
                  <a:gd name="T89" fmla="*/ 62 h 794"/>
                  <a:gd name="T90" fmla="*/ 788 w 788"/>
                  <a:gd name="T91" fmla="*/ 732 h 794"/>
                  <a:gd name="T92" fmla="*/ 788 w 788"/>
                  <a:gd name="T93" fmla="*/ 737 h 794"/>
                  <a:gd name="T94" fmla="*/ 787 w 788"/>
                  <a:gd name="T95" fmla="*/ 743 h 794"/>
                  <a:gd name="T96" fmla="*/ 786 w 788"/>
                  <a:gd name="T97" fmla="*/ 749 h 794"/>
                  <a:gd name="T98" fmla="*/ 783 w 788"/>
                  <a:gd name="T99" fmla="*/ 755 h 794"/>
                  <a:gd name="T100" fmla="*/ 777 w 788"/>
                  <a:gd name="T101" fmla="*/ 766 h 794"/>
                  <a:gd name="T102" fmla="*/ 770 w 788"/>
                  <a:gd name="T103" fmla="*/ 775 h 794"/>
                  <a:gd name="T104" fmla="*/ 761 w 788"/>
                  <a:gd name="T105" fmla="*/ 783 h 794"/>
                  <a:gd name="T106" fmla="*/ 750 w 788"/>
                  <a:gd name="T107" fmla="*/ 788 h 794"/>
                  <a:gd name="T108" fmla="*/ 746 w 788"/>
                  <a:gd name="T109" fmla="*/ 790 h 794"/>
                  <a:gd name="T110" fmla="*/ 739 w 788"/>
                  <a:gd name="T111" fmla="*/ 793 h 794"/>
                  <a:gd name="T112" fmla="*/ 733 w 788"/>
                  <a:gd name="T113" fmla="*/ 793 h 794"/>
                  <a:gd name="T114" fmla="*/ 727 w 788"/>
                  <a:gd name="T115" fmla="*/ 794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8" h="794">
                    <a:moveTo>
                      <a:pt x="70" y="723"/>
                    </a:moveTo>
                    <a:lnTo>
                      <a:pt x="719" y="723"/>
                    </a:lnTo>
                    <a:lnTo>
                      <a:pt x="719" y="70"/>
                    </a:lnTo>
                    <a:lnTo>
                      <a:pt x="70" y="70"/>
                    </a:lnTo>
                    <a:lnTo>
                      <a:pt x="70" y="723"/>
                    </a:lnTo>
                    <a:close/>
                    <a:moveTo>
                      <a:pt x="727" y="794"/>
                    </a:moveTo>
                    <a:lnTo>
                      <a:pt x="62" y="794"/>
                    </a:lnTo>
                    <a:lnTo>
                      <a:pt x="56" y="793"/>
                    </a:lnTo>
                    <a:lnTo>
                      <a:pt x="49" y="793"/>
                    </a:lnTo>
                    <a:lnTo>
                      <a:pt x="43" y="790"/>
                    </a:lnTo>
                    <a:lnTo>
                      <a:pt x="37" y="788"/>
                    </a:lnTo>
                    <a:lnTo>
                      <a:pt x="27" y="783"/>
                    </a:lnTo>
                    <a:lnTo>
                      <a:pt x="19" y="775"/>
                    </a:lnTo>
                    <a:lnTo>
                      <a:pt x="10" y="766"/>
                    </a:lnTo>
                    <a:lnTo>
                      <a:pt x="5" y="755"/>
                    </a:lnTo>
                    <a:lnTo>
                      <a:pt x="2" y="749"/>
                    </a:lnTo>
                    <a:lnTo>
                      <a:pt x="1" y="743"/>
                    </a:lnTo>
                    <a:lnTo>
                      <a:pt x="0" y="737"/>
                    </a:lnTo>
                    <a:lnTo>
                      <a:pt x="0" y="732"/>
                    </a:lnTo>
                    <a:lnTo>
                      <a:pt x="0" y="62"/>
                    </a:lnTo>
                    <a:lnTo>
                      <a:pt x="0" y="55"/>
                    </a:lnTo>
                    <a:lnTo>
                      <a:pt x="1" y="49"/>
                    </a:lnTo>
                    <a:lnTo>
                      <a:pt x="2" y="43"/>
                    </a:lnTo>
                    <a:lnTo>
                      <a:pt x="5" y="37"/>
                    </a:lnTo>
                    <a:lnTo>
                      <a:pt x="10" y="27"/>
                    </a:lnTo>
                    <a:lnTo>
                      <a:pt x="19" y="17"/>
                    </a:lnTo>
                    <a:lnTo>
                      <a:pt x="27" y="10"/>
                    </a:lnTo>
                    <a:lnTo>
                      <a:pt x="37" y="5"/>
                    </a:lnTo>
                    <a:lnTo>
                      <a:pt x="43" y="2"/>
                    </a:lnTo>
                    <a:lnTo>
                      <a:pt x="49" y="1"/>
                    </a:lnTo>
                    <a:lnTo>
                      <a:pt x="56" y="0"/>
                    </a:lnTo>
                    <a:lnTo>
                      <a:pt x="62" y="0"/>
                    </a:lnTo>
                    <a:lnTo>
                      <a:pt x="727" y="0"/>
                    </a:lnTo>
                    <a:lnTo>
                      <a:pt x="733" y="0"/>
                    </a:lnTo>
                    <a:lnTo>
                      <a:pt x="739" y="1"/>
                    </a:lnTo>
                    <a:lnTo>
                      <a:pt x="746" y="2"/>
                    </a:lnTo>
                    <a:lnTo>
                      <a:pt x="750" y="5"/>
                    </a:lnTo>
                    <a:lnTo>
                      <a:pt x="761" y="10"/>
                    </a:lnTo>
                    <a:lnTo>
                      <a:pt x="770" y="17"/>
                    </a:lnTo>
                    <a:lnTo>
                      <a:pt x="777" y="27"/>
                    </a:lnTo>
                    <a:lnTo>
                      <a:pt x="783" y="37"/>
                    </a:lnTo>
                    <a:lnTo>
                      <a:pt x="786" y="43"/>
                    </a:lnTo>
                    <a:lnTo>
                      <a:pt x="787" y="49"/>
                    </a:lnTo>
                    <a:lnTo>
                      <a:pt x="788" y="55"/>
                    </a:lnTo>
                    <a:lnTo>
                      <a:pt x="788" y="62"/>
                    </a:lnTo>
                    <a:lnTo>
                      <a:pt x="788" y="732"/>
                    </a:lnTo>
                    <a:lnTo>
                      <a:pt x="788" y="737"/>
                    </a:lnTo>
                    <a:lnTo>
                      <a:pt x="787" y="743"/>
                    </a:lnTo>
                    <a:lnTo>
                      <a:pt x="786" y="749"/>
                    </a:lnTo>
                    <a:lnTo>
                      <a:pt x="783" y="755"/>
                    </a:lnTo>
                    <a:lnTo>
                      <a:pt x="777" y="766"/>
                    </a:lnTo>
                    <a:lnTo>
                      <a:pt x="770" y="775"/>
                    </a:lnTo>
                    <a:lnTo>
                      <a:pt x="761" y="783"/>
                    </a:lnTo>
                    <a:lnTo>
                      <a:pt x="750" y="788"/>
                    </a:lnTo>
                    <a:lnTo>
                      <a:pt x="746" y="790"/>
                    </a:lnTo>
                    <a:lnTo>
                      <a:pt x="739" y="793"/>
                    </a:lnTo>
                    <a:lnTo>
                      <a:pt x="733" y="793"/>
                    </a:lnTo>
                    <a:lnTo>
                      <a:pt x="727" y="794"/>
                    </a:lnTo>
                    <a:close/>
                  </a:path>
                </a:pathLst>
              </a:cu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12" name="Freeform 242"/>
              <p:cNvSpPr>
                <a:spLocks noEditPoints="1"/>
              </p:cNvSpPr>
              <p:nvPr/>
            </p:nvSpPr>
            <p:spPr bwMode="auto">
              <a:xfrm>
                <a:off x="5938838" y="4643438"/>
                <a:ext cx="266700" cy="269875"/>
              </a:xfrm>
              <a:custGeom>
                <a:avLst/>
                <a:gdLst>
                  <a:gd name="T0" fmla="*/ 650 w 673"/>
                  <a:gd name="T1" fmla="*/ 655 h 678"/>
                  <a:gd name="T2" fmla="*/ 25 w 673"/>
                  <a:gd name="T3" fmla="*/ 655 h 678"/>
                  <a:gd name="T4" fmla="*/ 25 w 673"/>
                  <a:gd name="T5" fmla="*/ 25 h 678"/>
                  <a:gd name="T6" fmla="*/ 650 w 673"/>
                  <a:gd name="T7" fmla="*/ 25 h 678"/>
                  <a:gd name="T8" fmla="*/ 650 w 673"/>
                  <a:gd name="T9" fmla="*/ 655 h 678"/>
                  <a:gd name="T10" fmla="*/ 673 w 673"/>
                  <a:gd name="T11" fmla="*/ 666 h 678"/>
                  <a:gd name="T12" fmla="*/ 673 w 673"/>
                  <a:gd name="T13" fmla="*/ 13 h 678"/>
                  <a:gd name="T14" fmla="*/ 673 w 673"/>
                  <a:gd name="T15" fmla="*/ 9 h 678"/>
                  <a:gd name="T16" fmla="*/ 670 w 673"/>
                  <a:gd name="T17" fmla="*/ 4 h 678"/>
                  <a:gd name="T18" fmla="*/ 666 w 673"/>
                  <a:gd name="T19" fmla="*/ 2 h 678"/>
                  <a:gd name="T20" fmla="*/ 662 w 673"/>
                  <a:gd name="T21" fmla="*/ 0 h 678"/>
                  <a:gd name="T22" fmla="*/ 13 w 673"/>
                  <a:gd name="T23" fmla="*/ 0 h 678"/>
                  <a:gd name="T24" fmla="*/ 9 w 673"/>
                  <a:gd name="T25" fmla="*/ 2 h 678"/>
                  <a:gd name="T26" fmla="*/ 5 w 673"/>
                  <a:gd name="T27" fmla="*/ 4 h 678"/>
                  <a:gd name="T28" fmla="*/ 2 w 673"/>
                  <a:gd name="T29" fmla="*/ 9 h 678"/>
                  <a:gd name="T30" fmla="*/ 0 w 673"/>
                  <a:gd name="T31" fmla="*/ 13 h 678"/>
                  <a:gd name="T32" fmla="*/ 0 w 673"/>
                  <a:gd name="T33" fmla="*/ 666 h 678"/>
                  <a:gd name="T34" fmla="*/ 2 w 673"/>
                  <a:gd name="T35" fmla="*/ 671 h 678"/>
                  <a:gd name="T36" fmla="*/ 5 w 673"/>
                  <a:gd name="T37" fmla="*/ 675 h 678"/>
                  <a:gd name="T38" fmla="*/ 9 w 673"/>
                  <a:gd name="T39" fmla="*/ 677 h 678"/>
                  <a:gd name="T40" fmla="*/ 13 w 673"/>
                  <a:gd name="T41" fmla="*/ 678 h 678"/>
                  <a:gd name="T42" fmla="*/ 662 w 673"/>
                  <a:gd name="T43" fmla="*/ 678 h 678"/>
                  <a:gd name="T44" fmla="*/ 666 w 673"/>
                  <a:gd name="T45" fmla="*/ 677 h 678"/>
                  <a:gd name="T46" fmla="*/ 670 w 673"/>
                  <a:gd name="T47" fmla="*/ 675 h 678"/>
                  <a:gd name="T48" fmla="*/ 673 w 673"/>
                  <a:gd name="T49" fmla="*/ 671 h 678"/>
                  <a:gd name="T50" fmla="*/ 673 w 673"/>
                  <a:gd name="T51" fmla="*/ 666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73" h="678">
                    <a:moveTo>
                      <a:pt x="650" y="655"/>
                    </a:moveTo>
                    <a:lnTo>
                      <a:pt x="25" y="655"/>
                    </a:lnTo>
                    <a:lnTo>
                      <a:pt x="25" y="25"/>
                    </a:lnTo>
                    <a:lnTo>
                      <a:pt x="650" y="25"/>
                    </a:lnTo>
                    <a:lnTo>
                      <a:pt x="650" y="655"/>
                    </a:lnTo>
                    <a:close/>
                    <a:moveTo>
                      <a:pt x="673" y="666"/>
                    </a:moveTo>
                    <a:lnTo>
                      <a:pt x="673" y="13"/>
                    </a:lnTo>
                    <a:lnTo>
                      <a:pt x="673" y="9"/>
                    </a:lnTo>
                    <a:lnTo>
                      <a:pt x="670" y="4"/>
                    </a:lnTo>
                    <a:lnTo>
                      <a:pt x="666" y="2"/>
                    </a:lnTo>
                    <a:lnTo>
                      <a:pt x="662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666"/>
                    </a:lnTo>
                    <a:lnTo>
                      <a:pt x="2" y="671"/>
                    </a:lnTo>
                    <a:lnTo>
                      <a:pt x="5" y="675"/>
                    </a:lnTo>
                    <a:lnTo>
                      <a:pt x="9" y="677"/>
                    </a:lnTo>
                    <a:lnTo>
                      <a:pt x="13" y="678"/>
                    </a:lnTo>
                    <a:lnTo>
                      <a:pt x="662" y="678"/>
                    </a:lnTo>
                    <a:lnTo>
                      <a:pt x="666" y="677"/>
                    </a:lnTo>
                    <a:lnTo>
                      <a:pt x="670" y="675"/>
                    </a:lnTo>
                    <a:lnTo>
                      <a:pt x="673" y="671"/>
                    </a:lnTo>
                    <a:lnTo>
                      <a:pt x="673" y="66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13" name="Rectangle 243"/>
              <p:cNvSpPr>
                <a:spLocks noChangeArrowheads="1"/>
              </p:cNvSpPr>
              <p:nvPr/>
            </p:nvSpPr>
            <p:spPr bwMode="auto">
              <a:xfrm>
                <a:off x="5973763" y="4678363"/>
                <a:ext cx="195263" cy="825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14" name="Freeform 244"/>
              <p:cNvSpPr>
                <a:spLocks noEditPoints="1"/>
              </p:cNvSpPr>
              <p:nvPr/>
            </p:nvSpPr>
            <p:spPr bwMode="auto">
              <a:xfrm>
                <a:off x="5969001" y="4673601"/>
                <a:ext cx="204788" cy="92075"/>
              </a:xfrm>
              <a:custGeom>
                <a:avLst/>
                <a:gdLst>
                  <a:gd name="T0" fmla="*/ 492 w 516"/>
                  <a:gd name="T1" fmla="*/ 210 h 233"/>
                  <a:gd name="T2" fmla="*/ 25 w 516"/>
                  <a:gd name="T3" fmla="*/ 210 h 233"/>
                  <a:gd name="T4" fmla="*/ 25 w 516"/>
                  <a:gd name="T5" fmla="*/ 23 h 233"/>
                  <a:gd name="T6" fmla="*/ 492 w 516"/>
                  <a:gd name="T7" fmla="*/ 23 h 233"/>
                  <a:gd name="T8" fmla="*/ 492 w 516"/>
                  <a:gd name="T9" fmla="*/ 210 h 233"/>
                  <a:gd name="T10" fmla="*/ 504 w 516"/>
                  <a:gd name="T11" fmla="*/ 0 h 233"/>
                  <a:gd name="T12" fmla="*/ 13 w 516"/>
                  <a:gd name="T13" fmla="*/ 0 h 233"/>
                  <a:gd name="T14" fmla="*/ 8 w 516"/>
                  <a:gd name="T15" fmla="*/ 0 h 233"/>
                  <a:gd name="T16" fmla="*/ 4 w 516"/>
                  <a:gd name="T17" fmla="*/ 3 h 233"/>
                  <a:gd name="T18" fmla="*/ 1 w 516"/>
                  <a:gd name="T19" fmla="*/ 7 h 233"/>
                  <a:gd name="T20" fmla="*/ 0 w 516"/>
                  <a:gd name="T21" fmla="*/ 11 h 233"/>
                  <a:gd name="T22" fmla="*/ 0 w 516"/>
                  <a:gd name="T23" fmla="*/ 222 h 233"/>
                  <a:gd name="T24" fmla="*/ 1 w 516"/>
                  <a:gd name="T25" fmla="*/ 226 h 233"/>
                  <a:gd name="T26" fmla="*/ 4 w 516"/>
                  <a:gd name="T27" fmla="*/ 230 h 233"/>
                  <a:gd name="T28" fmla="*/ 8 w 516"/>
                  <a:gd name="T29" fmla="*/ 233 h 233"/>
                  <a:gd name="T30" fmla="*/ 13 w 516"/>
                  <a:gd name="T31" fmla="*/ 233 h 233"/>
                  <a:gd name="T32" fmla="*/ 504 w 516"/>
                  <a:gd name="T33" fmla="*/ 233 h 233"/>
                  <a:gd name="T34" fmla="*/ 509 w 516"/>
                  <a:gd name="T35" fmla="*/ 233 h 233"/>
                  <a:gd name="T36" fmla="*/ 512 w 516"/>
                  <a:gd name="T37" fmla="*/ 230 h 233"/>
                  <a:gd name="T38" fmla="*/ 516 w 516"/>
                  <a:gd name="T39" fmla="*/ 226 h 233"/>
                  <a:gd name="T40" fmla="*/ 516 w 516"/>
                  <a:gd name="T41" fmla="*/ 222 h 233"/>
                  <a:gd name="T42" fmla="*/ 516 w 516"/>
                  <a:gd name="T43" fmla="*/ 11 h 233"/>
                  <a:gd name="T44" fmla="*/ 516 w 516"/>
                  <a:gd name="T45" fmla="*/ 7 h 233"/>
                  <a:gd name="T46" fmla="*/ 512 w 516"/>
                  <a:gd name="T47" fmla="*/ 3 h 233"/>
                  <a:gd name="T48" fmla="*/ 509 w 516"/>
                  <a:gd name="T49" fmla="*/ 0 h 233"/>
                  <a:gd name="T50" fmla="*/ 504 w 516"/>
                  <a:gd name="T51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6" h="233">
                    <a:moveTo>
                      <a:pt x="492" y="210"/>
                    </a:moveTo>
                    <a:lnTo>
                      <a:pt x="25" y="210"/>
                    </a:lnTo>
                    <a:lnTo>
                      <a:pt x="25" y="23"/>
                    </a:lnTo>
                    <a:lnTo>
                      <a:pt x="492" y="23"/>
                    </a:lnTo>
                    <a:lnTo>
                      <a:pt x="492" y="210"/>
                    </a:lnTo>
                    <a:close/>
                    <a:moveTo>
                      <a:pt x="504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8" y="233"/>
                    </a:lnTo>
                    <a:lnTo>
                      <a:pt x="13" y="233"/>
                    </a:lnTo>
                    <a:lnTo>
                      <a:pt x="504" y="233"/>
                    </a:lnTo>
                    <a:lnTo>
                      <a:pt x="509" y="233"/>
                    </a:lnTo>
                    <a:lnTo>
                      <a:pt x="512" y="230"/>
                    </a:lnTo>
                    <a:lnTo>
                      <a:pt x="516" y="226"/>
                    </a:lnTo>
                    <a:lnTo>
                      <a:pt x="516" y="222"/>
                    </a:lnTo>
                    <a:lnTo>
                      <a:pt x="516" y="11"/>
                    </a:lnTo>
                    <a:lnTo>
                      <a:pt x="516" y="7"/>
                    </a:lnTo>
                    <a:lnTo>
                      <a:pt x="512" y="3"/>
                    </a:lnTo>
                    <a:lnTo>
                      <a:pt x="509" y="0"/>
                    </a:ln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</p:grpSp>
        <p:cxnSp>
          <p:nvCxnSpPr>
            <p:cNvPr id="403" name="Прямая соединительная линия 402"/>
            <p:cNvCxnSpPr/>
            <p:nvPr/>
          </p:nvCxnSpPr>
          <p:spPr>
            <a:xfrm flipV="1">
              <a:off x="3501877" y="4069863"/>
              <a:ext cx="0" cy="233058"/>
            </a:xfrm>
            <a:prstGeom prst="line">
              <a:avLst/>
            </a:prstGeom>
            <a:ln w="38100" cap="rnd" cmpd="dbl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4" name="Прямая соединительная линия 403"/>
            <p:cNvCxnSpPr/>
            <p:nvPr/>
          </p:nvCxnSpPr>
          <p:spPr>
            <a:xfrm flipV="1">
              <a:off x="2863654" y="4241949"/>
              <a:ext cx="0" cy="72660"/>
            </a:xfrm>
            <a:prstGeom prst="line">
              <a:avLst/>
            </a:prstGeom>
            <a:ln w="12700" cap="rnd" cmpd="sng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5" name="Прямая соединительная линия 404"/>
            <p:cNvCxnSpPr/>
            <p:nvPr/>
          </p:nvCxnSpPr>
          <p:spPr>
            <a:xfrm flipV="1">
              <a:off x="3501202" y="4186391"/>
              <a:ext cx="926" cy="123596"/>
            </a:xfrm>
            <a:prstGeom prst="line">
              <a:avLst/>
            </a:prstGeom>
            <a:ln w="12700" cap="rnd" cmpd="sng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06" name="Picture 79" descr="C:\Users\Driker.AA\Desktop\Инфографика\С заливкой\Гидрометеорология\акватория,_свободная_ото_льда.pn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2269"/>
            <a:stretch/>
          </p:blipFill>
          <p:spPr bwMode="auto">
            <a:xfrm>
              <a:off x="2756451" y="4229005"/>
              <a:ext cx="581859" cy="1199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7" name="Picture 79" descr="C:\Users\Driker.AA\Desktop\Инфографика\С заливкой\Гидрометеорология\акватория,_свободная_ото_льда.pn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2269"/>
            <a:stretch/>
          </p:blipFill>
          <p:spPr bwMode="auto">
            <a:xfrm>
              <a:off x="3388937" y="4178502"/>
              <a:ext cx="414077" cy="132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22" name="Группа 421"/>
          <p:cNvGrpSpPr/>
          <p:nvPr/>
        </p:nvGrpSpPr>
        <p:grpSpPr>
          <a:xfrm>
            <a:off x="4041175" y="3606854"/>
            <a:ext cx="879830" cy="592001"/>
            <a:chOff x="4001542" y="3791617"/>
            <a:chExt cx="879830" cy="592001"/>
          </a:xfrm>
        </p:grpSpPr>
        <p:grpSp>
          <p:nvGrpSpPr>
            <p:cNvPr id="423" name="knot_z"/>
            <p:cNvGrpSpPr>
              <a:grpSpLocks noChangeAspect="1"/>
            </p:cNvGrpSpPr>
            <p:nvPr/>
          </p:nvGrpSpPr>
          <p:grpSpPr>
            <a:xfrm>
              <a:off x="4055843" y="4200144"/>
              <a:ext cx="207982" cy="143225"/>
              <a:chOff x="5645151" y="4616451"/>
              <a:chExt cx="854075" cy="681038"/>
            </a:xfrm>
          </p:grpSpPr>
          <p:sp>
            <p:nvSpPr>
              <p:cNvPr id="436" name="Freeform 224"/>
              <p:cNvSpPr>
                <a:spLocks/>
              </p:cNvSpPr>
              <p:nvPr/>
            </p:nvSpPr>
            <p:spPr bwMode="auto">
              <a:xfrm>
                <a:off x="6373813" y="5005388"/>
                <a:ext cx="25400" cy="84138"/>
              </a:xfrm>
              <a:custGeom>
                <a:avLst/>
                <a:gdLst>
                  <a:gd name="T0" fmla="*/ 62 w 62"/>
                  <a:gd name="T1" fmla="*/ 213 h 213"/>
                  <a:gd name="T2" fmla="*/ 0 w 62"/>
                  <a:gd name="T3" fmla="*/ 213 h 213"/>
                  <a:gd name="T4" fmla="*/ 0 w 62"/>
                  <a:gd name="T5" fmla="*/ 0 h 213"/>
                  <a:gd name="T6" fmla="*/ 9 w 62"/>
                  <a:gd name="T7" fmla="*/ 3 h 213"/>
                  <a:gd name="T8" fmla="*/ 17 w 62"/>
                  <a:gd name="T9" fmla="*/ 6 h 213"/>
                  <a:gd name="T10" fmla="*/ 26 w 62"/>
                  <a:gd name="T11" fmla="*/ 6 h 213"/>
                  <a:gd name="T12" fmla="*/ 34 w 62"/>
                  <a:gd name="T13" fmla="*/ 7 h 213"/>
                  <a:gd name="T14" fmla="*/ 41 w 62"/>
                  <a:gd name="T15" fmla="*/ 6 h 213"/>
                  <a:gd name="T16" fmla="*/ 48 w 62"/>
                  <a:gd name="T17" fmla="*/ 4 h 213"/>
                  <a:gd name="T18" fmla="*/ 55 w 62"/>
                  <a:gd name="T19" fmla="*/ 3 h 213"/>
                  <a:gd name="T20" fmla="*/ 62 w 62"/>
                  <a:gd name="T21" fmla="*/ 0 h 213"/>
                  <a:gd name="T22" fmla="*/ 62 w 62"/>
                  <a:gd name="T23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213">
                    <a:moveTo>
                      <a:pt x="62" y="213"/>
                    </a:moveTo>
                    <a:lnTo>
                      <a:pt x="0" y="213"/>
                    </a:lnTo>
                    <a:lnTo>
                      <a:pt x="0" y="0"/>
                    </a:lnTo>
                    <a:lnTo>
                      <a:pt x="9" y="3"/>
                    </a:lnTo>
                    <a:lnTo>
                      <a:pt x="17" y="6"/>
                    </a:lnTo>
                    <a:lnTo>
                      <a:pt x="26" y="6"/>
                    </a:lnTo>
                    <a:lnTo>
                      <a:pt x="34" y="7"/>
                    </a:lnTo>
                    <a:lnTo>
                      <a:pt x="41" y="6"/>
                    </a:lnTo>
                    <a:lnTo>
                      <a:pt x="48" y="4"/>
                    </a:lnTo>
                    <a:lnTo>
                      <a:pt x="55" y="3"/>
                    </a:lnTo>
                    <a:lnTo>
                      <a:pt x="62" y="0"/>
                    </a:lnTo>
                    <a:lnTo>
                      <a:pt x="62" y="213"/>
                    </a:lnTo>
                    <a:close/>
                  </a:path>
                </a:pathLst>
              </a:cu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37" name="Freeform 225"/>
              <p:cNvSpPr>
                <a:spLocks/>
              </p:cNvSpPr>
              <p:nvPr/>
            </p:nvSpPr>
            <p:spPr bwMode="auto">
              <a:xfrm>
                <a:off x="6337301" y="4884738"/>
                <a:ext cx="100013" cy="101600"/>
              </a:xfrm>
              <a:custGeom>
                <a:avLst/>
                <a:gdLst>
                  <a:gd name="T0" fmla="*/ 114 w 253"/>
                  <a:gd name="T1" fmla="*/ 255 h 255"/>
                  <a:gd name="T2" fmla="*/ 89 w 253"/>
                  <a:gd name="T3" fmla="*/ 249 h 255"/>
                  <a:gd name="T4" fmla="*/ 65 w 253"/>
                  <a:gd name="T5" fmla="*/ 239 h 255"/>
                  <a:gd name="T6" fmla="*/ 45 w 253"/>
                  <a:gd name="T7" fmla="*/ 225 h 255"/>
                  <a:gd name="T8" fmla="*/ 28 w 253"/>
                  <a:gd name="T9" fmla="*/ 209 h 255"/>
                  <a:gd name="T10" fmla="*/ 15 w 253"/>
                  <a:gd name="T11" fmla="*/ 188 h 255"/>
                  <a:gd name="T12" fmla="*/ 4 w 253"/>
                  <a:gd name="T13" fmla="*/ 165 h 255"/>
                  <a:gd name="T14" fmla="*/ 0 w 253"/>
                  <a:gd name="T15" fmla="*/ 141 h 255"/>
                  <a:gd name="T16" fmla="*/ 0 w 253"/>
                  <a:gd name="T17" fmla="*/ 115 h 255"/>
                  <a:gd name="T18" fmla="*/ 4 w 253"/>
                  <a:gd name="T19" fmla="*/ 89 h 255"/>
                  <a:gd name="T20" fmla="*/ 15 w 253"/>
                  <a:gd name="T21" fmla="*/ 67 h 255"/>
                  <a:gd name="T22" fmla="*/ 28 w 253"/>
                  <a:gd name="T23" fmla="*/ 47 h 255"/>
                  <a:gd name="T24" fmla="*/ 45 w 253"/>
                  <a:gd name="T25" fmla="*/ 29 h 255"/>
                  <a:gd name="T26" fmla="*/ 65 w 253"/>
                  <a:gd name="T27" fmla="*/ 15 h 255"/>
                  <a:gd name="T28" fmla="*/ 89 w 253"/>
                  <a:gd name="T29" fmla="*/ 6 h 255"/>
                  <a:gd name="T30" fmla="*/ 114 w 253"/>
                  <a:gd name="T31" fmla="*/ 1 h 255"/>
                  <a:gd name="T32" fmla="*/ 139 w 253"/>
                  <a:gd name="T33" fmla="*/ 1 h 255"/>
                  <a:gd name="T34" fmla="*/ 164 w 253"/>
                  <a:gd name="T35" fmla="*/ 6 h 255"/>
                  <a:gd name="T36" fmla="*/ 188 w 253"/>
                  <a:gd name="T37" fmla="*/ 15 h 255"/>
                  <a:gd name="T38" fmla="*/ 208 w 253"/>
                  <a:gd name="T39" fmla="*/ 29 h 255"/>
                  <a:gd name="T40" fmla="*/ 225 w 253"/>
                  <a:gd name="T41" fmla="*/ 47 h 255"/>
                  <a:gd name="T42" fmla="*/ 238 w 253"/>
                  <a:gd name="T43" fmla="*/ 67 h 255"/>
                  <a:gd name="T44" fmla="*/ 247 w 253"/>
                  <a:gd name="T45" fmla="*/ 89 h 255"/>
                  <a:gd name="T46" fmla="*/ 253 w 253"/>
                  <a:gd name="T47" fmla="*/ 115 h 255"/>
                  <a:gd name="T48" fmla="*/ 253 w 253"/>
                  <a:gd name="T49" fmla="*/ 141 h 255"/>
                  <a:gd name="T50" fmla="*/ 247 w 253"/>
                  <a:gd name="T51" fmla="*/ 165 h 255"/>
                  <a:gd name="T52" fmla="*/ 238 w 253"/>
                  <a:gd name="T53" fmla="*/ 188 h 255"/>
                  <a:gd name="T54" fmla="*/ 225 w 253"/>
                  <a:gd name="T55" fmla="*/ 209 h 255"/>
                  <a:gd name="T56" fmla="*/ 208 w 253"/>
                  <a:gd name="T57" fmla="*/ 225 h 255"/>
                  <a:gd name="T58" fmla="*/ 188 w 253"/>
                  <a:gd name="T59" fmla="*/ 239 h 255"/>
                  <a:gd name="T60" fmla="*/ 164 w 253"/>
                  <a:gd name="T61" fmla="*/ 249 h 255"/>
                  <a:gd name="T62" fmla="*/ 139 w 253"/>
                  <a:gd name="T63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3" h="255">
                    <a:moveTo>
                      <a:pt x="127" y="255"/>
                    </a:moveTo>
                    <a:lnTo>
                      <a:pt x="114" y="255"/>
                    </a:lnTo>
                    <a:lnTo>
                      <a:pt x="101" y="252"/>
                    </a:lnTo>
                    <a:lnTo>
                      <a:pt x="89" y="249"/>
                    </a:lnTo>
                    <a:lnTo>
                      <a:pt x="77" y="245"/>
                    </a:lnTo>
                    <a:lnTo>
                      <a:pt x="65" y="239"/>
                    </a:lnTo>
                    <a:lnTo>
                      <a:pt x="55" y="234"/>
                    </a:lnTo>
                    <a:lnTo>
                      <a:pt x="45" y="225"/>
                    </a:lnTo>
                    <a:lnTo>
                      <a:pt x="36" y="217"/>
                    </a:lnTo>
                    <a:lnTo>
                      <a:pt x="28" y="209"/>
                    </a:lnTo>
                    <a:lnTo>
                      <a:pt x="21" y="198"/>
                    </a:lnTo>
                    <a:lnTo>
                      <a:pt x="15" y="188"/>
                    </a:lnTo>
                    <a:lnTo>
                      <a:pt x="9" y="177"/>
                    </a:lnTo>
                    <a:lnTo>
                      <a:pt x="4" y="165"/>
                    </a:lnTo>
                    <a:lnTo>
                      <a:pt x="2" y="153"/>
                    </a:lnTo>
                    <a:lnTo>
                      <a:pt x="0" y="141"/>
                    </a:lnTo>
                    <a:lnTo>
                      <a:pt x="0" y="128"/>
                    </a:lnTo>
                    <a:lnTo>
                      <a:pt x="0" y="115"/>
                    </a:lnTo>
                    <a:lnTo>
                      <a:pt x="2" y="102"/>
                    </a:lnTo>
                    <a:lnTo>
                      <a:pt x="4" y="89"/>
                    </a:lnTo>
                    <a:lnTo>
                      <a:pt x="9" y="77"/>
                    </a:lnTo>
                    <a:lnTo>
                      <a:pt x="15" y="67"/>
                    </a:lnTo>
                    <a:lnTo>
                      <a:pt x="21" y="56"/>
                    </a:lnTo>
                    <a:lnTo>
                      <a:pt x="28" y="47"/>
                    </a:lnTo>
                    <a:lnTo>
                      <a:pt x="36" y="37"/>
                    </a:lnTo>
                    <a:lnTo>
                      <a:pt x="45" y="29"/>
                    </a:lnTo>
                    <a:lnTo>
                      <a:pt x="55" y="22"/>
                    </a:lnTo>
                    <a:lnTo>
                      <a:pt x="65" y="15"/>
                    </a:lnTo>
                    <a:lnTo>
                      <a:pt x="77" y="10"/>
                    </a:lnTo>
                    <a:lnTo>
                      <a:pt x="89" y="6"/>
                    </a:lnTo>
                    <a:lnTo>
                      <a:pt x="101" y="2"/>
                    </a:lnTo>
                    <a:lnTo>
                      <a:pt x="114" y="1"/>
                    </a:lnTo>
                    <a:lnTo>
                      <a:pt x="127" y="0"/>
                    </a:lnTo>
                    <a:lnTo>
                      <a:pt x="139" y="1"/>
                    </a:lnTo>
                    <a:lnTo>
                      <a:pt x="152" y="2"/>
                    </a:lnTo>
                    <a:lnTo>
                      <a:pt x="164" y="6"/>
                    </a:lnTo>
                    <a:lnTo>
                      <a:pt x="176" y="10"/>
                    </a:lnTo>
                    <a:lnTo>
                      <a:pt x="188" y="15"/>
                    </a:lnTo>
                    <a:lnTo>
                      <a:pt x="198" y="22"/>
                    </a:lnTo>
                    <a:lnTo>
                      <a:pt x="208" y="29"/>
                    </a:lnTo>
                    <a:lnTo>
                      <a:pt x="217" y="37"/>
                    </a:lnTo>
                    <a:lnTo>
                      <a:pt x="225" y="47"/>
                    </a:lnTo>
                    <a:lnTo>
                      <a:pt x="232" y="56"/>
                    </a:lnTo>
                    <a:lnTo>
                      <a:pt x="238" y="67"/>
                    </a:lnTo>
                    <a:lnTo>
                      <a:pt x="244" y="77"/>
                    </a:lnTo>
                    <a:lnTo>
                      <a:pt x="247" y="89"/>
                    </a:lnTo>
                    <a:lnTo>
                      <a:pt x="251" y="102"/>
                    </a:lnTo>
                    <a:lnTo>
                      <a:pt x="253" y="115"/>
                    </a:lnTo>
                    <a:lnTo>
                      <a:pt x="253" y="128"/>
                    </a:lnTo>
                    <a:lnTo>
                      <a:pt x="253" y="141"/>
                    </a:lnTo>
                    <a:lnTo>
                      <a:pt x="251" y="153"/>
                    </a:lnTo>
                    <a:lnTo>
                      <a:pt x="247" y="165"/>
                    </a:lnTo>
                    <a:lnTo>
                      <a:pt x="244" y="177"/>
                    </a:lnTo>
                    <a:lnTo>
                      <a:pt x="238" y="188"/>
                    </a:lnTo>
                    <a:lnTo>
                      <a:pt x="232" y="198"/>
                    </a:lnTo>
                    <a:lnTo>
                      <a:pt x="225" y="209"/>
                    </a:lnTo>
                    <a:lnTo>
                      <a:pt x="217" y="217"/>
                    </a:lnTo>
                    <a:lnTo>
                      <a:pt x="208" y="225"/>
                    </a:lnTo>
                    <a:lnTo>
                      <a:pt x="198" y="234"/>
                    </a:lnTo>
                    <a:lnTo>
                      <a:pt x="188" y="239"/>
                    </a:lnTo>
                    <a:lnTo>
                      <a:pt x="176" y="245"/>
                    </a:lnTo>
                    <a:lnTo>
                      <a:pt x="164" y="249"/>
                    </a:lnTo>
                    <a:lnTo>
                      <a:pt x="152" y="252"/>
                    </a:lnTo>
                    <a:lnTo>
                      <a:pt x="139" y="255"/>
                    </a:lnTo>
                    <a:lnTo>
                      <a:pt x="127" y="255"/>
                    </a:lnTo>
                    <a:close/>
                  </a:path>
                </a:pathLst>
              </a:cu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38" name="Freeform 226"/>
              <p:cNvSpPr>
                <a:spLocks noEditPoints="1"/>
              </p:cNvSpPr>
              <p:nvPr/>
            </p:nvSpPr>
            <p:spPr bwMode="auto">
              <a:xfrm>
                <a:off x="6316663" y="4865688"/>
                <a:ext cx="141288" cy="141288"/>
              </a:xfrm>
              <a:custGeom>
                <a:avLst/>
                <a:gdLst>
                  <a:gd name="T0" fmla="*/ 152 w 355"/>
                  <a:gd name="T1" fmla="*/ 303 h 356"/>
                  <a:gd name="T2" fmla="*/ 116 w 355"/>
                  <a:gd name="T3" fmla="*/ 290 h 356"/>
                  <a:gd name="T4" fmla="*/ 87 w 355"/>
                  <a:gd name="T5" fmla="*/ 268 h 356"/>
                  <a:gd name="T6" fmla="*/ 66 w 355"/>
                  <a:gd name="T7" fmla="*/ 239 h 356"/>
                  <a:gd name="T8" fmla="*/ 53 w 355"/>
                  <a:gd name="T9" fmla="*/ 204 h 356"/>
                  <a:gd name="T10" fmla="*/ 51 w 355"/>
                  <a:gd name="T11" fmla="*/ 166 h 356"/>
                  <a:gd name="T12" fmla="*/ 60 w 355"/>
                  <a:gd name="T13" fmla="*/ 128 h 356"/>
                  <a:gd name="T14" fmla="*/ 79 w 355"/>
                  <a:gd name="T15" fmla="*/ 98 h 356"/>
                  <a:gd name="T16" fmla="*/ 106 w 355"/>
                  <a:gd name="T17" fmla="*/ 73 h 356"/>
                  <a:gd name="T18" fmla="*/ 140 w 355"/>
                  <a:gd name="T19" fmla="*/ 57 h 356"/>
                  <a:gd name="T20" fmla="*/ 178 w 355"/>
                  <a:gd name="T21" fmla="*/ 51 h 356"/>
                  <a:gd name="T22" fmla="*/ 215 w 355"/>
                  <a:gd name="T23" fmla="*/ 57 h 356"/>
                  <a:gd name="T24" fmla="*/ 249 w 355"/>
                  <a:gd name="T25" fmla="*/ 73 h 356"/>
                  <a:gd name="T26" fmla="*/ 276 w 355"/>
                  <a:gd name="T27" fmla="*/ 98 h 356"/>
                  <a:gd name="T28" fmla="*/ 295 w 355"/>
                  <a:gd name="T29" fmla="*/ 128 h 356"/>
                  <a:gd name="T30" fmla="*/ 304 w 355"/>
                  <a:gd name="T31" fmla="*/ 166 h 356"/>
                  <a:gd name="T32" fmla="*/ 302 w 355"/>
                  <a:gd name="T33" fmla="*/ 204 h 356"/>
                  <a:gd name="T34" fmla="*/ 289 w 355"/>
                  <a:gd name="T35" fmla="*/ 239 h 356"/>
                  <a:gd name="T36" fmla="*/ 268 w 355"/>
                  <a:gd name="T37" fmla="*/ 268 h 356"/>
                  <a:gd name="T38" fmla="*/ 239 w 355"/>
                  <a:gd name="T39" fmla="*/ 290 h 356"/>
                  <a:gd name="T40" fmla="*/ 203 w 355"/>
                  <a:gd name="T41" fmla="*/ 303 h 356"/>
                  <a:gd name="T42" fmla="*/ 178 w 355"/>
                  <a:gd name="T43" fmla="*/ 0 h 356"/>
                  <a:gd name="T44" fmla="*/ 125 w 355"/>
                  <a:gd name="T45" fmla="*/ 9 h 356"/>
                  <a:gd name="T46" fmla="*/ 78 w 355"/>
                  <a:gd name="T47" fmla="*/ 31 h 356"/>
                  <a:gd name="T48" fmla="*/ 40 w 355"/>
                  <a:gd name="T49" fmla="*/ 65 h 356"/>
                  <a:gd name="T50" fmla="*/ 14 w 355"/>
                  <a:gd name="T51" fmla="*/ 110 h 356"/>
                  <a:gd name="T52" fmla="*/ 0 w 355"/>
                  <a:gd name="T53" fmla="*/ 160 h 356"/>
                  <a:gd name="T54" fmla="*/ 4 w 355"/>
                  <a:gd name="T55" fmla="*/ 214 h 356"/>
                  <a:gd name="T56" fmla="*/ 21 w 355"/>
                  <a:gd name="T57" fmla="*/ 263 h 356"/>
                  <a:gd name="T58" fmla="*/ 52 w 355"/>
                  <a:gd name="T59" fmla="*/ 303 h 356"/>
                  <a:gd name="T60" fmla="*/ 93 w 355"/>
                  <a:gd name="T61" fmla="*/ 335 h 356"/>
                  <a:gd name="T62" fmla="*/ 141 w 355"/>
                  <a:gd name="T63" fmla="*/ 353 h 356"/>
                  <a:gd name="T64" fmla="*/ 195 w 355"/>
                  <a:gd name="T65" fmla="*/ 355 h 356"/>
                  <a:gd name="T66" fmla="*/ 247 w 355"/>
                  <a:gd name="T67" fmla="*/ 342 h 356"/>
                  <a:gd name="T68" fmla="*/ 290 w 355"/>
                  <a:gd name="T69" fmla="*/ 315 h 356"/>
                  <a:gd name="T70" fmla="*/ 324 w 355"/>
                  <a:gd name="T71" fmla="*/ 278 h 356"/>
                  <a:gd name="T72" fmla="*/ 347 w 355"/>
                  <a:gd name="T73" fmla="*/ 232 h 356"/>
                  <a:gd name="T74" fmla="*/ 355 w 355"/>
                  <a:gd name="T75" fmla="*/ 179 h 356"/>
                  <a:gd name="T76" fmla="*/ 347 w 355"/>
                  <a:gd name="T77" fmla="*/ 126 h 356"/>
                  <a:gd name="T78" fmla="*/ 324 w 355"/>
                  <a:gd name="T79" fmla="*/ 79 h 356"/>
                  <a:gd name="T80" fmla="*/ 290 w 355"/>
                  <a:gd name="T81" fmla="*/ 41 h 356"/>
                  <a:gd name="T82" fmla="*/ 247 w 355"/>
                  <a:gd name="T83" fmla="*/ 14 h 356"/>
                  <a:gd name="T84" fmla="*/ 195 w 355"/>
                  <a:gd name="T85" fmla="*/ 1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55" h="356">
                    <a:moveTo>
                      <a:pt x="178" y="306"/>
                    </a:moveTo>
                    <a:lnTo>
                      <a:pt x="165" y="306"/>
                    </a:lnTo>
                    <a:lnTo>
                      <a:pt x="152" y="303"/>
                    </a:lnTo>
                    <a:lnTo>
                      <a:pt x="140" y="300"/>
                    </a:lnTo>
                    <a:lnTo>
                      <a:pt x="128" y="296"/>
                    </a:lnTo>
                    <a:lnTo>
                      <a:pt x="116" y="290"/>
                    </a:lnTo>
                    <a:lnTo>
                      <a:pt x="106" y="285"/>
                    </a:lnTo>
                    <a:lnTo>
                      <a:pt x="96" y="276"/>
                    </a:lnTo>
                    <a:lnTo>
                      <a:pt x="87" y="268"/>
                    </a:lnTo>
                    <a:lnTo>
                      <a:pt x="79" y="260"/>
                    </a:lnTo>
                    <a:lnTo>
                      <a:pt x="72" y="249"/>
                    </a:lnTo>
                    <a:lnTo>
                      <a:pt x="66" y="239"/>
                    </a:lnTo>
                    <a:lnTo>
                      <a:pt x="60" y="228"/>
                    </a:lnTo>
                    <a:lnTo>
                      <a:pt x="55" y="216"/>
                    </a:lnTo>
                    <a:lnTo>
                      <a:pt x="53" y="204"/>
                    </a:lnTo>
                    <a:lnTo>
                      <a:pt x="51" y="192"/>
                    </a:lnTo>
                    <a:lnTo>
                      <a:pt x="51" y="179"/>
                    </a:lnTo>
                    <a:lnTo>
                      <a:pt x="51" y="166"/>
                    </a:lnTo>
                    <a:lnTo>
                      <a:pt x="53" y="153"/>
                    </a:lnTo>
                    <a:lnTo>
                      <a:pt x="55" y="140"/>
                    </a:lnTo>
                    <a:lnTo>
                      <a:pt x="60" y="128"/>
                    </a:lnTo>
                    <a:lnTo>
                      <a:pt x="66" y="118"/>
                    </a:lnTo>
                    <a:lnTo>
                      <a:pt x="72" y="107"/>
                    </a:lnTo>
                    <a:lnTo>
                      <a:pt x="79" y="98"/>
                    </a:lnTo>
                    <a:lnTo>
                      <a:pt x="87" y="88"/>
                    </a:lnTo>
                    <a:lnTo>
                      <a:pt x="96" y="80"/>
                    </a:lnTo>
                    <a:lnTo>
                      <a:pt x="106" y="73"/>
                    </a:lnTo>
                    <a:lnTo>
                      <a:pt x="116" y="66"/>
                    </a:lnTo>
                    <a:lnTo>
                      <a:pt x="128" y="61"/>
                    </a:lnTo>
                    <a:lnTo>
                      <a:pt x="140" y="57"/>
                    </a:lnTo>
                    <a:lnTo>
                      <a:pt x="152" y="53"/>
                    </a:lnTo>
                    <a:lnTo>
                      <a:pt x="165" y="52"/>
                    </a:lnTo>
                    <a:lnTo>
                      <a:pt x="178" y="51"/>
                    </a:lnTo>
                    <a:lnTo>
                      <a:pt x="190" y="52"/>
                    </a:lnTo>
                    <a:lnTo>
                      <a:pt x="203" y="53"/>
                    </a:lnTo>
                    <a:lnTo>
                      <a:pt x="215" y="57"/>
                    </a:lnTo>
                    <a:lnTo>
                      <a:pt x="227" y="61"/>
                    </a:lnTo>
                    <a:lnTo>
                      <a:pt x="239" y="66"/>
                    </a:lnTo>
                    <a:lnTo>
                      <a:pt x="249" y="73"/>
                    </a:lnTo>
                    <a:lnTo>
                      <a:pt x="259" y="80"/>
                    </a:lnTo>
                    <a:lnTo>
                      <a:pt x="268" y="88"/>
                    </a:lnTo>
                    <a:lnTo>
                      <a:pt x="276" y="98"/>
                    </a:lnTo>
                    <a:lnTo>
                      <a:pt x="283" y="107"/>
                    </a:lnTo>
                    <a:lnTo>
                      <a:pt x="289" y="118"/>
                    </a:lnTo>
                    <a:lnTo>
                      <a:pt x="295" y="128"/>
                    </a:lnTo>
                    <a:lnTo>
                      <a:pt x="298" y="140"/>
                    </a:lnTo>
                    <a:lnTo>
                      <a:pt x="302" y="153"/>
                    </a:lnTo>
                    <a:lnTo>
                      <a:pt x="304" y="166"/>
                    </a:lnTo>
                    <a:lnTo>
                      <a:pt x="304" y="179"/>
                    </a:lnTo>
                    <a:lnTo>
                      <a:pt x="304" y="192"/>
                    </a:lnTo>
                    <a:lnTo>
                      <a:pt x="302" y="204"/>
                    </a:lnTo>
                    <a:lnTo>
                      <a:pt x="298" y="216"/>
                    </a:lnTo>
                    <a:lnTo>
                      <a:pt x="295" y="228"/>
                    </a:lnTo>
                    <a:lnTo>
                      <a:pt x="289" y="239"/>
                    </a:lnTo>
                    <a:lnTo>
                      <a:pt x="283" y="249"/>
                    </a:lnTo>
                    <a:lnTo>
                      <a:pt x="276" y="260"/>
                    </a:lnTo>
                    <a:lnTo>
                      <a:pt x="268" y="268"/>
                    </a:lnTo>
                    <a:lnTo>
                      <a:pt x="259" y="276"/>
                    </a:lnTo>
                    <a:lnTo>
                      <a:pt x="249" y="285"/>
                    </a:lnTo>
                    <a:lnTo>
                      <a:pt x="239" y="290"/>
                    </a:lnTo>
                    <a:lnTo>
                      <a:pt x="227" y="296"/>
                    </a:lnTo>
                    <a:lnTo>
                      <a:pt x="215" y="300"/>
                    </a:lnTo>
                    <a:lnTo>
                      <a:pt x="203" y="303"/>
                    </a:lnTo>
                    <a:lnTo>
                      <a:pt x="190" y="306"/>
                    </a:lnTo>
                    <a:lnTo>
                      <a:pt x="178" y="306"/>
                    </a:lnTo>
                    <a:close/>
                    <a:moveTo>
                      <a:pt x="178" y="0"/>
                    </a:moveTo>
                    <a:lnTo>
                      <a:pt x="159" y="1"/>
                    </a:lnTo>
                    <a:lnTo>
                      <a:pt x="141" y="4"/>
                    </a:lnTo>
                    <a:lnTo>
                      <a:pt x="125" y="9"/>
                    </a:lnTo>
                    <a:lnTo>
                      <a:pt x="108" y="14"/>
                    </a:lnTo>
                    <a:lnTo>
                      <a:pt x="93" y="23"/>
                    </a:lnTo>
                    <a:lnTo>
                      <a:pt x="78" y="31"/>
                    </a:lnTo>
                    <a:lnTo>
                      <a:pt x="65" y="41"/>
                    </a:lnTo>
                    <a:lnTo>
                      <a:pt x="52" y="53"/>
                    </a:lnTo>
                    <a:lnTo>
                      <a:pt x="40" y="65"/>
                    </a:lnTo>
                    <a:lnTo>
                      <a:pt x="30" y="79"/>
                    </a:lnTo>
                    <a:lnTo>
                      <a:pt x="21" y="94"/>
                    </a:lnTo>
                    <a:lnTo>
                      <a:pt x="14" y="110"/>
                    </a:lnTo>
                    <a:lnTo>
                      <a:pt x="7" y="126"/>
                    </a:lnTo>
                    <a:lnTo>
                      <a:pt x="4" y="142"/>
                    </a:lnTo>
                    <a:lnTo>
                      <a:pt x="0" y="160"/>
                    </a:lnTo>
                    <a:lnTo>
                      <a:pt x="0" y="179"/>
                    </a:lnTo>
                    <a:lnTo>
                      <a:pt x="0" y="196"/>
                    </a:lnTo>
                    <a:lnTo>
                      <a:pt x="4" y="214"/>
                    </a:lnTo>
                    <a:lnTo>
                      <a:pt x="7" y="232"/>
                    </a:lnTo>
                    <a:lnTo>
                      <a:pt x="14" y="247"/>
                    </a:lnTo>
                    <a:lnTo>
                      <a:pt x="21" y="263"/>
                    </a:lnTo>
                    <a:lnTo>
                      <a:pt x="30" y="278"/>
                    </a:lnTo>
                    <a:lnTo>
                      <a:pt x="40" y="292"/>
                    </a:lnTo>
                    <a:lnTo>
                      <a:pt x="52" y="303"/>
                    </a:lnTo>
                    <a:lnTo>
                      <a:pt x="65" y="315"/>
                    </a:lnTo>
                    <a:lnTo>
                      <a:pt x="78" y="326"/>
                    </a:lnTo>
                    <a:lnTo>
                      <a:pt x="93" y="335"/>
                    </a:lnTo>
                    <a:lnTo>
                      <a:pt x="108" y="342"/>
                    </a:lnTo>
                    <a:lnTo>
                      <a:pt x="125" y="348"/>
                    </a:lnTo>
                    <a:lnTo>
                      <a:pt x="141" y="353"/>
                    </a:lnTo>
                    <a:lnTo>
                      <a:pt x="159" y="355"/>
                    </a:lnTo>
                    <a:lnTo>
                      <a:pt x="178" y="356"/>
                    </a:lnTo>
                    <a:lnTo>
                      <a:pt x="195" y="355"/>
                    </a:lnTo>
                    <a:lnTo>
                      <a:pt x="213" y="353"/>
                    </a:lnTo>
                    <a:lnTo>
                      <a:pt x="230" y="348"/>
                    </a:lnTo>
                    <a:lnTo>
                      <a:pt x="247" y="342"/>
                    </a:lnTo>
                    <a:lnTo>
                      <a:pt x="262" y="335"/>
                    </a:lnTo>
                    <a:lnTo>
                      <a:pt x="276" y="326"/>
                    </a:lnTo>
                    <a:lnTo>
                      <a:pt x="290" y="315"/>
                    </a:lnTo>
                    <a:lnTo>
                      <a:pt x="303" y="303"/>
                    </a:lnTo>
                    <a:lnTo>
                      <a:pt x="315" y="292"/>
                    </a:lnTo>
                    <a:lnTo>
                      <a:pt x="324" y="278"/>
                    </a:lnTo>
                    <a:lnTo>
                      <a:pt x="334" y="263"/>
                    </a:lnTo>
                    <a:lnTo>
                      <a:pt x="341" y="247"/>
                    </a:lnTo>
                    <a:lnTo>
                      <a:pt x="347" y="232"/>
                    </a:lnTo>
                    <a:lnTo>
                      <a:pt x="351" y="214"/>
                    </a:lnTo>
                    <a:lnTo>
                      <a:pt x="354" y="196"/>
                    </a:lnTo>
                    <a:lnTo>
                      <a:pt x="355" y="179"/>
                    </a:lnTo>
                    <a:lnTo>
                      <a:pt x="354" y="160"/>
                    </a:lnTo>
                    <a:lnTo>
                      <a:pt x="351" y="142"/>
                    </a:lnTo>
                    <a:lnTo>
                      <a:pt x="347" y="126"/>
                    </a:lnTo>
                    <a:lnTo>
                      <a:pt x="341" y="110"/>
                    </a:lnTo>
                    <a:lnTo>
                      <a:pt x="334" y="94"/>
                    </a:lnTo>
                    <a:lnTo>
                      <a:pt x="324" y="79"/>
                    </a:lnTo>
                    <a:lnTo>
                      <a:pt x="315" y="65"/>
                    </a:lnTo>
                    <a:lnTo>
                      <a:pt x="303" y="53"/>
                    </a:lnTo>
                    <a:lnTo>
                      <a:pt x="290" y="41"/>
                    </a:lnTo>
                    <a:lnTo>
                      <a:pt x="276" y="31"/>
                    </a:lnTo>
                    <a:lnTo>
                      <a:pt x="262" y="23"/>
                    </a:lnTo>
                    <a:lnTo>
                      <a:pt x="247" y="14"/>
                    </a:lnTo>
                    <a:lnTo>
                      <a:pt x="230" y="9"/>
                    </a:lnTo>
                    <a:lnTo>
                      <a:pt x="213" y="4"/>
                    </a:lnTo>
                    <a:lnTo>
                      <a:pt x="195" y="1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39" name="Freeform 227"/>
              <p:cNvSpPr>
                <a:spLocks noEditPoints="1"/>
              </p:cNvSpPr>
              <p:nvPr/>
            </p:nvSpPr>
            <p:spPr bwMode="auto">
              <a:xfrm>
                <a:off x="6330951" y="4879976"/>
                <a:ext cx="111125" cy="111125"/>
              </a:xfrm>
              <a:custGeom>
                <a:avLst/>
                <a:gdLst>
                  <a:gd name="T0" fmla="*/ 116 w 279"/>
                  <a:gd name="T1" fmla="*/ 253 h 278"/>
                  <a:gd name="T2" fmla="*/ 84 w 279"/>
                  <a:gd name="T3" fmla="*/ 241 h 278"/>
                  <a:gd name="T4" fmla="*/ 57 w 279"/>
                  <a:gd name="T5" fmla="*/ 221 h 278"/>
                  <a:gd name="T6" fmla="*/ 37 w 279"/>
                  <a:gd name="T7" fmla="*/ 194 h 278"/>
                  <a:gd name="T8" fmla="*/ 27 w 279"/>
                  <a:gd name="T9" fmla="*/ 162 h 278"/>
                  <a:gd name="T10" fmla="*/ 24 w 279"/>
                  <a:gd name="T11" fmla="*/ 128 h 278"/>
                  <a:gd name="T12" fmla="*/ 33 w 279"/>
                  <a:gd name="T13" fmla="*/ 94 h 278"/>
                  <a:gd name="T14" fmla="*/ 50 w 279"/>
                  <a:gd name="T15" fmla="*/ 66 h 278"/>
                  <a:gd name="T16" fmla="*/ 75 w 279"/>
                  <a:gd name="T17" fmla="*/ 44 h 278"/>
                  <a:gd name="T18" fmla="*/ 105 w 279"/>
                  <a:gd name="T19" fmla="*/ 29 h 278"/>
                  <a:gd name="T20" fmla="*/ 140 w 279"/>
                  <a:gd name="T21" fmla="*/ 24 h 278"/>
                  <a:gd name="T22" fmla="*/ 174 w 279"/>
                  <a:gd name="T23" fmla="*/ 29 h 278"/>
                  <a:gd name="T24" fmla="*/ 204 w 279"/>
                  <a:gd name="T25" fmla="*/ 44 h 278"/>
                  <a:gd name="T26" fmla="*/ 229 w 279"/>
                  <a:gd name="T27" fmla="*/ 66 h 278"/>
                  <a:gd name="T28" fmla="*/ 246 w 279"/>
                  <a:gd name="T29" fmla="*/ 94 h 278"/>
                  <a:gd name="T30" fmla="*/ 255 w 279"/>
                  <a:gd name="T31" fmla="*/ 128 h 278"/>
                  <a:gd name="T32" fmla="*/ 252 w 279"/>
                  <a:gd name="T33" fmla="*/ 162 h 278"/>
                  <a:gd name="T34" fmla="*/ 241 w 279"/>
                  <a:gd name="T35" fmla="*/ 194 h 278"/>
                  <a:gd name="T36" fmla="*/ 221 w 279"/>
                  <a:gd name="T37" fmla="*/ 221 h 278"/>
                  <a:gd name="T38" fmla="*/ 195 w 279"/>
                  <a:gd name="T39" fmla="*/ 241 h 278"/>
                  <a:gd name="T40" fmla="*/ 163 w 279"/>
                  <a:gd name="T41" fmla="*/ 253 h 278"/>
                  <a:gd name="T42" fmla="*/ 140 w 279"/>
                  <a:gd name="T43" fmla="*/ 0 h 278"/>
                  <a:gd name="T44" fmla="*/ 98 w 279"/>
                  <a:gd name="T45" fmla="*/ 6 h 278"/>
                  <a:gd name="T46" fmla="*/ 62 w 279"/>
                  <a:gd name="T47" fmla="*/ 24 h 278"/>
                  <a:gd name="T48" fmla="*/ 31 w 279"/>
                  <a:gd name="T49" fmla="*/ 51 h 278"/>
                  <a:gd name="T50" fmla="*/ 11 w 279"/>
                  <a:gd name="T51" fmla="*/ 85 h 278"/>
                  <a:gd name="T52" fmla="*/ 1 w 279"/>
                  <a:gd name="T53" fmla="*/ 125 h 278"/>
                  <a:gd name="T54" fmla="*/ 3 w 279"/>
                  <a:gd name="T55" fmla="*/ 167 h 278"/>
                  <a:gd name="T56" fmla="*/ 17 w 279"/>
                  <a:gd name="T57" fmla="*/ 206 h 278"/>
                  <a:gd name="T58" fmla="*/ 41 w 279"/>
                  <a:gd name="T59" fmla="*/ 237 h 278"/>
                  <a:gd name="T60" fmla="*/ 73 w 279"/>
                  <a:gd name="T61" fmla="*/ 262 h 278"/>
                  <a:gd name="T62" fmla="*/ 111 w 279"/>
                  <a:gd name="T63" fmla="*/ 276 h 278"/>
                  <a:gd name="T64" fmla="*/ 154 w 279"/>
                  <a:gd name="T65" fmla="*/ 278 h 278"/>
                  <a:gd name="T66" fmla="*/ 194 w 279"/>
                  <a:gd name="T67" fmla="*/ 268 h 278"/>
                  <a:gd name="T68" fmla="*/ 228 w 279"/>
                  <a:gd name="T69" fmla="*/ 247 h 278"/>
                  <a:gd name="T70" fmla="*/ 255 w 279"/>
                  <a:gd name="T71" fmla="*/ 217 h 278"/>
                  <a:gd name="T72" fmla="*/ 272 w 279"/>
                  <a:gd name="T73" fmla="*/ 181 h 278"/>
                  <a:gd name="T74" fmla="*/ 279 w 279"/>
                  <a:gd name="T75" fmla="*/ 140 h 278"/>
                  <a:gd name="T76" fmla="*/ 272 w 279"/>
                  <a:gd name="T77" fmla="*/ 98 h 278"/>
                  <a:gd name="T78" fmla="*/ 255 w 279"/>
                  <a:gd name="T79" fmla="*/ 61 h 278"/>
                  <a:gd name="T80" fmla="*/ 228 w 279"/>
                  <a:gd name="T81" fmla="*/ 32 h 278"/>
                  <a:gd name="T82" fmla="*/ 194 w 279"/>
                  <a:gd name="T83" fmla="*/ 11 h 278"/>
                  <a:gd name="T84" fmla="*/ 154 w 279"/>
                  <a:gd name="T85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9" h="278">
                    <a:moveTo>
                      <a:pt x="140" y="255"/>
                    </a:moveTo>
                    <a:lnTo>
                      <a:pt x="128" y="254"/>
                    </a:lnTo>
                    <a:lnTo>
                      <a:pt x="116" y="253"/>
                    </a:lnTo>
                    <a:lnTo>
                      <a:pt x="105" y="249"/>
                    </a:lnTo>
                    <a:lnTo>
                      <a:pt x="95" y="246"/>
                    </a:lnTo>
                    <a:lnTo>
                      <a:pt x="84" y="241"/>
                    </a:lnTo>
                    <a:lnTo>
                      <a:pt x="75" y="235"/>
                    </a:lnTo>
                    <a:lnTo>
                      <a:pt x="66" y="228"/>
                    </a:lnTo>
                    <a:lnTo>
                      <a:pt x="57" y="221"/>
                    </a:lnTo>
                    <a:lnTo>
                      <a:pt x="50" y="213"/>
                    </a:lnTo>
                    <a:lnTo>
                      <a:pt x="43" y="203"/>
                    </a:lnTo>
                    <a:lnTo>
                      <a:pt x="37" y="194"/>
                    </a:lnTo>
                    <a:lnTo>
                      <a:pt x="33" y="184"/>
                    </a:lnTo>
                    <a:lnTo>
                      <a:pt x="29" y="174"/>
                    </a:lnTo>
                    <a:lnTo>
                      <a:pt x="27" y="162"/>
                    </a:lnTo>
                    <a:lnTo>
                      <a:pt x="24" y="152"/>
                    </a:lnTo>
                    <a:lnTo>
                      <a:pt x="24" y="140"/>
                    </a:lnTo>
                    <a:lnTo>
                      <a:pt x="24" y="128"/>
                    </a:lnTo>
                    <a:lnTo>
                      <a:pt x="27" y="116"/>
                    </a:lnTo>
                    <a:lnTo>
                      <a:pt x="29" y="105"/>
                    </a:lnTo>
                    <a:lnTo>
                      <a:pt x="33" y="94"/>
                    </a:lnTo>
                    <a:lnTo>
                      <a:pt x="37" y="85"/>
                    </a:lnTo>
                    <a:lnTo>
                      <a:pt x="43" y="75"/>
                    </a:lnTo>
                    <a:lnTo>
                      <a:pt x="50" y="66"/>
                    </a:lnTo>
                    <a:lnTo>
                      <a:pt x="57" y="58"/>
                    </a:lnTo>
                    <a:lnTo>
                      <a:pt x="66" y="51"/>
                    </a:lnTo>
                    <a:lnTo>
                      <a:pt x="75" y="44"/>
                    </a:lnTo>
                    <a:lnTo>
                      <a:pt x="84" y="38"/>
                    </a:lnTo>
                    <a:lnTo>
                      <a:pt x="95" y="33"/>
                    </a:lnTo>
                    <a:lnTo>
                      <a:pt x="105" y="29"/>
                    </a:lnTo>
                    <a:lnTo>
                      <a:pt x="116" y="26"/>
                    </a:lnTo>
                    <a:lnTo>
                      <a:pt x="128" y="25"/>
                    </a:lnTo>
                    <a:lnTo>
                      <a:pt x="140" y="24"/>
                    </a:lnTo>
                    <a:lnTo>
                      <a:pt x="151" y="25"/>
                    </a:lnTo>
                    <a:lnTo>
                      <a:pt x="163" y="26"/>
                    </a:lnTo>
                    <a:lnTo>
                      <a:pt x="174" y="29"/>
                    </a:lnTo>
                    <a:lnTo>
                      <a:pt x="184" y="33"/>
                    </a:lnTo>
                    <a:lnTo>
                      <a:pt x="195" y="38"/>
                    </a:lnTo>
                    <a:lnTo>
                      <a:pt x="204" y="44"/>
                    </a:lnTo>
                    <a:lnTo>
                      <a:pt x="212" y="51"/>
                    </a:lnTo>
                    <a:lnTo>
                      <a:pt x="221" y="58"/>
                    </a:lnTo>
                    <a:lnTo>
                      <a:pt x="229" y="66"/>
                    </a:lnTo>
                    <a:lnTo>
                      <a:pt x="235" y="75"/>
                    </a:lnTo>
                    <a:lnTo>
                      <a:pt x="241" y="85"/>
                    </a:lnTo>
                    <a:lnTo>
                      <a:pt x="246" y="94"/>
                    </a:lnTo>
                    <a:lnTo>
                      <a:pt x="250" y="105"/>
                    </a:lnTo>
                    <a:lnTo>
                      <a:pt x="252" y="116"/>
                    </a:lnTo>
                    <a:lnTo>
                      <a:pt x="255" y="128"/>
                    </a:lnTo>
                    <a:lnTo>
                      <a:pt x="255" y="140"/>
                    </a:lnTo>
                    <a:lnTo>
                      <a:pt x="255" y="152"/>
                    </a:lnTo>
                    <a:lnTo>
                      <a:pt x="252" y="162"/>
                    </a:lnTo>
                    <a:lnTo>
                      <a:pt x="250" y="174"/>
                    </a:lnTo>
                    <a:lnTo>
                      <a:pt x="246" y="184"/>
                    </a:lnTo>
                    <a:lnTo>
                      <a:pt x="241" y="194"/>
                    </a:lnTo>
                    <a:lnTo>
                      <a:pt x="235" y="203"/>
                    </a:lnTo>
                    <a:lnTo>
                      <a:pt x="229" y="213"/>
                    </a:lnTo>
                    <a:lnTo>
                      <a:pt x="221" y="221"/>
                    </a:lnTo>
                    <a:lnTo>
                      <a:pt x="212" y="228"/>
                    </a:lnTo>
                    <a:lnTo>
                      <a:pt x="204" y="235"/>
                    </a:lnTo>
                    <a:lnTo>
                      <a:pt x="195" y="241"/>
                    </a:lnTo>
                    <a:lnTo>
                      <a:pt x="184" y="246"/>
                    </a:lnTo>
                    <a:lnTo>
                      <a:pt x="174" y="249"/>
                    </a:lnTo>
                    <a:lnTo>
                      <a:pt x="163" y="253"/>
                    </a:lnTo>
                    <a:lnTo>
                      <a:pt x="151" y="254"/>
                    </a:lnTo>
                    <a:lnTo>
                      <a:pt x="140" y="255"/>
                    </a:lnTo>
                    <a:close/>
                    <a:moveTo>
                      <a:pt x="140" y="0"/>
                    </a:moveTo>
                    <a:lnTo>
                      <a:pt x="125" y="0"/>
                    </a:lnTo>
                    <a:lnTo>
                      <a:pt x="111" y="2"/>
                    </a:lnTo>
                    <a:lnTo>
                      <a:pt x="98" y="6"/>
                    </a:lnTo>
                    <a:lnTo>
                      <a:pt x="85" y="11"/>
                    </a:lnTo>
                    <a:lnTo>
                      <a:pt x="73" y="17"/>
                    </a:lnTo>
                    <a:lnTo>
                      <a:pt x="62" y="24"/>
                    </a:lnTo>
                    <a:lnTo>
                      <a:pt x="50" y="32"/>
                    </a:lnTo>
                    <a:lnTo>
                      <a:pt x="41" y="41"/>
                    </a:lnTo>
                    <a:lnTo>
                      <a:pt x="31" y="51"/>
                    </a:lnTo>
                    <a:lnTo>
                      <a:pt x="24" y="61"/>
                    </a:lnTo>
                    <a:lnTo>
                      <a:pt x="17" y="73"/>
                    </a:lnTo>
                    <a:lnTo>
                      <a:pt x="11" y="85"/>
                    </a:lnTo>
                    <a:lnTo>
                      <a:pt x="7" y="98"/>
                    </a:lnTo>
                    <a:lnTo>
                      <a:pt x="3" y="112"/>
                    </a:lnTo>
                    <a:lnTo>
                      <a:pt x="1" y="125"/>
                    </a:lnTo>
                    <a:lnTo>
                      <a:pt x="0" y="140"/>
                    </a:lnTo>
                    <a:lnTo>
                      <a:pt x="1" y="154"/>
                    </a:lnTo>
                    <a:lnTo>
                      <a:pt x="3" y="167"/>
                    </a:lnTo>
                    <a:lnTo>
                      <a:pt x="7" y="181"/>
                    </a:lnTo>
                    <a:lnTo>
                      <a:pt x="11" y="194"/>
                    </a:lnTo>
                    <a:lnTo>
                      <a:pt x="17" y="206"/>
                    </a:lnTo>
                    <a:lnTo>
                      <a:pt x="24" y="217"/>
                    </a:lnTo>
                    <a:lnTo>
                      <a:pt x="31" y="228"/>
                    </a:lnTo>
                    <a:lnTo>
                      <a:pt x="41" y="237"/>
                    </a:lnTo>
                    <a:lnTo>
                      <a:pt x="50" y="247"/>
                    </a:lnTo>
                    <a:lnTo>
                      <a:pt x="62" y="255"/>
                    </a:lnTo>
                    <a:lnTo>
                      <a:pt x="73" y="262"/>
                    </a:lnTo>
                    <a:lnTo>
                      <a:pt x="85" y="268"/>
                    </a:lnTo>
                    <a:lnTo>
                      <a:pt x="98" y="273"/>
                    </a:lnTo>
                    <a:lnTo>
                      <a:pt x="111" y="276"/>
                    </a:lnTo>
                    <a:lnTo>
                      <a:pt x="125" y="278"/>
                    </a:lnTo>
                    <a:lnTo>
                      <a:pt x="140" y="278"/>
                    </a:lnTo>
                    <a:lnTo>
                      <a:pt x="154" y="278"/>
                    </a:lnTo>
                    <a:lnTo>
                      <a:pt x="168" y="276"/>
                    </a:lnTo>
                    <a:lnTo>
                      <a:pt x="181" y="273"/>
                    </a:lnTo>
                    <a:lnTo>
                      <a:pt x="194" y="268"/>
                    </a:lnTo>
                    <a:lnTo>
                      <a:pt x="205" y="262"/>
                    </a:lnTo>
                    <a:lnTo>
                      <a:pt x="217" y="255"/>
                    </a:lnTo>
                    <a:lnTo>
                      <a:pt x="228" y="247"/>
                    </a:lnTo>
                    <a:lnTo>
                      <a:pt x="238" y="237"/>
                    </a:lnTo>
                    <a:lnTo>
                      <a:pt x="246" y="228"/>
                    </a:lnTo>
                    <a:lnTo>
                      <a:pt x="255" y="217"/>
                    </a:lnTo>
                    <a:lnTo>
                      <a:pt x="262" y="206"/>
                    </a:lnTo>
                    <a:lnTo>
                      <a:pt x="268" y="194"/>
                    </a:lnTo>
                    <a:lnTo>
                      <a:pt x="272" y="181"/>
                    </a:lnTo>
                    <a:lnTo>
                      <a:pt x="276" y="167"/>
                    </a:lnTo>
                    <a:lnTo>
                      <a:pt x="278" y="154"/>
                    </a:lnTo>
                    <a:lnTo>
                      <a:pt x="279" y="140"/>
                    </a:lnTo>
                    <a:lnTo>
                      <a:pt x="278" y="125"/>
                    </a:lnTo>
                    <a:lnTo>
                      <a:pt x="276" y="112"/>
                    </a:lnTo>
                    <a:lnTo>
                      <a:pt x="272" y="98"/>
                    </a:lnTo>
                    <a:lnTo>
                      <a:pt x="268" y="85"/>
                    </a:lnTo>
                    <a:lnTo>
                      <a:pt x="262" y="73"/>
                    </a:lnTo>
                    <a:lnTo>
                      <a:pt x="255" y="61"/>
                    </a:lnTo>
                    <a:lnTo>
                      <a:pt x="246" y="51"/>
                    </a:lnTo>
                    <a:lnTo>
                      <a:pt x="238" y="41"/>
                    </a:lnTo>
                    <a:lnTo>
                      <a:pt x="228" y="32"/>
                    </a:lnTo>
                    <a:lnTo>
                      <a:pt x="217" y="24"/>
                    </a:lnTo>
                    <a:lnTo>
                      <a:pt x="205" y="17"/>
                    </a:lnTo>
                    <a:lnTo>
                      <a:pt x="194" y="11"/>
                    </a:lnTo>
                    <a:lnTo>
                      <a:pt x="181" y="6"/>
                    </a:lnTo>
                    <a:lnTo>
                      <a:pt x="168" y="2"/>
                    </a:lnTo>
                    <a:lnTo>
                      <a:pt x="154" y="0"/>
                    </a:lnTo>
                    <a:lnTo>
                      <a:pt x="140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0" name="Freeform 228"/>
              <p:cNvSpPr>
                <a:spLocks noEditPoints="1"/>
              </p:cNvSpPr>
              <p:nvPr/>
            </p:nvSpPr>
            <p:spPr bwMode="auto">
              <a:xfrm>
                <a:off x="6311901" y="4860926"/>
                <a:ext cx="150813" cy="233363"/>
              </a:xfrm>
              <a:custGeom>
                <a:avLst/>
                <a:gdLst>
                  <a:gd name="T0" fmla="*/ 158 w 380"/>
                  <a:gd name="T1" fmla="*/ 352 h 590"/>
                  <a:gd name="T2" fmla="*/ 112 w 380"/>
                  <a:gd name="T3" fmla="*/ 334 h 590"/>
                  <a:gd name="T4" fmla="*/ 73 w 380"/>
                  <a:gd name="T5" fmla="*/ 306 h 590"/>
                  <a:gd name="T6" fmla="*/ 45 w 380"/>
                  <a:gd name="T7" fmla="*/ 269 h 590"/>
                  <a:gd name="T8" fmla="*/ 28 w 380"/>
                  <a:gd name="T9" fmla="*/ 223 h 590"/>
                  <a:gd name="T10" fmla="*/ 25 w 380"/>
                  <a:gd name="T11" fmla="*/ 172 h 590"/>
                  <a:gd name="T12" fmla="*/ 38 w 380"/>
                  <a:gd name="T13" fmla="*/ 125 h 590"/>
                  <a:gd name="T14" fmla="*/ 62 w 380"/>
                  <a:gd name="T15" fmla="*/ 84 h 590"/>
                  <a:gd name="T16" fmla="*/ 98 w 380"/>
                  <a:gd name="T17" fmla="*/ 52 h 590"/>
                  <a:gd name="T18" fmla="*/ 141 w 380"/>
                  <a:gd name="T19" fmla="*/ 31 h 590"/>
                  <a:gd name="T20" fmla="*/ 191 w 380"/>
                  <a:gd name="T21" fmla="*/ 24 h 590"/>
                  <a:gd name="T22" fmla="*/ 240 w 380"/>
                  <a:gd name="T23" fmla="*/ 31 h 590"/>
                  <a:gd name="T24" fmla="*/ 283 w 380"/>
                  <a:gd name="T25" fmla="*/ 52 h 590"/>
                  <a:gd name="T26" fmla="*/ 319 w 380"/>
                  <a:gd name="T27" fmla="*/ 84 h 590"/>
                  <a:gd name="T28" fmla="*/ 343 w 380"/>
                  <a:gd name="T29" fmla="*/ 125 h 590"/>
                  <a:gd name="T30" fmla="*/ 355 w 380"/>
                  <a:gd name="T31" fmla="*/ 172 h 590"/>
                  <a:gd name="T32" fmla="*/ 353 w 380"/>
                  <a:gd name="T33" fmla="*/ 223 h 590"/>
                  <a:gd name="T34" fmla="*/ 336 w 380"/>
                  <a:gd name="T35" fmla="*/ 269 h 590"/>
                  <a:gd name="T36" fmla="*/ 307 w 380"/>
                  <a:gd name="T37" fmla="*/ 306 h 590"/>
                  <a:gd name="T38" fmla="*/ 269 w 380"/>
                  <a:gd name="T39" fmla="*/ 334 h 590"/>
                  <a:gd name="T40" fmla="*/ 223 w 380"/>
                  <a:gd name="T41" fmla="*/ 352 h 590"/>
                  <a:gd name="T42" fmla="*/ 380 w 380"/>
                  <a:gd name="T43" fmla="*/ 190 h 590"/>
                  <a:gd name="T44" fmla="*/ 371 w 380"/>
                  <a:gd name="T45" fmla="*/ 133 h 590"/>
                  <a:gd name="T46" fmla="*/ 347 w 380"/>
                  <a:gd name="T47" fmla="*/ 83 h 590"/>
                  <a:gd name="T48" fmla="*/ 310 w 380"/>
                  <a:gd name="T49" fmla="*/ 43 h 590"/>
                  <a:gd name="T50" fmla="*/ 264 w 380"/>
                  <a:gd name="T51" fmla="*/ 15 h 590"/>
                  <a:gd name="T52" fmla="*/ 209 w 380"/>
                  <a:gd name="T53" fmla="*/ 1 h 590"/>
                  <a:gd name="T54" fmla="*/ 152 w 380"/>
                  <a:gd name="T55" fmla="*/ 3 h 590"/>
                  <a:gd name="T56" fmla="*/ 100 w 380"/>
                  <a:gd name="T57" fmla="*/ 23 h 590"/>
                  <a:gd name="T58" fmla="*/ 57 w 380"/>
                  <a:gd name="T59" fmla="*/ 56 h 590"/>
                  <a:gd name="T60" fmla="*/ 24 w 380"/>
                  <a:gd name="T61" fmla="*/ 99 h 590"/>
                  <a:gd name="T62" fmla="*/ 5 w 380"/>
                  <a:gd name="T63" fmla="*/ 151 h 590"/>
                  <a:gd name="T64" fmla="*/ 1 w 380"/>
                  <a:gd name="T65" fmla="*/ 206 h 590"/>
                  <a:gd name="T66" fmla="*/ 12 w 380"/>
                  <a:gd name="T67" fmla="*/ 253 h 590"/>
                  <a:gd name="T68" fmla="*/ 33 w 380"/>
                  <a:gd name="T69" fmla="*/ 296 h 590"/>
                  <a:gd name="T70" fmla="*/ 64 w 380"/>
                  <a:gd name="T71" fmla="*/ 331 h 590"/>
                  <a:gd name="T72" fmla="*/ 102 w 380"/>
                  <a:gd name="T73" fmla="*/ 358 h 590"/>
                  <a:gd name="T74" fmla="*/ 147 w 380"/>
                  <a:gd name="T75" fmla="*/ 374 h 590"/>
                  <a:gd name="T76" fmla="*/ 151 w 380"/>
                  <a:gd name="T77" fmla="*/ 587 h 590"/>
                  <a:gd name="T78" fmla="*/ 165 w 380"/>
                  <a:gd name="T79" fmla="*/ 589 h 590"/>
                  <a:gd name="T80" fmla="*/ 172 w 380"/>
                  <a:gd name="T81" fmla="*/ 577 h 590"/>
                  <a:gd name="T82" fmla="*/ 191 w 380"/>
                  <a:gd name="T83" fmla="*/ 379 h 590"/>
                  <a:gd name="T84" fmla="*/ 209 w 380"/>
                  <a:gd name="T85" fmla="*/ 577 h 590"/>
                  <a:gd name="T86" fmla="*/ 216 w 380"/>
                  <a:gd name="T87" fmla="*/ 589 h 590"/>
                  <a:gd name="T88" fmla="*/ 229 w 380"/>
                  <a:gd name="T89" fmla="*/ 587 h 590"/>
                  <a:gd name="T90" fmla="*/ 233 w 380"/>
                  <a:gd name="T91" fmla="*/ 374 h 590"/>
                  <a:gd name="T92" fmla="*/ 277 w 380"/>
                  <a:gd name="T93" fmla="*/ 358 h 590"/>
                  <a:gd name="T94" fmla="*/ 316 w 380"/>
                  <a:gd name="T95" fmla="*/ 331 h 590"/>
                  <a:gd name="T96" fmla="*/ 347 w 380"/>
                  <a:gd name="T97" fmla="*/ 296 h 590"/>
                  <a:gd name="T98" fmla="*/ 369 w 380"/>
                  <a:gd name="T99" fmla="*/ 253 h 590"/>
                  <a:gd name="T100" fmla="*/ 380 w 380"/>
                  <a:gd name="T101" fmla="*/ 206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80" h="590">
                    <a:moveTo>
                      <a:pt x="191" y="354"/>
                    </a:moveTo>
                    <a:lnTo>
                      <a:pt x="174" y="354"/>
                    </a:lnTo>
                    <a:lnTo>
                      <a:pt x="158" y="352"/>
                    </a:lnTo>
                    <a:lnTo>
                      <a:pt x="141" y="347"/>
                    </a:lnTo>
                    <a:lnTo>
                      <a:pt x="126" y="341"/>
                    </a:lnTo>
                    <a:lnTo>
                      <a:pt x="112" y="334"/>
                    </a:lnTo>
                    <a:lnTo>
                      <a:pt x="98" y="326"/>
                    </a:lnTo>
                    <a:lnTo>
                      <a:pt x="85" y="317"/>
                    </a:lnTo>
                    <a:lnTo>
                      <a:pt x="73" y="306"/>
                    </a:lnTo>
                    <a:lnTo>
                      <a:pt x="62" y="294"/>
                    </a:lnTo>
                    <a:lnTo>
                      <a:pt x="53" y="281"/>
                    </a:lnTo>
                    <a:lnTo>
                      <a:pt x="45" y="269"/>
                    </a:lnTo>
                    <a:lnTo>
                      <a:pt x="38" y="253"/>
                    </a:lnTo>
                    <a:lnTo>
                      <a:pt x="32" y="238"/>
                    </a:lnTo>
                    <a:lnTo>
                      <a:pt x="28" y="223"/>
                    </a:lnTo>
                    <a:lnTo>
                      <a:pt x="25" y="206"/>
                    </a:lnTo>
                    <a:lnTo>
                      <a:pt x="25" y="190"/>
                    </a:lnTo>
                    <a:lnTo>
                      <a:pt x="25" y="172"/>
                    </a:lnTo>
                    <a:lnTo>
                      <a:pt x="28" y="156"/>
                    </a:lnTo>
                    <a:lnTo>
                      <a:pt x="32" y="141"/>
                    </a:lnTo>
                    <a:lnTo>
                      <a:pt x="38" y="125"/>
                    </a:lnTo>
                    <a:lnTo>
                      <a:pt x="45" y="110"/>
                    </a:lnTo>
                    <a:lnTo>
                      <a:pt x="53" y="97"/>
                    </a:lnTo>
                    <a:lnTo>
                      <a:pt x="62" y="84"/>
                    </a:lnTo>
                    <a:lnTo>
                      <a:pt x="73" y="72"/>
                    </a:lnTo>
                    <a:lnTo>
                      <a:pt x="85" y="62"/>
                    </a:lnTo>
                    <a:lnTo>
                      <a:pt x="98" y="52"/>
                    </a:lnTo>
                    <a:lnTo>
                      <a:pt x="112" y="44"/>
                    </a:lnTo>
                    <a:lnTo>
                      <a:pt x="126" y="37"/>
                    </a:lnTo>
                    <a:lnTo>
                      <a:pt x="141" y="31"/>
                    </a:lnTo>
                    <a:lnTo>
                      <a:pt x="158" y="28"/>
                    </a:lnTo>
                    <a:lnTo>
                      <a:pt x="174" y="24"/>
                    </a:lnTo>
                    <a:lnTo>
                      <a:pt x="191" y="24"/>
                    </a:lnTo>
                    <a:lnTo>
                      <a:pt x="207" y="24"/>
                    </a:lnTo>
                    <a:lnTo>
                      <a:pt x="223" y="28"/>
                    </a:lnTo>
                    <a:lnTo>
                      <a:pt x="240" y="31"/>
                    </a:lnTo>
                    <a:lnTo>
                      <a:pt x="255" y="37"/>
                    </a:lnTo>
                    <a:lnTo>
                      <a:pt x="269" y="44"/>
                    </a:lnTo>
                    <a:lnTo>
                      <a:pt x="283" y="52"/>
                    </a:lnTo>
                    <a:lnTo>
                      <a:pt x="295" y="62"/>
                    </a:lnTo>
                    <a:lnTo>
                      <a:pt x="307" y="72"/>
                    </a:lnTo>
                    <a:lnTo>
                      <a:pt x="319" y="84"/>
                    </a:lnTo>
                    <a:lnTo>
                      <a:pt x="328" y="97"/>
                    </a:lnTo>
                    <a:lnTo>
                      <a:pt x="336" y="110"/>
                    </a:lnTo>
                    <a:lnTo>
                      <a:pt x="343" y="125"/>
                    </a:lnTo>
                    <a:lnTo>
                      <a:pt x="348" y="141"/>
                    </a:lnTo>
                    <a:lnTo>
                      <a:pt x="353" y="156"/>
                    </a:lnTo>
                    <a:lnTo>
                      <a:pt x="355" y="172"/>
                    </a:lnTo>
                    <a:lnTo>
                      <a:pt x="356" y="190"/>
                    </a:lnTo>
                    <a:lnTo>
                      <a:pt x="355" y="206"/>
                    </a:lnTo>
                    <a:lnTo>
                      <a:pt x="353" y="223"/>
                    </a:lnTo>
                    <a:lnTo>
                      <a:pt x="348" y="238"/>
                    </a:lnTo>
                    <a:lnTo>
                      <a:pt x="343" y="253"/>
                    </a:lnTo>
                    <a:lnTo>
                      <a:pt x="336" y="269"/>
                    </a:lnTo>
                    <a:lnTo>
                      <a:pt x="328" y="281"/>
                    </a:lnTo>
                    <a:lnTo>
                      <a:pt x="319" y="294"/>
                    </a:lnTo>
                    <a:lnTo>
                      <a:pt x="307" y="306"/>
                    </a:lnTo>
                    <a:lnTo>
                      <a:pt x="295" y="317"/>
                    </a:lnTo>
                    <a:lnTo>
                      <a:pt x="283" y="326"/>
                    </a:lnTo>
                    <a:lnTo>
                      <a:pt x="269" y="334"/>
                    </a:lnTo>
                    <a:lnTo>
                      <a:pt x="255" y="341"/>
                    </a:lnTo>
                    <a:lnTo>
                      <a:pt x="240" y="347"/>
                    </a:lnTo>
                    <a:lnTo>
                      <a:pt x="223" y="352"/>
                    </a:lnTo>
                    <a:lnTo>
                      <a:pt x="207" y="354"/>
                    </a:lnTo>
                    <a:lnTo>
                      <a:pt x="191" y="354"/>
                    </a:lnTo>
                    <a:close/>
                    <a:moveTo>
                      <a:pt x="380" y="190"/>
                    </a:moveTo>
                    <a:lnTo>
                      <a:pt x="378" y="170"/>
                    </a:lnTo>
                    <a:lnTo>
                      <a:pt x="376" y="151"/>
                    </a:lnTo>
                    <a:lnTo>
                      <a:pt x="371" y="133"/>
                    </a:lnTo>
                    <a:lnTo>
                      <a:pt x="364" y="116"/>
                    </a:lnTo>
                    <a:lnTo>
                      <a:pt x="357" y="99"/>
                    </a:lnTo>
                    <a:lnTo>
                      <a:pt x="347" y="83"/>
                    </a:lnTo>
                    <a:lnTo>
                      <a:pt x="336" y="69"/>
                    </a:lnTo>
                    <a:lnTo>
                      <a:pt x="324" y="56"/>
                    </a:lnTo>
                    <a:lnTo>
                      <a:pt x="310" y="43"/>
                    </a:lnTo>
                    <a:lnTo>
                      <a:pt x="296" y="32"/>
                    </a:lnTo>
                    <a:lnTo>
                      <a:pt x="281" y="23"/>
                    </a:lnTo>
                    <a:lnTo>
                      <a:pt x="264" y="15"/>
                    </a:lnTo>
                    <a:lnTo>
                      <a:pt x="247" y="8"/>
                    </a:lnTo>
                    <a:lnTo>
                      <a:pt x="228" y="3"/>
                    </a:lnTo>
                    <a:lnTo>
                      <a:pt x="209" y="1"/>
                    </a:lnTo>
                    <a:lnTo>
                      <a:pt x="191" y="0"/>
                    </a:lnTo>
                    <a:lnTo>
                      <a:pt x="171" y="1"/>
                    </a:lnTo>
                    <a:lnTo>
                      <a:pt x="152" y="3"/>
                    </a:lnTo>
                    <a:lnTo>
                      <a:pt x="134" y="8"/>
                    </a:lnTo>
                    <a:lnTo>
                      <a:pt x="117" y="15"/>
                    </a:lnTo>
                    <a:lnTo>
                      <a:pt x="100" y="23"/>
                    </a:lnTo>
                    <a:lnTo>
                      <a:pt x="85" y="32"/>
                    </a:lnTo>
                    <a:lnTo>
                      <a:pt x="70" y="43"/>
                    </a:lnTo>
                    <a:lnTo>
                      <a:pt x="57" y="56"/>
                    </a:lnTo>
                    <a:lnTo>
                      <a:pt x="44" y="69"/>
                    </a:lnTo>
                    <a:lnTo>
                      <a:pt x="33" y="83"/>
                    </a:lnTo>
                    <a:lnTo>
                      <a:pt x="24" y="99"/>
                    </a:lnTo>
                    <a:lnTo>
                      <a:pt x="16" y="116"/>
                    </a:lnTo>
                    <a:lnTo>
                      <a:pt x="10" y="133"/>
                    </a:lnTo>
                    <a:lnTo>
                      <a:pt x="5" y="151"/>
                    </a:lnTo>
                    <a:lnTo>
                      <a:pt x="1" y="170"/>
                    </a:lnTo>
                    <a:lnTo>
                      <a:pt x="0" y="190"/>
                    </a:lnTo>
                    <a:lnTo>
                      <a:pt x="1" y="206"/>
                    </a:lnTo>
                    <a:lnTo>
                      <a:pt x="4" y="223"/>
                    </a:lnTo>
                    <a:lnTo>
                      <a:pt x="7" y="238"/>
                    </a:lnTo>
                    <a:lnTo>
                      <a:pt x="12" y="253"/>
                    </a:lnTo>
                    <a:lnTo>
                      <a:pt x="18" y="269"/>
                    </a:lnTo>
                    <a:lnTo>
                      <a:pt x="25" y="281"/>
                    </a:lnTo>
                    <a:lnTo>
                      <a:pt x="33" y="296"/>
                    </a:lnTo>
                    <a:lnTo>
                      <a:pt x="43" y="308"/>
                    </a:lnTo>
                    <a:lnTo>
                      <a:pt x="53" y="320"/>
                    </a:lnTo>
                    <a:lnTo>
                      <a:pt x="64" y="331"/>
                    </a:lnTo>
                    <a:lnTo>
                      <a:pt x="77" y="340"/>
                    </a:lnTo>
                    <a:lnTo>
                      <a:pt x="89" y="350"/>
                    </a:lnTo>
                    <a:lnTo>
                      <a:pt x="102" y="358"/>
                    </a:lnTo>
                    <a:lnTo>
                      <a:pt x="118" y="364"/>
                    </a:lnTo>
                    <a:lnTo>
                      <a:pt x="132" y="370"/>
                    </a:lnTo>
                    <a:lnTo>
                      <a:pt x="147" y="374"/>
                    </a:lnTo>
                    <a:lnTo>
                      <a:pt x="147" y="577"/>
                    </a:lnTo>
                    <a:lnTo>
                      <a:pt x="148" y="582"/>
                    </a:lnTo>
                    <a:lnTo>
                      <a:pt x="151" y="587"/>
                    </a:lnTo>
                    <a:lnTo>
                      <a:pt x="155" y="589"/>
                    </a:lnTo>
                    <a:lnTo>
                      <a:pt x="159" y="590"/>
                    </a:lnTo>
                    <a:lnTo>
                      <a:pt x="165" y="589"/>
                    </a:lnTo>
                    <a:lnTo>
                      <a:pt x="168" y="587"/>
                    </a:lnTo>
                    <a:lnTo>
                      <a:pt x="171" y="582"/>
                    </a:lnTo>
                    <a:lnTo>
                      <a:pt x="172" y="577"/>
                    </a:lnTo>
                    <a:lnTo>
                      <a:pt x="172" y="378"/>
                    </a:lnTo>
                    <a:lnTo>
                      <a:pt x="181" y="379"/>
                    </a:lnTo>
                    <a:lnTo>
                      <a:pt x="191" y="379"/>
                    </a:lnTo>
                    <a:lnTo>
                      <a:pt x="200" y="379"/>
                    </a:lnTo>
                    <a:lnTo>
                      <a:pt x="209" y="378"/>
                    </a:lnTo>
                    <a:lnTo>
                      <a:pt x="209" y="577"/>
                    </a:lnTo>
                    <a:lnTo>
                      <a:pt x="210" y="582"/>
                    </a:lnTo>
                    <a:lnTo>
                      <a:pt x="213" y="587"/>
                    </a:lnTo>
                    <a:lnTo>
                      <a:pt x="216" y="589"/>
                    </a:lnTo>
                    <a:lnTo>
                      <a:pt x="221" y="590"/>
                    </a:lnTo>
                    <a:lnTo>
                      <a:pt x="226" y="589"/>
                    </a:lnTo>
                    <a:lnTo>
                      <a:pt x="229" y="587"/>
                    </a:lnTo>
                    <a:lnTo>
                      <a:pt x="233" y="582"/>
                    </a:lnTo>
                    <a:lnTo>
                      <a:pt x="233" y="577"/>
                    </a:lnTo>
                    <a:lnTo>
                      <a:pt x="233" y="374"/>
                    </a:lnTo>
                    <a:lnTo>
                      <a:pt x="249" y="370"/>
                    </a:lnTo>
                    <a:lnTo>
                      <a:pt x="263" y="364"/>
                    </a:lnTo>
                    <a:lnTo>
                      <a:pt x="277" y="358"/>
                    </a:lnTo>
                    <a:lnTo>
                      <a:pt x="292" y="350"/>
                    </a:lnTo>
                    <a:lnTo>
                      <a:pt x="304" y="340"/>
                    </a:lnTo>
                    <a:lnTo>
                      <a:pt x="316" y="331"/>
                    </a:lnTo>
                    <a:lnTo>
                      <a:pt x="328" y="320"/>
                    </a:lnTo>
                    <a:lnTo>
                      <a:pt x="338" y="308"/>
                    </a:lnTo>
                    <a:lnTo>
                      <a:pt x="347" y="296"/>
                    </a:lnTo>
                    <a:lnTo>
                      <a:pt x="356" y="281"/>
                    </a:lnTo>
                    <a:lnTo>
                      <a:pt x="363" y="269"/>
                    </a:lnTo>
                    <a:lnTo>
                      <a:pt x="369" y="253"/>
                    </a:lnTo>
                    <a:lnTo>
                      <a:pt x="374" y="238"/>
                    </a:lnTo>
                    <a:lnTo>
                      <a:pt x="377" y="223"/>
                    </a:lnTo>
                    <a:lnTo>
                      <a:pt x="380" y="206"/>
                    </a:lnTo>
                    <a:lnTo>
                      <a:pt x="380" y="19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1" name="Freeform 229"/>
              <p:cNvSpPr>
                <a:spLocks/>
              </p:cNvSpPr>
              <p:nvPr/>
            </p:nvSpPr>
            <p:spPr bwMode="auto">
              <a:xfrm>
                <a:off x="6381751" y="4906963"/>
                <a:ext cx="33338" cy="33338"/>
              </a:xfrm>
              <a:custGeom>
                <a:avLst/>
                <a:gdLst>
                  <a:gd name="T0" fmla="*/ 61 w 82"/>
                  <a:gd name="T1" fmla="*/ 4 h 85"/>
                  <a:gd name="T2" fmla="*/ 2 w 82"/>
                  <a:gd name="T3" fmla="*/ 63 h 85"/>
                  <a:gd name="T4" fmla="*/ 0 w 82"/>
                  <a:gd name="T5" fmla="*/ 68 h 85"/>
                  <a:gd name="T6" fmla="*/ 0 w 82"/>
                  <a:gd name="T7" fmla="*/ 73 h 85"/>
                  <a:gd name="T8" fmla="*/ 0 w 82"/>
                  <a:gd name="T9" fmla="*/ 78 h 85"/>
                  <a:gd name="T10" fmla="*/ 3 w 82"/>
                  <a:gd name="T11" fmla="*/ 81 h 85"/>
                  <a:gd name="T12" fmla="*/ 7 w 82"/>
                  <a:gd name="T13" fmla="*/ 83 h 85"/>
                  <a:gd name="T14" fmla="*/ 12 w 82"/>
                  <a:gd name="T15" fmla="*/ 85 h 85"/>
                  <a:gd name="T16" fmla="*/ 16 w 82"/>
                  <a:gd name="T17" fmla="*/ 83 h 85"/>
                  <a:gd name="T18" fmla="*/ 20 w 82"/>
                  <a:gd name="T19" fmla="*/ 81 h 85"/>
                  <a:gd name="T20" fmla="*/ 78 w 82"/>
                  <a:gd name="T21" fmla="*/ 20 h 85"/>
                  <a:gd name="T22" fmla="*/ 81 w 82"/>
                  <a:gd name="T23" fmla="*/ 16 h 85"/>
                  <a:gd name="T24" fmla="*/ 82 w 82"/>
                  <a:gd name="T25" fmla="*/ 12 h 85"/>
                  <a:gd name="T26" fmla="*/ 81 w 82"/>
                  <a:gd name="T27" fmla="*/ 7 h 85"/>
                  <a:gd name="T28" fmla="*/ 78 w 82"/>
                  <a:gd name="T29" fmla="*/ 4 h 85"/>
                  <a:gd name="T30" fmla="*/ 75 w 82"/>
                  <a:gd name="T31" fmla="*/ 0 h 85"/>
                  <a:gd name="T32" fmla="*/ 70 w 82"/>
                  <a:gd name="T33" fmla="*/ 0 h 85"/>
                  <a:gd name="T34" fmla="*/ 66 w 82"/>
                  <a:gd name="T35" fmla="*/ 1 h 85"/>
                  <a:gd name="T36" fmla="*/ 61 w 82"/>
                  <a:gd name="T37" fmla="*/ 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2" h="85">
                    <a:moveTo>
                      <a:pt x="61" y="4"/>
                    </a:moveTo>
                    <a:lnTo>
                      <a:pt x="2" y="63"/>
                    </a:lnTo>
                    <a:lnTo>
                      <a:pt x="0" y="68"/>
                    </a:lnTo>
                    <a:lnTo>
                      <a:pt x="0" y="73"/>
                    </a:lnTo>
                    <a:lnTo>
                      <a:pt x="0" y="78"/>
                    </a:lnTo>
                    <a:lnTo>
                      <a:pt x="3" y="81"/>
                    </a:lnTo>
                    <a:lnTo>
                      <a:pt x="7" y="83"/>
                    </a:lnTo>
                    <a:lnTo>
                      <a:pt x="12" y="85"/>
                    </a:lnTo>
                    <a:lnTo>
                      <a:pt x="16" y="83"/>
                    </a:lnTo>
                    <a:lnTo>
                      <a:pt x="20" y="81"/>
                    </a:lnTo>
                    <a:lnTo>
                      <a:pt x="78" y="20"/>
                    </a:lnTo>
                    <a:lnTo>
                      <a:pt x="81" y="16"/>
                    </a:lnTo>
                    <a:lnTo>
                      <a:pt x="82" y="12"/>
                    </a:lnTo>
                    <a:lnTo>
                      <a:pt x="81" y="7"/>
                    </a:lnTo>
                    <a:lnTo>
                      <a:pt x="78" y="4"/>
                    </a:lnTo>
                    <a:lnTo>
                      <a:pt x="75" y="0"/>
                    </a:lnTo>
                    <a:lnTo>
                      <a:pt x="70" y="0"/>
                    </a:lnTo>
                    <a:lnTo>
                      <a:pt x="66" y="1"/>
                    </a:lnTo>
                    <a:lnTo>
                      <a:pt x="61" y="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2" name="Rectangle 230"/>
              <p:cNvSpPr>
                <a:spLocks noChangeArrowheads="1"/>
              </p:cNvSpPr>
              <p:nvPr/>
            </p:nvSpPr>
            <p:spPr bwMode="auto">
              <a:xfrm>
                <a:off x="6030913" y="4935538"/>
                <a:ext cx="80963" cy="2540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3" name="Rectangle 231"/>
              <p:cNvSpPr>
                <a:spLocks noChangeArrowheads="1"/>
              </p:cNvSpPr>
              <p:nvPr/>
            </p:nvSpPr>
            <p:spPr bwMode="auto">
              <a:xfrm>
                <a:off x="5919788" y="5089526"/>
                <a:ext cx="304800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4" name="Rectangle 232"/>
              <p:cNvSpPr>
                <a:spLocks noChangeArrowheads="1"/>
              </p:cNvSpPr>
              <p:nvPr/>
            </p:nvSpPr>
            <p:spPr bwMode="auto">
              <a:xfrm>
                <a:off x="5686426" y="5089526"/>
                <a:ext cx="141288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5" name="Rectangle 233"/>
              <p:cNvSpPr>
                <a:spLocks noChangeArrowheads="1"/>
              </p:cNvSpPr>
              <p:nvPr/>
            </p:nvSpPr>
            <p:spPr bwMode="auto">
              <a:xfrm>
                <a:off x="6316663" y="5089526"/>
                <a:ext cx="141288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6" name="Rectangle 234"/>
              <p:cNvSpPr>
                <a:spLocks noChangeArrowheads="1"/>
              </p:cNvSpPr>
              <p:nvPr/>
            </p:nvSpPr>
            <p:spPr bwMode="auto">
              <a:xfrm>
                <a:off x="5649913" y="5019676"/>
                <a:ext cx="36513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7" name="Rectangle 235"/>
              <p:cNvSpPr>
                <a:spLocks noChangeArrowheads="1"/>
              </p:cNvSpPr>
              <p:nvPr/>
            </p:nvSpPr>
            <p:spPr bwMode="auto">
              <a:xfrm>
                <a:off x="6457951" y="5019676"/>
                <a:ext cx="36513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8" name="Rectangle 236"/>
              <p:cNvSpPr>
                <a:spLocks noChangeArrowheads="1"/>
              </p:cNvSpPr>
              <p:nvPr/>
            </p:nvSpPr>
            <p:spPr bwMode="auto">
              <a:xfrm>
                <a:off x="5827713" y="5019676"/>
                <a:ext cx="92075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49" name="Rectangle 237"/>
              <p:cNvSpPr>
                <a:spLocks noChangeArrowheads="1"/>
              </p:cNvSpPr>
              <p:nvPr/>
            </p:nvSpPr>
            <p:spPr bwMode="auto">
              <a:xfrm>
                <a:off x="6224588" y="5019676"/>
                <a:ext cx="92075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50" name="Rectangle 238"/>
              <p:cNvSpPr>
                <a:spLocks noChangeArrowheads="1"/>
              </p:cNvSpPr>
              <p:nvPr/>
            </p:nvSpPr>
            <p:spPr bwMode="auto">
              <a:xfrm>
                <a:off x="5994401" y="4960938"/>
                <a:ext cx="155575" cy="128588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51" name="Rectangle 239"/>
              <p:cNvSpPr>
                <a:spLocks noChangeArrowheads="1"/>
              </p:cNvSpPr>
              <p:nvPr/>
            </p:nvSpPr>
            <p:spPr bwMode="auto">
              <a:xfrm>
                <a:off x="5943601" y="4648201"/>
                <a:ext cx="257175" cy="26035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52" name="Freeform 240"/>
              <p:cNvSpPr>
                <a:spLocks noEditPoints="1"/>
              </p:cNvSpPr>
              <p:nvPr/>
            </p:nvSpPr>
            <p:spPr bwMode="auto">
              <a:xfrm>
                <a:off x="5915026" y="4621213"/>
                <a:ext cx="312738" cy="314325"/>
              </a:xfrm>
              <a:custGeom>
                <a:avLst/>
                <a:gdLst>
                  <a:gd name="T0" fmla="*/ 70 w 788"/>
                  <a:gd name="T1" fmla="*/ 723 h 794"/>
                  <a:gd name="T2" fmla="*/ 719 w 788"/>
                  <a:gd name="T3" fmla="*/ 723 h 794"/>
                  <a:gd name="T4" fmla="*/ 719 w 788"/>
                  <a:gd name="T5" fmla="*/ 70 h 794"/>
                  <a:gd name="T6" fmla="*/ 70 w 788"/>
                  <a:gd name="T7" fmla="*/ 70 h 794"/>
                  <a:gd name="T8" fmla="*/ 70 w 788"/>
                  <a:gd name="T9" fmla="*/ 723 h 794"/>
                  <a:gd name="T10" fmla="*/ 727 w 788"/>
                  <a:gd name="T11" fmla="*/ 794 h 794"/>
                  <a:gd name="T12" fmla="*/ 62 w 788"/>
                  <a:gd name="T13" fmla="*/ 794 h 794"/>
                  <a:gd name="T14" fmla="*/ 56 w 788"/>
                  <a:gd name="T15" fmla="*/ 793 h 794"/>
                  <a:gd name="T16" fmla="*/ 49 w 788"/>
                  <a:gd name="T17" fmla="*/ 793 h 794"/>
                  <a:gd name="T18" fmla="*/ 43 w 788"/>
                  <a:gd name="T19" fmla="*/ 790 h 794"/>
                  <a:gd name="T20" fmla="*/ 37 w 788"/>
                  <a:gd name="T21" fmla="*/ 788 h 794"/>
                  <a:gd name="T22" fmla="*/ 27 w 788"/>
                  <a:gd name="T23" fmla="*/ 783 h 794"/>
                  <a:gd name="T24" fmla="*/ 19 w 788"/>
                  <a:gd name="T25" fmla="*/ 775 h 794"/>
                  <a:gd name="T26" fmla="*/ 10 w 788"/>
                  <a:gd name="T27" fmla="*/ 766 h 794"/>
                  <a:gd name="T28" fmla="*/ 5 w 788"/>
                  <a:gd name="T29" fmla="*/ 755 h 794"/>
                  <a:gd name="T30" fmla="*/ 2 w 788"/>
                  <a:gd name="T31" fmla="*/ 749 h 794"/>
                  <a:gd name="T32" fmla="*/ 1 w 788"/>
                  <a:gd name="T33" fmla="*/ 743 h 794"/>
                  <a:gd name="T34" fmla="*/ 0 w 788"/>
                  <a:gd name="T35" fmla="*/ 737 h 794"/>
                  <a:gd name="T36" fmla="*/ 0 w 788"/>
                  <a:gd name="T37" fmla="*/ 732 h 794"/>
                  <a:gd name="T38" fmla="*/ 0 w 788"/>
                  <a:gd name="T39" fmla="*/ 62 h 794"/>
                  <a:gd name="T40" fmla="*/ 0 w 788"/>
                  <a:gd name="T41" fmla="*/ 55 h 794"/>
                  <a:gd name="T42" fmla="*/ 1 w 788"/>
                  <a:gd name="T43" fmla="*/ 49 h 794"/>
                  <a:gd name="T44" fmla="*/ 2 w 788"/>
                  <a:gd name="T45" fmla="*/ 43 h 794"/>
                  <a:gd name="T46" fmla="*/ 5 w 788"/>
                  <a:gd name="T47" fmla="*/ 37 h 794"/>
                  <a:gd name="T48" fmla="*/ 10 w 788"/>
                  <a:gd name="T49" fmla="*/ 27 h 794"/>
                  <a:gd name="T50" fmla="*/ 19 w 788"/>
                  <a:gd name="T51" fmla="*/ 17 h 794"/>
                  <a:gd name="T52" fmla="*/ 27 w 788"/>
                  <a:gd name="T53" fmla="*/ 10 h 794"/>
                  <a:gd name="T54" fmla="*/ 37 w 788"/>
                  <a:gd name="T55" fmla="*/ 5 h 794"/>
                  <a:gd name="T56" fmla="*/ 43 w 788"/>
                  <a:gd name="T57" fmla="*/ 2 h 794"/>
                  <a:gd name="T58" fmla="*/ 49 w 788"/>
                  <a:gd name="T59" fmla="*/ 1 h 794"/>
                  <a:gd name="T60" fmla="*/ 56 w 788"/>
                  <a:gd name="T61" fmla="*/ 0 h 794"/>
                  <a:gd name="T62" fmla="*/ 62 w 788"/>
                  <a:gd name="T63" fmla="*/ 0 h 794"/>
                  <a:gd name="T64" fmla="*/ 727 w 788"/>
                  <a:gd name="T65" fmla="*/ 0 h 794"/>
                  <a:gd name="T66" fmla="*/ 733 w 788"/>
                  <a:gd name="T67" fmla="*/ 0 h 794"/>
                  <a:gd name="T68" fmla="*/ 739 w 788"/>
                  <a:gd name="T69" fmla="*/ 1 h 794"/>
                  <a:gd name="T70" fmla="*/ 746 w 788"/>
                  <a:gd name="T71" fmla="*/ 2 h 794"/>
                  <a:gd name="T72" fmla="*/ 750 w 788"/>
                  <a:gd name="T73" fmla="*/ 5 h 794"/>
                  <a:gd name="T74" fmla="*/ 761 w 788"/>
                  <a:gd name="T75" fmla="*/ 10 h 794"/>
                  <a:gd name="T76" fmla="*/ 770 w 788"/>
                  <a:gd name="T77" fmla="*/ 17 h 794"/>
                  <a:gd name="T78" fmla="*/ 777 w 788"/>
                  <a:gd name="T79" fmla="*/ 27 h 794"/>
                  <a:gd name="T80" fmla="*/ 783 w 788"/>
                  <a:gd name="T81" fmla="*/ 37 h 794"/>
                  <a:gd name="T82" fmla="*/ 786 w 788"/>
                  <a:gd name="T83" fmla="*/ 43 h 794"/>
                  <a:gd name="T84" fmla="*/ 787 w 788"/>
                  <a:gd name="T85" fmla="*/ 49 h 794"/>
                  <a:gd name="T86" fmla="*/ 788 w 788"/>
                  <a:gd name="T87" fmla="*/ 55 h 794"/>
                  <a:gd name="T88" fmla="*/ 788 w 788"/>
                  <a:gd name="T89" fmla="*/ 62 h 794"/>
                  <a:gd name="T90" fmla="*/ 788 w 788"/>
                  <a:gd name="T91" fmla="*/ 732 h 794"/>
                  <a:gd name="T92" fmla="*/ 788 w 788"/>
                  <a:gd name="T93" fmla="*/ 737 h 794"/>
                  <a:gd name="T94" fmla="*/ 787 w 788"/>
                  <a:gd name="T95" fmla="*/ 743 h 794"/>
                  <a:gd name="T96" fmla="*/ 786 w 788"/>
                  <a:gd name="T97" fmla="*/ 749 h 794"/>
                  <a:gd name="T98" fmla="*/ 783 w 788"/>
                  <a:gd name="T99" fmla="*/ 755 h 794"/>
                  <a:gd name="T100" fmla="*/ 777 w 788"/>
                  <a:gd name="T101" fmla="*/ 766 h 794"/>
                  <a:gd name="T102" fmla="*/ 770 w 788"/>
                  <a:gd name="T103" fmla="*/ 775 h 794"/>
                  <a:gd name="T104" fmla="*/ 761 w 788"/>
                  <a:gd name="T105" fmla="*/ 783 h 794"/>
                  <a:gd name="T106" fmla="*/ 750 w 788"/>
                  <a:gd name="T107" fmla="*/ 788 h 794"/>
                  <a:gd name="T108" fmla="*/ 746 w 788"/>
                  <a:gd name="T109" fmla="*/ 790 h 794"/>
                  <a:gd name="T110" fmla="*/ 739 w 788"/>
                  <a:gd name="T111" fmla="*/ 793 h 794"/>
                  <a:gd name="T112" fmla="*/ 733 w 788"/>
                  <a:gd name="T113" fmla="*/ 793 h 794"/>
                  <a:gd name="T114" fmla="*/ 727 w 788"/>
                  <a:gd name="T115" fmla="*/ 794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8" h="794">
                    <a:moveTo>
                      <a:pt x="70" y="723"/>
                    </a:moveTo>
                    <a:lnTo>
                      <a:pt x="719" y="723"/>
                    </a:lnTo>
                    <a:lnTo>
                      <a:pt x="719" y="70"/>
                    </a:lnTo>
                    <a:lnTo>
                      <a:pt x="70" y="70"/>
                    </a:lnTo>
                    <a:lnTo>
                      <a:pt x="70" y="723"/>
                    </a:lnTo>
                    <a:close/>
                    <a:moveTo>
                      <a:pt x="727" y="794"/>
                    </a:moveTo>
                    <a:lnTo>
                      <a:pt x="62" y="794"/>
                    </a:lnTo>
                    <a:lnTo>
                      <a:pt x="56" y="793"/>
                    </a:lnTo>
                    <a:lnTo>
                      <a:pt x="49" y="793"/>
                    </a:lnTo>
                    <a:lnTo>
                      <a:pt x="43" y="790"/>
                    </a:lnTo>
                    <a:lnTo>
                      <a:pt x="37" y="788"/>
                    </a:lnTo>
                    <a:lnTo>
                      <a:pt x="27" y="783"/>
                    </a:lnTo>
                    <a:lnTo>
                      <a:pt x="19" y="775"/>
                    </a:lnTo>
                    <a:lnTo>
                      <a:pt x="10" y="766"/>
                    </a:lnTo>
                    <a:lnTo>
                      <a:pt x="5" y="755"/>
                    </a:lnTo>
                    <a:lnTo>
                      <a:pt x="2" y="749"/>
                    </a:lnTo>
                    <a:lnTo>
                      <a:pt x="1" y="743"/>
                    </a:lnTo>
                    <a:lnTo>
                      <a:pt x="0" y="737"/>
                    </a:lnTo>
                    <a:lnTo>
                      <a:pt x="0" y="732"/>
                    </a:lnTo>
                    <a:lnTo>
                      <a:pt x="0" y="62"/>
                    </a:lnTo>
                    <a:lnTo>
                      <a:pt x="0" y="55"/>
                    </a:lnTo>
                    <a:lnTo>
                      <a:pt x="1" y="49"/>
                    </a:lnTo>
                    <a:lnTo>
                      <a:pt x="2" y="43"/>
                    </a:lnTo>
                    <a:lnTo>
                      <a:pt x="5" y="37"/>
                    </a:lnTo>
                    <a:lnTo>
                      <a:pt x="10" y="27"/>
                    </a:lnTo>
                    <a:lnTo>
                      <a:pt x="19" y="17"/>
                    </a:lnTo>
                    <a:lnTo>
                      <a:pt x="27" y="10"/>
                    </a:lnTo>
                    <a:lnTo>
                      <a:pt x="37" y="5"/>
                    </a:lnTo>
                    <a:lnTo>
                      <a:pt x="43" y="2"/>
                    </a:lnTo>
                    <a:lnTo>
                      <a:pt x="49" y="1"/>
                    </a:lnTo>
                    <a:lnTo>
                      <a:pt x="56" y="0"/>
                    </a:lnTo>
                    <a:lnTo>
                      <a:pt x="62" y="0"/>
                    </a:lnTo>
                    <a:lnTo>
                      <a:pt x="727" y="0"/>
                    </a:lnTo>
                    <a:lnTo>
                      <a:pt x="733" y="0"/>
                    </a:lnTo>
                    <a:lnTo>
                      <a:pt x="739" y="1"/>
                    </a:lnTo>
                    <a:lnTo>
                      <a:pt x="746" y="2"/>
                    </a:lnTo>
                    <a:lnTo>
                      <a:pt x="750" y="5"/>
                    </a:lnTo>
                    <a:lnTo>
                      <a:pt x="761" y="10"/>
                    </a:lnTo>
                    <a:lnTo>
                      <a:pt x="770" y="17"/>
                    </a:lnTo>
                    <a:lnTo>
                      <a:pt x="777" y="27"/>
                    </a:lnTo>
                    <a:lnTo>
                      <a:pt x="783" y="37"/>
                    </a:lnTo>
                    <a:lnTo>
                      <a:pt x="786" y="43"/>
                    </a:lnTo>
                    <a:lnTo>
                      <a:pt x="787" y="49"/>
                    </a:lnTo>
                    <a:lnTo>
                      <a:pt x="788" y="55"/>
                    </a:lnTo>
                    <a:lnTo>
                      <a:pt x="788" y="62"/>
                    </a:lnTo>
                    <a:lnTo>
                      <a:pt x="788" y="732"/>
                    </a:lnTo>
                    <a:lnTo>
                      <a:pt x="788" y="737"/>
                    </a:lnTo>
                    <a:lnTo>
                      <a:pt x="787" y="743"/>
                    </a:lnTo>
                    <a:lnTo>
                      <a:pt x="786" y="749"/>
                    </a:lnTo>
                    <a:lnTo>
                      <a:pt x="783" y="755"/>
                    </a:lnTo>
                    <a:lnTo>
                      <a:pt x="777" y="766"/>
                    </a:lnTo>
                    <a:lnTo>
                      <a:pt x="770" y="775"/>
                    </a:lnTo>
                    <a:lnTo>
                      <a:pt x="761" y="783"/>
                    </a:lnTo>
                    <a:lnTo>
                      <a:pt x="750" y="788"/>
                    </a:lnTo>
                    <a:lnTo>
                      <a:pt x="746" y="790"/>
                    </a:lnTo>
                    <a:lnTo>
                      <a:pt x="739" y="793"/>
                    </a:lnTo>
                    <a:lnTo>
                      <a:pt x="733" y="793"/>
                    </a:lnTo>
                    <a:lnTo>
                      <a:pt x="727" y="794"/>
                    </a:lnTo>
                    <a:close/>
                  </a:path>
                </a:pathLst>
              </a:cu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53" name="Freeform 241"/>
              <p:cNvSpPr>
                <a:spLocks noEditPoints="1"/>
              </p:cNvSpPr>
              <p:nvPr/>
            </p:nvSpPr>
            <p:spPr bwMode="auto">
              <a:xfrm>
                <a:off x="5645151" y="4616451"/>
                <a:ext cx="854075" cy="681038"/>
              </a:xfrm>
              <a:custGeom>
                <a:avLst/>
                <a:gdLst>
                  <a:gd name="T0" fmla="*/ 2131 w 2155"/>
                  <a:gd name="T1" fmla="*/ 1693 h 1716"/>
                  <a:gd name="T2" fmla="*/ 1704 w 2155"/>
                  <a:gd name="T3" fmla="*/ 1516 h 1716"/>
                  <a:gd name="T4" fmla="*/ 1679 w 2155"/>
                  <a:gd name="T5" fmla="*/ 1693 h 1716"/>
                  <a:gd name="T6" fmla="*/ 705 w 2155"/>
                  <a:gd name="T7" fmla="*/ 1516 h 1716"/>
                  <a:gd name="T8" fmla="*/ 682 w 2155"/>
                  <a:gd name="T9" fmla="*/ 1693 h 1716"/>
                  <a:gd name="T10" fmla="*/ 118 w 2155"/>
                  <a:gd name="T11" fmla="*/ 1516 h 1716"/>
                  <a:gd name="T12" fmla="*/ 93 w 2155"/>
                  <a:gd name="T13" fmla="*/ 1693 h 1716"/>
                  <a:gd name="T14" fmla="*/ 891 w 2155"/>
                  <a:gd name="T15" fmla="*/ 881 h 1716"/>
                  <a:gd name="T16" fmla="*/ 985 w 2155"/>
                  <a:gd name="T17" fmla="*/ 818 h 1716"/>
                  <a:gd name="T18" fmla="*/ 703 w 2155"/>
                  <a:gd name="T19" fmla="*/ 46 h 1716"/>
                  <a:gd name="T20" fmla="*/ 744 w 2155"/>
                  <a:gd name="T21" fmla="*/ 24 h 1716"/>
                  <a:gd name="T22" fmla="*/ 1444 w 2155"/>
                  <a:gd name="T23" fmla="*/ 39 h 1716"/>
                  <a:gd name="T24" fmla="*/ 1458 w 2155"/>
                  <a:gd name="T25" fmla="*/ 744 h 1716"/>
                  <a:gd name="T26" fmla="*/ 1437 w 2155"/>
                  <a:gd name="T27" fmla="*/ 785 h 1716"/>
                  <a:gd name="T28" fmla="*/ 734 w 2155"/>
                  <a:gd name="T29" fmla="*/ 792 h 1716"/>
                  <a:gd name="T30" fmla="*/ 698 w 2155"/>
                  <a:gd name="T31" fmla="*/ 762 h 1716"/>
                  <a:gd name="T32" fmla="*/ 2044 w 2155"/>
                  <a:gd name="T33" fmla="*/ 1007 h 1716"/>
                  <a:gd name="T34" fmla="*/ 1704 w 2155"/>
                  <a:gd name="T35" fmla="*/ 1182 h 1716"/>
                  <a:gd name="T36" fmla="*/ 1692 w 2155"/>
                  <a:gd name="T37" fmla="*/ 1006 h 1716"/>
                  <a:gd name="T38" fmla="*/ 1448 w 2155"/>
                  <a:gd name="T39" fmla="*/ 1018 h 1716"/>
                  <a:gd name="T40" fmla="*/ 1282 w 2155"/>
                  <a:gd name="T41" fmla="*/ 860 h 1716"/>
                  <a:gd name="T42" fmla="*/ 1409 w 2155"/>
                  <a:gd name="T43" fmla="*/ 818 h 1716"/>
                  <a:gd name="T44" fmla="*/ 1444 w 2155"/>
                  <a:gd name="T45" fmla="*/ 808 h 1716"/>
                  <a:gd name="T46" fmla="*/ 1470 w 2155"/>
                  <a:gd name="T47" fmla="*/ 785 h 1716"/>
                  <a:gd name="T48" fmla="*/ 1483 w 2155"/>
                  <a:gd name="T49" fmla="*/ 751 h 1716"/>
                  <a:gd name="T50" fmla="*/ 1479 w 2155"/>
                  <a:gd name="T51" fmla="*/ 52 h 1716"/>
                  <a:gd name="T52" fmla="*/ 1462 w 2155"/>
                  <a:gd name="T53" fmla="*/ 21 h 1716"/>
                  <a:gd name="T54" fmla="*/ 1431 w 2155"/>
                  <a:gd name="T55" fmla="*/ 4 h 1716"/>
                  <a:gd name="T56" fmla="*/ 737 w 2155"/>
                  <a:gd name="T57" fmla="*/ 0 h 1716"/>
                  <a:gd name="T58" fmla="*/ 703 w 2155"/>
                  <a:gd name="T59" fmla="*/ 13 h 1716"/>
                  <a:gd name="T60" fmla="*/ 678 w 2155"/>
                  <a:gd name="T61" fmla="*/ 39 h 1716"/>
                  <a:gd name="T62" fmla="*/ 670 w 2155"/>
                  <a:gd name="T63" fmla="*/ 74 h 1716"/>
                  <a:gd name="T64" fmla="*/ 676 w 2155"/>
                  <a:gd name="T65" fmla="*/ 772 h 1716"/>
                  <a:gd name="T66" fmla="*/ 697 w 2155"/>
                  <a:gd name="T67" fmla="*/ 800 h 1716"/>
                  <a:gd name="T68" fmla="*/ 729 w 2155"/>
                  <a:gd name="T69" fmla="*/ 816 h 1716"/>
                  <a:gd name="T70" fmla="*/ 879 w 2155"/>
                  <a:gd name="T71" fmla="*/ 856 h 1716"/>
                  <a:gd name="T72" fmla="*/ 867 w 2155"/>
                  <a:gd name="T73" fmla="*/ 1182 h 1716"/>
                  <a:gd name="T74" fmla="*/ 698 w 2155"/>
                  <a:gd name="T75" fmla="*/ 1007 h 1716"/>
                  <a:gd name="T76" fmla="*/ 451 w 2155"/>
                  <a:gd name="T77" fmla="*/ 1014 h 1716"/>
                  <a:gd name="T78" fmla="*/ 117 w 2155"/>
                  <a:gd name="T79" fmla="*/ 1014 h 1716"/>
                  <a:gd name="T80" fmla="*/ 7 w 2155"/>
                  <a:gd name="T81" fmla="*/ 1007 h 1716"/>
                  <a:gd name="T82" fmla="*/ 1 w 2155"/>
                  <a:gd name="T83" fmla="*/ 1709 h 1716"/>
                  <a:gd name="T84" fmla="*/ 111 w 2155"/>
                  <a:gd name="T85" fmla="*/ 1716 h 1716"/>
                  <a:gd name="T86" fmla="*/ 449 w 2155"/>
                  <a:gd name="T87" fmla="*/ 1541 h 1716"/>
                  <a:gd name="T88" fmla="*/ 461 w 2155"/>
                  <a:gd name="T89" fmla="*/ 1716 h 1716"/>
                  <a:gd name="T90" fmla="*/ 705 w 2155"/>
                  <a:gd name="T91" fmla="*/ 1704 h 1716"/>
                  <a:gd name="T92" fmla="*/ 1451 w 2155"/>
                  <a:gd name="T93" fmla="*/ 1713 h 1716"/>
                  <a:gd name="T94" fmla="*/ 1700 w 2155"/>
                  <a:gd name="T95" fmla="*/ 1713 h 1716"/>
                  <a:gd name="T96" fmla="*/ 2036 w 2155"/>
                  <a:gd name="T97" fmla="*/ 1704 h 1716"/>
                  <a:gd name="T98" fmla="*/ 2143 w 2155"/>
                  <a:gd name="T99" fmla="*/ 1716 h 1716"/>
                  <a:gd name="T100" fmla="*/ 2155 w 2155"/>
                  <a:gd name="T101" fmla="*/ 1018 h 1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55" h="1716">
                    <a:moveTo>
                      <a:pt x="2131" y="1693"/>
                    </a:moveTo>
                    <a:lnTo>
                      <a:pt x="2061" y="1693"/>
                    </a:lnTo>
                    <a:lnTo>
                      <a:pt x="2061" y="1030"/>
                    </a:lnTo>
                    <a:lnTo>
                      <a:pt x="2131" y="1030"/>
                    </a:lnTo>
                    <a:lnTo>
                      <a:pt x="2131" y="1693"/>
                    </a:lnTo>
                    <a:close/>
                    <a:moveTo>
                      <a:pt x="1704" y="1516"/>
                    </a:moveTo>
                    <a:lnTo>
                      <a:pt x="1704" y="1206"/>
                    </a:lnTo>
                    <a:lnTo>
                      <a:pt x="2036" y="1206"/>
                    </a:lnTo>
                    <a:lnTo>
                      <a:pt x="2036" y="1516"/>
                    </a:lnTo>
                    <a:lnTo>
                      <a:pt x="1704" y="1516"/>
                    </a:lnTo>
                    <a:close/>
                    <a:moveTo>
                      <a:pt x="1679" y="1693"/>
                    </a:moveTo>
                    <a:lnTo>
                      <a:pt x="1471" y="1693"/>
                    </a:lnTo>
                    <a:lnTo>
                      <a:pt x="1471" y="1030"/>
                    </a:lnTo>
                    <a:lnTo>
                      <a:pt x="1679" y="1030"/>
                    </a:lnTo>
                    <a:lnTo>
                      <a:pt x="1679" y="1693"/>
                    </a:lnTo>
                    <a:close/>
                    <a:moveTo>
                      <a:pt x="705" y="1516"/>
                    </a:moveTo>
                    <a:lnTo>
                      <a:pt x="705" y="1206"/>
                    </a:lnTo>
                    <a:lnTo>
                      <a:pt x="1448" y="1206"/>
                    </a:lnTo>
                    <a:lnTo>
                      <a:pt x="1448" y="1516"/>
                    </a:lnTo>
                    <a:lnTo>
                      <a:pt x="705" y="1516"/>
                    </a:lnTo>
                    <a:close/>
                    <a:moveTo>
                      <a:pt x="682" y="1693"/>
                    </a:moveTo>
                    <a:lnTo>
                      <a:pt x="473" y="1693"/>
                    </a:lnTo>
                    <a:lnTo>
                      <a:pt x="473" y="1030"/>
                    </a:lnTo>
                    <a:lnTo>
                      <a:pt x="682" y="1030"/>
                    </a:lnTo>
                    <a:lnTo>
                      <a:pt x="682" y="1693"/>
                    </a:lnTo>
                    <a:close/>
                    <a:moveTo>
                      <a:pt x="118" y="1516"/>
                    </a:moveTo>
                    <a:lnTo>
                      <a:pt x="118" y="1206"/>
                    </a:lnTo>
                    <a:lnTo>
                      <a:pt x="449" y="1206"/>
                    </a:lnTo>
                    <a:lnTo>
                      <a:pt x="449" y="1516"/>
                    </a:lnTo>
                    <a:lnTo>
                      <a:pt x="118" y="1516"/>
                    </a:lnTo>
                    <a:close/>
                    <a:moveTo>
                      <a:pt x="93" y="1693"/>
                    </a:moveTo>
                    <a:lnTo>
                      <a:pt x="24" y="1693"/>
                    </a:lnTo>
                    <a:lnTo>
                      <a:pt x="24" y="1030"/>
                    </a:lnTo>
                    <a:lnTo>
                      <a:pt x="93" y="1030"/>
                    </a:lnTo>
                    <a:lnTo>
                      <a:pt x="93" y="1693"/>
                    </a:lnTo>
                    <a:close/>
                    <a:moveTo>
                      <a:pt x="891" y="881"/>
                    </a:moveTo>
                    <a:lnTo>
                      <a:pt x="1261" y="881"/>
                    </a:lnTo>
                    <a:lnTo>
                      <a:pt x="1261" y="1182"/>
                    </a:lnTo>
                    <a:lnTo>
                      <a:pt x="891" y="1182"/>
                    </a:lnTo>
                    <a:lnTo>
                      <a:pt x="891" y="881"/>
                    </a:lnTo>
                    <a:close/>
                    <a:moveTo>
                      <a:pt x="985" y="818"/>
                    </a:moveTo>
                    <a:lnTo>
                      <a:pt x="1167" y="818"/>
                    </a:lnTo>
                    <a:lnTo>
                      <a:pt x="1167" y="856"/>
                    </a:lnTo>
                    <a:lnTo>
                      <a:pt x="985" y="856"/>
                    </a:lnTo>
                    <a:lnTo>
                      <a:pt x="985" y="818"/>
                    </a:lnTo>
                    <a:close/>
                    <a:moveTo>
                      <a:pt x="694" y="744"/>
                    </a:moveTo>
                    <a:lnTo>
                      <a:pt x="694" y="74"/>
                    </a:lnTo>
                    <a:lnTo>
                      <a:pt x="695" y="64"/>
                    </a:lnTo>
                    <a:lnTo>
                      <a:pt x="698" y="54"/>
                    </a:lnTo>
                    <a:lnTo>
                      <a:pt x="703" y="46"/>
                    </a:lnTo>
                    <a:lnTo>
                      <a:pt x="709" y="39"/>
                    </a:lnTo>
                    <a:lnTo>
                      <a:pt x="716" y="32"/>
                    </a:lnTo>
                    <a:lnTo>
                      <a:pt x="724" y="28"/>
                    </a:lnTo>
                    <a:lnTo>
                      <a:pt x="734" y="25"/>
                    </a:lnTo>
                    <a:lnTo>
                      <a:pt x="744" y="24"/>
                    </a:lnTo>
                    <a:lnTo>
                      <a:pt x="1409" y="24"/>
                    </a:lnTo>
                    <a:lnTo>
                      <a:pt x="1418" y="25"/>
                    </a:lnTo>
                    <a:lnTo>
                      <a:pt x="1428" y="28"/>
                    </a:lnTo>
                    <a:lnTo>
                      <a:pt x="1437" y="32"/>
                    </a:lnTo>
                    <a:lnTo>
                      <a:pt x="1444" y="39"/>
                    </a:lnTo>
                    <a:lnTo>
                      <a:pt x="1450" y="46"/>
                    </a:lnTo>
                    <a:lnTo>
                      <a:pt x="1455" y="54"/>
                    </a:lnTo>
                    <a:lnTo>
                      <a:pt x="1458" y="64"/>
                    </a:lnTo>
                    <a:lnTo>
                      <a:pt x="1458" y="74"/>
                    </a:lnTo>
                    <a:lnTo>
                      <a:pt x="1458" y="744"/>
                    </a:lnTo>
                    <a:lnTo>
                      <a:pt x="1458" y="753"/>
                    </a:lnTo>
                    <a:lnTo>
                      <a:pt x="1455" y="762"/>
                    </a:lnTo>
                    <a:lnTo>
                      <a:pt x="1450" y="771"/>
                    </a:lnTo>
                    <a:lnTo>
                      <a:pt x="1444" y="779"/>
                    </a:lnTo>
                    <a:lnTo>
                      <a:pt x="1437" y="785"/>
                    </a:lnTo>
                    <a:lnTo>
                      <a:pt x="1428" y="789"/>
                    </a:lnTo>
                    <a:lnTo>
                      <a:pt x="1418" y="792"/>
                    </a:lnTo>
                    <a:lnTo>
                      <a:pt x="1409" y="793"/>
                    </a:lnTo>
                    <a:lnTo>
                      <a:pt x="744" y="793"/>
                    </a:lnTo>
                    <a:lnTo>
                      <a:pt x="734" y="792"/>
                    </a:lnTo>
                    <a:lnTo>
                      <a:pt x="724" y="789"/>
                    </a:lnTo>
                    <a:lnTo>
                      <a:pt x="716" y="785"/>
                    </a:lnTo>
                    <a:lnTo>
                      <a:pt x="709" y="779"/>
                    </a:lnTo>
                    <a:lnTo>
                      <a:pt x="703" y="771"/>
                    </a:lnTo>
                    <a:lnTo>
                      <a:pt x="698" y="762"/>
                    </a:lnTo>
                    <a:lnTo>
                      <a:pt x="695" y="753"/>
                    </a:lnTo>
                    <a:lnTo>
                      <a:pt x="694" y="744"/>
                    </a:lnTo>
                    <a:close/>
                    <a:moveTo>
                      <a:pt x="2143" y="1006"/>
                    </a:moveTo>
                    <a:lnTo>
                      <a:pt x="2049" y="1006"/>
                    </a:lnTo>
                    <a:lnTo>
                      <a:pt x="2044" y="1007"/>
                    </a:lnTo>
                    <a:lnTo>
                      <a:pt x="2041" y="1009"/>
                    </a:lnTo>
                    <a:lnTo>
                      <a:pt x="2037" y="1014"/>
                    </a:lnTo>
                    <a:lnTo>
                      <a:pt x="2036" y="1018"/>
                    </a:lnTo>
                    <a:lnTo>
                      <a:pt x="2036" y="1182"/>
                    </a:lnTo>
                    <a:lnTo>
                      <a:pt x="1704" y="1182"/>
                    </a:lnTo>
                    <a:lnTo>
                      <a:pt x="1704" y="1018"/>
                    </a:lnTo>
                    <a:lnTo>
                      <a:pt x="1703" y="1014"/>
                    </a:lnTo>
                    <a:lnTo>
                      <a:pt x="1700" y="1009"/>
                    </a:lnTo>
                    <a:lnTo>
                      <a:pt x="1697" y="1007"/>
                    </a:lnTo>
                    <a:lnTo>
                      <a:pt x="1692" y="1006"/>
                    </a:lnTo>
                    <a:lnTo>
                      <a:pt x="1459" y="1006"/>
                    </a:lnTo>
                    <a:lnTo>
                      <a:pt x="1455" y="1007"/>
                    </a:lnTo>
                    <a:lnTo>
                      <a:pt x="1451" y="1009"/>
                    </a:lnTo>
                    <a:lnTo>
                      <a:pt x="1449" y="1014"/>
                    </a:lnTo>
                    <a:lnTo>
                      <a:pt x="1448" y="1018"/>
                    </a:lnTo>
                    <a:lnTo>
                      <a:pt x="1448" y="1182"/>
                    </a:lnTo>
                    <a:lnTo>
                      <a:pt x="1286" y="1182"/>
                    </a:lnTo>
                    <a:lnTo>
                      <a:pt x="1286" y="869"/>
                    </a:lnTo>
                    <a:lnTo>
                      <a:pt x="1284" y="865"/>
                    </a:lnTo>
                    <a:lnTo>
                      <a:pt x="1282" y="860"/>
                    </a:lnTo>
                    <a:lnTo>
                      <a:pt x="1279" y="858"/>
                    </a:lnTo>
                    <a:lnTo>
                      <a:pt x="1273" y="856"/>
                    </a:lnTo>
                    <a:lnTo>
                      <a:pt x="1192" y="856"/>
                    </a:lnTo>
                    <a:lnTo>
                      <a:pt x="1192" y="818"/>
                    </a:lnTo>
                    <a:lnTo>
                      <a:pt x="1409" y="818"/>
                    </a:lnTo>
                    <a:lnTo>
                      <a:pt x="1416" y="816"/>
                    </a:lnTo>
                    <a:lnTo>
                      <a:pt x="1424" y="816"/>
                    </a:lnTo>
                    <a:lnTo>
                      <a:pt x="1431" y="814"/>
                    </a:lnTo>
                    <a:lnTo>
                      <a:pt x="1437" y="812"/>
                    </a:lnTo>
                    <a:lnTo>
                      <a:pt x="1444" y="808"/>
                    </a:lnTo>
                    <a:lnTo>
                      <a:pt x="1450" y="805"/>
                    </a:lnTo>
                    <a:lnTo>
                      <a:pt x="1456" y="800"/>
                    </a:lnTo>
                    <a:lnTo>
                      <a:pt x="1462" y="795"/>
                    </a:lnTo>
                    <a:lnTo>
                      <a:pt x="1466" y="791"/>
                    </a:lnTo>
                    <a:lnTo>
                      <a:pt x="1470" y="785"/>
                    </a:lnTo>
                    <a:lnTo>
                      <a:pt x="1474" y="779"/>
                    </a:lnTo>
                    <a:lnTo>
                      <a:pt x="1477" y="772"/>
                    </a:lnTo>
                    <a:lnTo>
                      <a:pt x="1479" y="765"/>
                    </a:lnTo>
                    <a:lnTo>
                      <a:pt x="1482" y="758"/>
                    </a:lnTo>
                    <a:lnTo>
                      <a:pt x="1483" y="751"/>
                    </a:lnTo>
                    <a:lnTo>
                      <a:pt x="1483" y="744"/>
                    </a:lnTo>
                    <a:lnTo>
                      <a:pt x="1483" y="74"/>
                    </a:lnTo>
                    <a:lnTo>
                      <a:pt x="1483" y="66"/>
                    </a:lnTo>
                    <a:lnTo>
                      <a:pt x="1482" y="59"/>
                    </a:lnTo>
                    <a:lnTo>
                      <a:pt x="1479" y="52"/>
                    </a:lnTo>
                    <a:lnTo>
                      <a:pt x="1477" y="45"/>
                    </a:lnTo>
                    <a:lnTo>
                      <a:pt x="1474" y="39"/>
                    </a:lnTo>
                    <a:lnTo>
                      <a:pt x="1470" y="33"/>
                    </a:lnTo>
                    <a:lnTo>
                      <a:pt x="1466" y="27"/>
                    </a:lnTo>
                    <a:lnTo>
                      <a:pt x="1462" y="21"/>
                    </a:lnTo>
                    <a:lnTo>
                      <a:pt x="1456" y="17"/>
                    </a:lnTo>
                    <a:lnTo>
                      <a:pt x="1450" y="13"/>
                    </a:lnTo>
                    <a:lnTo>
                      <a:pt x="1444" y="8"/>
                    </a:lnTo>
                    <a:lnTo>
                      <a:pt x="1437" y="6"/>
                    </a:lnTo>
                    <a:lnTo>
                      <a:pt x="1431" y="4"/>
                    </a:lnTo>
                    <a:lnTo>
                      <a:pt x="1424" y="1"/>
                    </a:lnTo>
                    <a:lnTo>
                      <a:pt x="1416" y="0"/>
                    </a:lnTo>
                    <a:lnTo>
                      <a:pt x="1409" y="0"/>
                    </a:lnTo>
                    <a:lnTo>
                      <a:pt x="744" y="0"/>
                    </a:lnTo>
                    <a:lnTo>
                      <a:pt x="737" y="0"/>
                    </a:lnTo>
                    <a:lnTo>
                      <a:pt x="729" y="1"/>
                    </a:lnTo>
                    <a:lnTo>
                      <a:pt x="722" y="4"/>
                    </a:lnTo>
                    <a:lnTo>
                      <a:pt x="715" y="6"/>
                    </a:lnTo>
                    <a:lnTo>
                      <a:pt x="709" y="8"/>
                    </a:lnTo>
                    <a:lnTo>
                      <a:pt x="703" y="13"/>
                    </a:lnTo>
                    <a:lnTo>
                      <a:pt x="697" y="17"/>
                    </a:lnTo>
                    <a:lnTo>
                      <a:pt x="691" y="21"/>
                    </a:lnTo>
                    <a:lnTo>
                      <a:pt x="687" y="27"/>
                    </a:lnTo>
                    <a:lnTo>
                      <a:pt x="683" y="33"/>
                    </a:lnTo>
                    <a:lnTo>
                      <a:pt x="678" y="39"/>
                    </a:lnTo>
                    <a:lnTo>
                      <a:pt x="676" y="45"/>
                    </a:lnTo>
                    <a:lnTo>
                      <a:pt x="674" y="52"/>
                    </a:lnTo>
                    <a:lnTo>
                      <a:pt x="671" y="59"/>
                    </a:lnTo>
                    <a:lnTo>
                      <a:pt x="670" y="66"/>
                    </a:lnTo>
                    <a:lnTo>
                      <a:pt x="670" y="74"/>
                    </a:lnTo>
                    <a:lnTo>
                      <a:pt x="670" y="744"/>
                    </a:lnTo>
                    <a:lnTo>
                      <a:pt x="670" y="751"/>
                    </a:lnTo>
                    <a:lnTo>
                      <a:pt x="671" y="758"/>
                    </a:lnTo>
                    <a:lnTo>
                      <a:pt x="674" y="765"/>
                    </a:lnTo>
                    <a:lnTo>
                      <a:pt x="676" y="772"/>
                    </a:lnTo>
                    <a:lnTo>
                      <a:pt x="678" y="779"/>
                    </a:lnTo>
                    <a:lnTo>
                      <a:pt x="683" y="785"/>
                    </a:lnTo>
                    <a:lnTo>
                      <a:pt x="687" y="791"/>
                    </a:lnTo>
                    <a:lnTo>
                      <a:pt x="691" y="795"/>
                    </a:lnTo>
                    <a:lnTo>
                      <a:pt x="697" y="800"/>
                    </a:lnTo>
                    <a:lnTo>
                      <a:pt x="703" y="805"/>
                    </a:lnTo>
                    <a:lnTo>
                      <a:pt x="709" y="808"/>
                    </a:lnTo>
                    <a:lnTo>
                      <a:pt x="715" y="812"/>
                    </a:lnTo>
                    <a:lnTo>
                      <a:pt x="722" y="814"/>
                    </a:lnTo>
                    <a:lnTo>
                      <a:pt x="729" y="816"/>
                    </a:lnTo>
                    <a:lnTo>
                      <a:pt x="737" y="816"/>
                    </a:lnTo>
                    <a:lnTo>
                      <a:pt x="744" y="818"/>
                    </a:lnTo>
                    <a:lnTo>
                      <a:pt x="961" y="818"/>
                    </a:lnTo>
                    <a:lnTo>
                      <a:pt x="961" y="856"/>
                    </a:lnTo>
                    <a:lnTo>
                      <a:pt x="879" y="856"/>
                    </a:lnTo>
                    <a:lnTo>
                      <a:pt x="875" y="858"/>
                    </a:lnTo>
                    <a:lnTo>
                      <a:pt x="871" y="860"/>
                    </a:lnTo>
                    <a:lnTo>
                      <a:pt x="869" y="865"/>
                    </a:lnTo>
                    <a:lnTo>
                      <a:pt x="867" y="869"/>
                    </a:lnTo>
                    <a:lnTo>
                      <a:pt x="867" y="1182"/>
                    </a:lnTo>
                    <a:lnTo>
                      <a:pt x="705" y="1182"/>
                    </a:lnTo>
                    <a:lnTo>
                      <a:pt x="705" y="1018"/>
                    </a:lnTo>
                    <a:lnTo>
                      <a:pt x="704" y="1014"/>
                    </a:lnTo>
                    <a:lnTo>
                      <a:pt x="702" y="1009"/>
                    </a:lnTo>
                    <a:lnTo>
                      <a:pt x="698" y="1007"/>
                    </a:lnTo>
                    <a:lnTo>
                      <a:pt x="694" y="1006"/>
                    </a:lnTo>
                    <a:lnTo>
                      <a:pt x="461" y="1006"/>
                    </a:lnTo>
                    <a:lnTo>
                      <a:pt x="456" y="1007"/>
                    </a:lnTo>
                    <a:lnTo>
                      <a:pt x="453" y="1009"/>
                    </a:lnTo>
                    <a:lnTo>
                      <a:pt x="451" y="1014"/>
                    </a:lnTo>
                    <a:lnTo>
                      <a:pt x="449" y="1018"/>
                    </a:lnTo>
                    <a:lnTo>
                      <a:pt x="449" y="1182"/>
                    </a:lnTo>
                    <a:lnTo>
                      <a:pt x="118" y="1182"/>
                    </a:lnTo>
                    <a:lnTo>
                      <a:pt x="118" y="1018"/>
                    </a:lnTo>
                    <a:lnTo>
                      <a:pt x="117" y="1014"/>
                    </a:lnTo>
                    <a:lnTo>
                      <a:pt x="115" y="1009"/>
                    </a:lnTo>
                    <a:lnTo>
                      <a:pt x="111" y="1007"/>
                    </a:lnTo>
                    <a:lnTo>
                      <a:pt x="105" y="1006"/>
                    </a:lnTo>
                    <a:lnTo>
                      <a:pt x="11" y="1006"/>
                    </a:lnTo>
                    <a:lnTo>
                      <a:pt x="7" y="1007"/>
                    </a:lnTo>
                    <a:lnTo>
                      <a:pt x="3" y="1009"/>
                    </a:lnTo>
                    <a:lnTo>
                      <a:pt x="1" y="1014"/>
                    </a:lnTo>
                    <a:lnTo>
                      <a:pt x="0" y="1018"/>
                    </a:lnTo>
                    <a:lnTo>
                      <a:pt x="0" y="1704"/>
                    </a:lnTo>
                    <a:lnTo>
                      <a:pt x="1" y="1709"/>
                    </a:lnTo>
                    <a:lnTo>
                      <a:pt x="3" y="1713"/>
                    </a:lnTo>
                    <a:lnTo>
                      <a:pt x="7" y="1716"/>
                    </a:lnTo>
                    <a:lnTo>
                      <a:pt x="11" y="1716"/>
                    </a:lnTo>
                    <a:lnTo>
                      <a:pt x="105" y="1716"/>
                    </a:lnTo>
                    <a:lnTo>
                      <a:pt x="111" y="1716"/>
                    </a:lnTo>
                    <a:lnTo>
                      <a:pt x="115" y="1713"/>
                    </a:lnTo>
                    <a:lnTo>
                      <a:pt x="117" y="1709"/>
                    </a:lnTo>
                    <a:lnTo>
                      <a:pt x="118" y="1704"/>
                    </a:lnTo>
                    <a:lnTo>
                      <a:pt x="118" y="1541"/>
                    </a:lnTo>
                    <a:lnTo>
                      <a:pt x="449" y="1541"/>
                    </a:lnTo>
                    <a:lnTo>
                      <a:pt x="449" y="1704"/>
                    </a:lnTo>
                    <a:lnTo>
                      <a:pt x="451" y="1709"/>
                    </a:lnTo>
                    <a:lnTo>
                      <a:pt x="453" y="1713"/>
                    </a:lnTo>
                    <a:lnTo>
                      <a:pt x="456" y="1716"/>
                    </a:lnTo>
                    <a:lnTo>
                      <a:pt x="461" y="1716"/>
                    </a:lnTo>
                    <a:lnTo>
                      <a:pt x="694" y="1716"/>
                    </a:lnTo>
                    <a:lnTo>
                      <a:pt x="698" y="1716"/>
                    </a:lnTo>
                    <a:lnTo>
                      <a:pt x="702" y="1713"/>
                    </a:lnTo>
                    <a:lnTo>
                      <a:pt x="704" y="1709"/>
                    </a:lnTo>
                    <a:lnTo>
                      <a:pt x="705" y="1704"/>
                    </a:lnTo>
                    <a:lnTo>
                      <a:pt x="705" y="1541"/>
                    </a:lnTo>
                    <a:lnTo>
                      <a:pt x="1448" y="1541"/>
                    </a:lnTo>
                    <a:lnTo>
                      <a:pt x="1448" y="1704"/>
                    </a:lnTo>
                    <a:lnTo>
                      <a:pt x="1449" y="1709"/>
                    </a:lnTo>
                    <a:lnTo>
                      <a:pt x="1451" y="1713"/>
                    </a:lnTo>
                    <a:lnTo>
                      <a:pt x="1455" y="1716"/>
                    </a:lnTo>
                    <a:lnTo>
                      <a:pt x="1459" y="1716"/>
                    </a:lnTo>
                    <a:lnTo>
                      <a:pt x="1692" y="1716"/>
                    </a:lnTo>
                    <a:lnTo>
                      <a:pt x="1697" y="1716"/>
                    </a:lnTo>
                    <a:lnTo>
                      <a:pt x="1700" y="1713"/>
                    </a:lnTo>
                    <a:lnTo>
                      <a:pt x="1703" y="1709"/>
                    </a:lnTo>
                    <a:lnTo>
                      <a:pt x="1704" y="1704"/>
                    </a:lnTo>
                    <a:lnTo>
                      <a:pt x="1704" y="1541"/>
                    </a:lnTo>
                    <a:lnTo>
                      <a:pt x="2036" y="1541"/>
                    </a:lnTo>
                    <a:lnTo>
                      <a:pt x="2036" y="1704"/>
                    </a:lnTo>
                    <a:lnTo>
                      <a:pt x="2037" y="1709"/>
                    </a:lnTo>
                    <a:lnTo>
                      <a:pt x="2041" y="1713"/>
                    </a:lnTo>
                    <a:lnTo>
                      <a:pt x="2044" y="1716"/>
                    </a:lnTo>
                    <a:lnTo>
                      <a:pt x="2049" y="1716"/>
                    </a:lnTo>
                    <a:lnTo>
                      <a:pt x="2143" y="1716"/>
                    </a:lnTo>
                    <a:lnTo>
                      <a:pt x="2148" y="1716"/>
                    </a:lnTo>
                    <a:lnTo>
                      <a:pt x="2151" y="1713"/>
                    </a:lnTo>
                    <a:lnTo>
                      <a:pt x="2154" y="1709"/>
                    </a:lnTo>
                    <a:lnTo>
                      <a:pt x="2155" y="1704"/>
                    </a:lnTo>
                    <a:lnTo>
                      <a:pt x="2155" y="1018"/>
                    </a:lnTo>
                    <a:lnTo>
                      <a:pt x="2154" y="1014"/>
                    </a:lnTo>
                    <a:lnTo>
                      <a:pt x="2151" y="1009"/>
                    </a:lnTo>
                    <a:lnTo>
                      <a:pt x="2148" y="1007"/>
                    </a:lnTo>
                    <a:lnTo>
                      <a:pt x="2143" y="100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54" name="Freeform 242"/>
              <p:cNvSpPr>
                <a:spLocks noEditPoints="1"/>
              </p:cNvSpPr>
              <p:nvPr/>
            </p:nvSpPr>
            <p:spPr bwMode="auto">
              <a:xfrm>
                <a:off x="5938838" y="4643438"/>
                <a:ext cx="266700" cy="269875"/>
              </a:xfrm>
              <a:custGeom>
                <a:avLst/>
                <a:gdLst>
                  <a:gd name="T0" fmla="*/ 650 w 673"/>
                  <a:gd name="T1" fmla="*/ 655 h 678"/>
                  <a:gd name="T2" fmla="*/ 25 w 673"/>
                  <a:gd name="T3" fmla="*/ 655 h 678"/>
                  <a:gd name="T4" fmla="*/ 25 w 673"/>
                  <a:gd name="T5" fmla="*/ 25 h 678"/>
                  <a:gd name="T6" fmla="*/ 650 w 673"/>
                  <a:gd name="T7" fmla="*/ 25 h 678"/>
                  <a:gd name="T8" fmla="*/ 650 w 673"/>
                  <a:gd name="T9" fmla="*/ 655 h 678"/>
                  <a:gd name="T10" fmla="*/ 673 w 673"/>
                  <a:gd name="T11" fmla="*/ 666 h 678"/>
                  <a:gd name="T12" fmla="*/ 673 w 673"/>
                  <a:gd name="T13" fmla="*/ 13 h 678"/>
                  <a:gd name="T14" fmla="*/ 673 w 673"/>
                  <a:gd name="T15" fmla="*/ 9 h 678"/>
                  <a:gd name="T16" fmla="*/ 670 w 673"/>
                  <a:gd name="T17" fmla="*/ 4 h 678"/>
                  <a:gd name="T18" fmla="*/ 666 w 673"/>
                  <a:gd name="T19" fmla="*/ 2 h 678"/>
                  <a:gd name="T20" fmla="*/ 662 w 673"/>
                  <a:gd name="T21" fmla="*/ 0 h 678"/>
                  <a:gd name="T22" fmla="*/ 13 w 673"/>
                  <a:gd name="T23" fmla="*/ 0 h 678"/>
                  <a:gd name="T24" fmla="*/ 9 w 673"/>
                  <a:gd name="T25" fmla="*/ 2 h 678"/>
                  <a:gd name="T26" fmla="*/ 5 w 673"/>
                  <a:gd name="T27" fmla="*/ 4 h 678"/>
                  <a:gd name="T28" fmla="*/ 2 w 673"/>
                  <a:gd name="T29" fmla="*/ 9 h 678"/>
                  <a:gd name="T30" fmla="*/ 0 w 673"/>
                  <a:gd name="T31" fmla="*/ 13 h 678"/>
                  <a:gd name="T32" fmla="*/ 0 w 673"/>
                  <a:gd name="T33" fmla="*/ 666 h 678"/>
                  <a:gd name="T34" fmla="*/ 2 w 673"/>
                  <a:gd name="T35" fmla="*/ 671 h 678"/>
                  <a:gd name="T36" fmla="*/ 5 w 673"/>
                  <a:gd name="T37" fmla="*/ 675 h 678"/>
                  <a:gd name="T38" fmla="*/ 9 w 673"/>
                  <a:gd name="T39" fmla="*/ 677 h 678"/>
                  <a:gd name="T40" fmla="*/ 13 w 673"/>
                  <a:gd name="T41" fmla="*/ 678 h 678"/>
                  <a:gd name="T42" fmla="*/ 662 w 673"/>
                  <a:gd name="T43" fmla="*/ 678 h 678"/>
                  <a:gd name="T44" fmla="*/ 666 w 673"/>
                  <a:gd name="T45" fmla="*/ 677 h 678"/>
                  <a:gd name="T46" fmla="*/ 670 w 673"/>
                  <a:gd name="T47" fmla="*/ 675 h 678"/>
                  <a:gd name="T48" fmla="*/ 673 w 673"/>
                  <a:gd name="T49" fmla="*/ 671 h 678"/>
                  <a:gd name="T50" fmla="*/ 673 w 673"/>
                  <a:gd name="T51" fmla="*/ 666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73" h="678">
                    <a:moveTo>
                      <a:pt x="650" y="655"/>
                    </a:moveTo>
                    <a:lnTo>
                      <a:pt x="25" y="655"/>
                    </a:lnTo>
                    <a:lnTo>
                      <a:pt x="25" y="25"/>
                    </a:lnTo>
                    <a:lnTo>
                      <a:pt x="650" y="25"/>
                    </a:lnTo>
                    <a:lnTo>
                      <a:pt x="650" y="655"/>
                    </a:lnTo>
                    <a:close/>
                    <a:moveTo>
                      <a:pt x="673" y="666"/>
                    </a:moveTo>
                    <a:lnTo>
                      <a:pt x="673" y="13"/>
                    </a:lnTo>
                    <a:lnTo>
                      <a:pt x="673" y="9"/>
                    </a:lnTo>
                    <a:lnTo>
                      <a:pt x="670" y="4"/>
                    </a:lnTo>
                    <a:lnTo>
                      <a:pt x="666" y="2"/>
                    </a:lnTo>
                    <a:lnTo>
                      <a:pt x="662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666"/>
                    </a:lnTo>
                    <a:lnTo>
                      <a:pt x="2" y="671"/>
                    </a:lnTo>
                    <a:lnTo>
                      <a:pt x="5" y="675"/>
                    </a:lnTo>
                    <a:lnTo>
                      <a:pt x="9" y="677"/>
                    </a:lnTo>
                    <a:lnTo>
                      <a:pt x="13" y="678"/>
                    </a:lnTo>
                    <a:lnTo>
                      <a:pt x="662" y="678"/>
                    </a:lnTo>
                    <a:lnTo>
                      <a:pt x="666" y="677"/>
                    </a:lnTo>
                    <a:lnTo>
                      <a:pt x="670" y="675"/>
                    </a:lnTo>
                    <a:lnTo>
                      <a:pt x="673" y="671"/>
                    </a:lnTo>
                    <a:lnTo>
                      <a:pt x="673" y="66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55" name="Rectangle 243"/>
              <p:cNvSpPr>
                <a:spLocks noChangeArrowheads="1"/>
              </p:cNvSpPr>
              <p:nvPr/>
            </p:nvSpPr>
            <p:spPr bwMode="auto">
              <a:xfrm>
                <a:off x="5973763" y="4678363"/>
                <a:ext cx="195263" cy="825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456" name="Freeform 244"/>
              <p:cNvSpPr>
                <a:spLocks noEditPoints="1"/>
              </p:cNvSpPr>
              <p:nvPr/>
            </p:nvSpPr>
            <p:spPr bwMode="auto">
              <a:xfrm>
                <a:off x="5969001" y="4673601"/>
                <a:ext cx="204788" cy="92075"/>
              </a:xfrm>
              <a:custGeom>
                <a:avLst/>
                <a:gdLst>
                  <a:gd name="T0" fmla="*/ 492 w 516"/>
                  <a:gd name="T1" fmla="*/ 210 h 233"/>
                  <a:gd name="T2" fmla="*/ 25 w 516"/>
                  <a:gd name="T3" fmla="*/ 210 h 233"/>
                  <a:gd name="T4" fmla="*/ 25 w 516"/>
                  <a:gd name="T5" fmla="*/ 23 h 233"/>
                  <a:gd name="T6" fmla="*/ 492 w 516"/>
                  <a:gd name="T7" fmla="*/ 23 h 233"/>
                  <a:gd name="T8" fmla="*/ 492 w 516"/>
                  <a:gd name="T9" fmla="*/ 210 h 233"/>
                  <a:gd name="T10" fmla="*/ 504 w 516"/>
                  <a:gd name="T11" fmla="*/ 0 h 233"/>
                  <a:gd name="T12" fmla="*/ 13 w 516"/>
                  <a:gd name="T13" fmla="*/ 0 h 233"/>
                  <a:gd name="T14" fmla="*/ 8 w 516"/>
                  <a:gd name="T15" fmla="*/ 0 h 233"/>
                  <a:gd name="T16" fmla="*/ 4 w 516"/>
                  <a:gd name="T17" fmla="*/ 3 h 233"/>
                  <a:gd name="T18" fmla="*/ 1 w 516"/>
                  <a:gd name="T19" fmla="*/ 7 h 233"/>
                  <a:gd name="T20" fmla="*/ 0 w 516"/>
                  <a:gd name="T21" fmla="*/ 11 h 233"/>
                  <a:gd name="T22" fmla="*/ 0 w 516"/>
                  <a:gd name="T23" fmla="*/ 222 h 233"/>
                  <a:gd name="T24" fmla="*/ 1 w 516"/>
                  <a:gd name="T25" fmla="*/ 226 h 233"/>
                  <a:gd name="T26" fmla="*/ 4 w 516"/>
                  <a:gd name="T27" fmla="*/ 230 h 233"/>
                  <a:gd name="T28" fmla="*/ 8 w 516"/>
                  <a:gd name="T29" fmla="*/ 233 h 233"/>
                  <a:gd name="T30" fmla="*/ 13 w 516"/>
                  <a:gd name="T31" fmla="*/ 233 h 233"/>
                  <a:gd name="T32" fmla="*/ 504 w 516"/>
                  <a:gd name="T33" fmla="*/ 233 h 233"/>
                  <a:gd name="T34" fmla="*/ 509 w 516"/>
                  <a:gd name="T35" fmla="*/ 233 h 233"/>
                  <a:gd name="T36" fmla="*/ 512 w 516"/>
                  <a:gd name="T37" fmla="*/ 230 h 233"/>
                  <a:gd name="T38" fmla="*/ 516 w 516"/>
                  <a:gd name="T39" fmla="*/ 226 h 233"/>
                  <a:gd name="T40" fmla="*/ 516 w 516"/>
                  <a:gd name="T41" fmla="*/ 222 h 233"/>
                  <a:gd name="T42" fmla="*/ 516 w 516"/>
                  <a:gd name="T43" fmla="*/ 11 h 233"/>
                  <a:gd name="T44" fmla="*/ 516 w 516"/>
                  <a:gd name="T45" fmla="*/ 7 h 233"/>
                  <a:gd name="T46" fmla="*/ 512 w 516"/>
                  <a:gd name="T47" fmla="*/ 3 h 233"/>
                  <a:gd name="T48" fmla="*/ 509 w 516"/>
                  <a:gd name="T49" fmla="*/ 0 h 233"/>
                  <a:gd name="T50" fmla="*/ 504 w 516"/>
                  <a:gd name="T51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6" h="233">
                    <a:moveTo>
                      <a:pt x="492" y="210"/>
                    </a:moveTo>
                    <a:lnTo>
                      <a:pt x="25" y="210"/>
                    </a:lnTo>
                    <a:lnTo>
                      <a:pt x="25" y="23"/>
                    </a:lnTo>
                    <a:lnTo>
                      <a:pt x="492" y="23"/>
                    </a:lnTo>
                    <a:lnTo>
                      <a:pt x="492" y="210"/>
                    </a:lnTo>
                    <a:close/>
                    <a:moveTo>
                      <a:pt x="504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8" y="233"/>
                    </a:lnTo>
                    <a:lnTo>
                      <a:pt x="13" y="233"/>
                    </a:lnTo>
                    <a:lnTo>
                      <a:pt x="504" y="233"/>
                    </a:lnTo>
                    <a:lnTo>
                      <a:pt x="509" y="233"/>
                    </a:lnTo>
                    <a:lnTo>
                      <a:pt x="512" y="230"/>
                    </a:lnTo>
                    <a:lnTo>
                      <a:pt x="516" y="226"/>
                    </a:lnTo>
                    <a:lnTo>
                      <a:pt x="516" y="222"/>
                    </a:lnTo>
                    <a:lnTo>
                      <a:pt x="516" y="11"/>
                    </a:lnTo>
                    <a:lnTo>
                      <a:pt x="516" y="7"/>
                    </a:lnTo>
                    <a:lnTo>
                      <a:pt x="512" y="3"/>
                    </a:lnTo>
                    <a:lnTo>
                      <a:pt x="509" y="0"/>
                    </a:ln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</p:grpSp>
        <p:sp>
          <p:nvSpPr>
            <p:cNvPr id="424" name="Блок-схема: ручное управление 423"/>
            <p:cNvSpPr/>
            <p:nvPr/>
          </p:nvSpPr>
          <p:spPr>
            <a:xfrm>
              <a:off x="4660352" y="3986967"/>
              <a:ext cx="65684" cy="38833"/>
            </a:xfrm>
            <a:prstGeom prst="flowChartManualOperation">
              <a:avLst/>
            </a:prstGeom>
            <a:solidFill>
              <a:srgbClr val="1595D3"/>
            </a:solidFill>
            <a:ln w="444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cxnSp>
          <p:nvCxnSpPr>
            <p:cNvPr id="425" name="Прямая соединительная линия 424"/>
            <p:cNvCxnSpPr/>
            <p:nvPr/>
          </p:nvCxnSpPr>
          <p:spPr>
            <a:xfrm>
              <a:off x="4692763" y="4023625"/>
              <a:ext cx="0" cy="217878"/>
            </a:xfrm>
            <a:prstGeom prst="line">
              <a:avLst/>
            </a:prstGeom>
            <a:ln w="38100" cmpd="tri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6" name="Прямоугольник 425"/>
            <p:cNvSpPr/>
            <p:nvPr/>
          </p:nvSpPr>
          <p:spPr>
            <a:xfrm>
              <a:off x="4263823" y="4299882"/>
              <a:ext cx="171662" cy="26627"/>
            </a:xfrm>
            <a:prstGeom prst="rect">
              <a:avLst/>
            </a:prstGeom>
            <a:solidFill>
              <a:srgbClr val="FFFF0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427" name="Прямоугольник 426"/>
            <p:cNvSpPr/>
            <p:nvPr/>
          </p:nvSpPr>
          <p:spPr>
            <a:xfrm rot="16200000">
              <a:off x="4267346" y="4042322"/>
              <a:ext cx="426519" cy="31612"/>
            </a:xfrm>
            <a:prstGeom prst="rect">
              <a:avLst/>
            </a:prstGeom>
            <a:solidFill>
              <a:srgbClr val="FFFF0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428" name="Арка 427"/>
            <p:cNvSpPr/>
            <p:nvPr/>
          </p:nvSpPr>
          <p:spPr>
            <a:xfrm rot="5400000">
              <a:off x="4376509" y="4207049"/>
              <a:ext cx="111126" cy="128676"/>
            </a:xfrm>
            <a:prstGeom prst="blockArc">
              <a:avLst>
                <a:gd name="adj1" fmla="val 16168735"/>
                <a:gd name="adj2" fmla="val 0"/>
                <a:gd name="adj3" fmla="val 25000"/>
              </a:avLst>
            </a:prstGeom>
            <a:solidFill>
              <a:srgbClr val="FFFF0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429" name="Арка 428"/>
            <p:cNvSpPr/>
            <p:nvPr/>
          </p:nvSpPr>
          <p:spPr>
            <a:xfrm rot="16200000">
              <a:off x="4473574" y="3782842"/>
              <a:ext cx="111126" cy="128676"/>
            </a:xfrm>
            <a:prstGeom prst="blockArc">
              <a:avLst>
                <a:gd name="adj1" fmla="val 16168735"/>
                <a:gd name="adj2" fmla="val 2814629"/>
                <a:gd name="adj3" fmla="val 24365"/>
              </a:avLst>
            </a:prstGeom>
            <a:solidFill>
              <a:srgbClr val="FFFF0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430" name="Прямоугольник 429"/>
            <p:cNvSpPr/>
            <p:nvPr/>
          </p:nvSpPr>
          <p:spPr>
            <a:xfrm rot="13740000">
              <a:off x="4547244" y="3858051"/>
              <a:ext cx="152852" cy="30833"/>
            </a:xfrm>
            <a:prstGeom prst="rect">
              <a:avLst/>
            </a:prstGeom>
            <a:solidFill>
              <a:srgbClr val="FFFF0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431" name="Арка 430"/>
            <p:cNvSpPr/>
            <p:nvPr/>
          </p:nvSpPr>
          <p:spPr>
            <a:xfrm rot="2923074">
              <a:off x="4588335" y="3894510"/>
              <a:ext cx="111126" cy="128676"/>
            </a:xfrm>
            <a:prstGeom prst="blockArc">
              <a:avLst>
                <a:gd name="adj1" fmla="val 16168735"/>
                <a:gd name="adj2" fmla="val 18847471"/>
                <a:gd name="adj3" fmla="val 23490"/>
              </a:avLst>
            </a:prstGeom>
            <a:solidFill>
              <a:srgbClr val="FFFF0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432" name="Прямоугольник 431"/>
            <p:cNvSpPr/>
            <p:nvPr/>
          </p:nvSpPr>
          <p:spPr>
            <a:xfrm rot="16200000">
              <a:off x="4679825" y="3957874"/>
              <a:ext cx="26627" cy="30833"/>
            </a:xfrm>
            <a:prstGeom prst="rect">
              <a:avLst/>
            </a:prstGeom>
            <a:solidFill>
              <a:srgbClr val="FFFF0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433" name="Прямоугольник 432"/>
            <p:cNvSpPr/>
            <p:nvPr/>
          </p:nvSpPr>
          <p:spPr>
            <a:xfrm>
              <a:off x="4001542" y="4299882"/>
              <a:ext cx="44904" cy="26627"/>
            </a:xfrm>
            <a:prstGeom prst="rect">
              <a:avLst/>
            </a:prstGeom>
            <a:solidFill>
              <a:srgbClr val="FFFF0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434" name="Равнобедренный треугольник 433"/>
            <p:cNvSpPr/>
            <p:nvPr/>
          </p:nvSpPr>
          <p:spPr>
            <a:xfrm rot="16200000" flipV="1">
              <a:off x="4324977" y="4187576"/>
              <a:ext cx="35641" cy="70006"/>
            </a:xfrm>
            <a:prstGeom prst="triangle">
              <a:avLst/>
            </a:prstGeom>
            <a:solidFill>
              <a:srgbClr val="FFFF00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pic>
          <p:nvPicPr>
            <p:cNvPr id="435" name="Picture 11" descr="C:\Users\Driker.AA\Desktop\Инфографика\С заливкой\Транспорт\бензовоз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3720" y="4061576"/>
              <a:ext cx="367652" cy="322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Группа 10"/>
          <p:cNvGrpSpPr/>
          <p:nvPr/>
        </p:nvGrpSpPr>
        <p:grpSpPr>
          <a:xfrm>
            <a:off x="1367644" y="2823778"/>
            <a:ext cx="3672408" cy="468052"/>
            <a:chOff x="1691680" y="3003798"/>
            <a:chExt cx="3060340" cy="468052"/>
          </a:xfrm>
        </p:grpSpPr>
        <p:sp>
          <p:nvSpPr>
            <p:cNvPr id="338" name="Прямоугольник 337"/>
            <p:cNvSpPr/>
            <p:nvPr/>
          </p:nvSpPr>
          <p:spPr>
            <a:xfrm>
              <a:off x="1691680" y="3003798"/>
              <a:ext cx="3060340" cy="468052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endParaRPr lang="ru-RU" sz="2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65" name="Прямоугольник 364"/>
            <p:cNvSpPr/>
            <p:nvPr/>
          </p:nvSpPr>
          <p:spPr>
            <a:xfrm>
              <a:off x="2636693" y="3111810"/>
              <a:ext cx="975200" cy="24300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  <a:spcAft>
                  <a:spcPts val="450"/>
                </a:spcAft>
              </a:pPr>
              <a:r>
                <a:rPr lang="ru-RU" sz="825" dirty="0">
                  <a:solidFill>
                    <a:schemeClr val="bg1">
                      <a:lumMod val="95000"/>
                    </a:schemeClr>
                  </a:solidFill>
                  <a:latin typeface="DINPro-Medium" panose="02000503030000020004" pitchFamily="2" charset="0"/>
                  <a:ea typeface="Tahoma" panose="020B0604030504040204" pitchFamily="34" charset="0"/>
                  <a:cs typeface="Tahoma" panose="020B0604030504040204" pitchFamily="34" charset="0"/>
                </a:rPr>
                <a:t>АСУТП </a:t>
              </a:r>
              <a:r>
                <a:rPr lang="ru-RU" sz="825" dirty="0" smtClean="0">
                  <a:solidFill>
                    <a:schemeClr val="bg1">
                      <a:lumMod val="95000"/>
                    </a:schemeClr>
                  </a:solidFill>
                  <a:latin typeface="DINPro-Medium" panose="02000503030000020004" pitchFamily="2" charset="0"/>
                  <a:ea typeface="Tahoma" panose="020B0604030504040204" pitchFamily="34" charset="0"/>
                  <a:cs typeface="Tahoma" panose="020B0604030504040204" pitchFamily="34" charset="0"/>
                </a:rPr>
                <a:t>НБ**</a:t>
              </a:r>
              <a:endParaRPr lang="ru-RU" sz="825" dirty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459" name="Прямая со стрелкой 458"/>
          <p:cNvCxnSpPr/>
          <p:nvPr/>
        </p:nvCxnSpPr>
        <p:spPr>
          <a:xfrm>
            <a:off x="1835696" y="3363378"/>
            <a:ext cx="0" cy="299659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Прямая со стрелкой 459"/>
          <p:cNvCxnSpPr/>
          <p:nvPr/>
        </p:nvCxnSpPr>
        <p:spPr>
          <a:xfrm>
            <a:off x="3095836" y="3345602"/>
            <a:ext cx="0" cy="299659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Прямая со стрелкой 461"/>
          <p:cNvCxnSpPr/>
          <p:nvPr/>
        </p:nvCxnSpPr>
        <p:spPr>
          <a:xfrm>
            <a:off x="4291331" y="3367404"/>
            <a:ext cx="0" cy="299659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Прямая со стрелкой 462"/>
          <p:cNvCxnSpPr/>
          <p:nvPr/>
        </p:nvCxnSpPr>
        <p:spPr>
          <a:xfrm>
            <a:off x="3095836" y="2535746"/>
            <a:ext cx="0" cy="299659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7" name="Прямоугольник 466"/>
          <p:cNvSpPr/>
          <p:nvPr/>
        </p:nvSpPr>
        <p:spPr>
          <a:xfrm>
            <a:off x="857846" y="4479188"/>
            <a:ext cx="1548172" cy="22239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600" dirty="0" smtClean="0">
                <a:solidFill>
                  <a:schemeClr val="bg1">
                    <a:lumMod val="95000"/>
                  </a:schemeClr>
                </a:solidFill>
              </a:rPr>
              <a:t>Автоматическая передача данных </a:t>
            </a:r>
            <a:endParaRPr lang="ru-RU" sz="600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470" name="Прямая со стрелкой 469"/>
          <p:cNvCxnSpPr/>
          <p:nvPr/>
        </p:nvCxnSpPr>
        <p:spPr>
          <a:xfrm rot="16200000">
            <a:off x="708017" y="4444177"/>
            <a:ext cx="0" cy="299659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1" name="Соединительная линия уступом 470"/>
          <p:cNvCxnSpPr/>
          <p:nvPr/>
        </p:nvCxnSpPr>
        <p:spPr>
          <a:xfrm rot="16200000" flipH="1">
            <a:off x="4247964" y="2139702"/>
            <a:ext cx="1116124" cy="252028"/>
          </a:xfrm>
          <a:prstGeom prst="bentConnector3">
            <a:avLst>
              <a:gd name="adj1" fmla="val 348"/>
            </a:avLst>
          </a:prstGeom>
          <a:ln w="9525">
            <a:solidFill>
              <a:schemeClr val="accent5">
                <a:lumMod val="75000"/>
              </a:schemeClr>
            </a:solidFill>
            <a:prstDash val="dash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6" name="Прямая со стрелкой 475"/>
          <p:cNvCxnSpPr/>
          <p:nvPr/>
        </p:nvCxnSpPr>
        <p:spPr>
          <a:xfrm>
            <a:off x="3095836" y="1851670"/>
            <a:ext cx="0" cy="396044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8" name="Прямая со стрелкой 477"/>
          <p:cNvCxnSpPr/>
          <p:nvPr/>
        </p:nvCxnSpPr>
        <p:spPr>
          <a:xfrm>
            <a:off x="3095836" y="1275606"/>
            <a:ext cx="0" cy="396044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Прямоугольник 122"/>
          <p:cNvSpPr/>
          <p:nvPr/>
        </p:nvSpPr>
        <p:spPr>
          <a:xfrm>
            <a:off x="6264187" y="1139999"/>
            <a:ext cx="2556284" cy="2703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bg1"/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Предполагается </a:t>
            </a:r>
            <a:r>
              <a:rPr lang="ru-RU" sz="1000" dirty="0">
                <a:solidFill>
                  <a:srgbClr val="DE5307"/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оснащение нефтебаз </a:t>
            </a:r>
            <a:r>
              <a:rPr lang="ru-RU" sz="1000" dirty="0">
                <a:solidFill>
                  <a:schemeClr val="bg1"/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программно-техническим комплексом сбора и передачи данных с измерительных систем </a:t>
            </a:r>
            <a:r>
              <a:rPr lang="ru-RU" sz="1000" dirty="0" smtClean="0">
                <a:solidFill>
                  <a:schemeClr val="bg1"/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в АСУП НБ:</a:t>
            </a:r>
            <a:endParaRPr lang="ru-RU" sz="1000" dirty="0">
              <a:solidFill>
                <a:schemeClr val="bg1"/>
              </a:solidFill>
              <a:latin typeface="DINPro-Medium" panose="02000503030000020004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spcBef>
                <a:spcPts val="600"/>
              </a:spcBef>
              <a:buFontTx/>
              <a:buChar char="&gt;"/>
            </a:pPr>
            <a:r>
              <a:rPr lang="ru-RU" sz="1000" dirty="0" smtClean="0">
                <a:solidFill>
                  <a:srgbClr val="DE5307"/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Прием НП </a:t>
            </a:r>
            <a:r>
              <a:rPr lang="ru-RU" sz="1000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– сбор автоматически </a:t>
            </a:r>
            <a:r>
              <a:rPr lang="en-US" sz="1000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c </a:t>
            </a:r>
            <a:r>
              <a:rPr lang="ru-RU" sz="1000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ИС УУ НП (в ручном режиме для нецелевых НБ)</a:t>
            </a:r>
            <a:r>
              <a:rPr lang="en-US" sz="1000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000" dirty="0" smtClean="0">
              <a:solidFill>
                <a:schemeClr val="bg1">
                  <a:lumMod val="95000"/>
                </a:schemeClr>
              </a:solidFill>
              <a:latin typeface="DINPro-Medium" panose="02000503030000020004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spcBef>
                <a:spcPts val="600"/>
              </a:spcBef>
              <a:buFontTx/>
              <a:buChar char="&gt;"/>
            </a:pPr>
            <a:r>
              <a:rPr lang="ru-RU" sz="1000" dirty="0" smtClean="0">
                <a:solidFill>
                  <a:srgbClr val="DE5307"/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Хранение НП </a:t>
            </a:r>
            <a:r>
              <a:rPr lang="ru-RU" sz="1000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– автоматически с ИС РВС</a:t>
            </a:r>
            <a:r>
              <a:rPr lang="en-US" sz="1000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171450" indent="-171450">
              <a:spcBef>
                <a:spcPts val="600"/>
              </a:spcBef>
              <a:buFontTx/>
              <a:buChar char="&gt;"/>
            </a:pPr>
            <a:r>
              <a:rPr lang="ru-RU" sz="1000" dirty="0" smtClean="0">
                <a:solidFill>
                  <a:srgbClr val="DE5307"/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Отпуск НП </a:t>
            </a:r>
            <a:r>
              <a:rPr lang="ru-RU" sz="1000" dirty="0" smtClean="0">
                <a:solidFill>
                  <a:schemeClr val="bg1">
                    <a:lumMod val="95000"/>
                  </a:schemeClr>
                </a:solidFill>
                <a:latin typeface="DINPro-Medium" panose="02000503030000020004" pitchFamily="2" charset="0"/>
                <a:ea typeface="Tahoma" panose="020B0604030504040204" pitchFamily="34" charset="0"/>
                <a:cs typeface="Tahoma" panose="020B0604030504040204" pitchFamily="34" charset="0"/>
              </a:rPr>
              <a:t>– автоматически с ИС АСН по 4-м параметрам (в ручном режиме для нецелевых НБ)</a:t>
            </a:r>
          </a:p>
          <a:p>
            <a:pPr>
              <a:spcBef>
                <a:spcPts val="800"/>
              </a:spcBef>
            </a:pPr>
            <a:endParaRPr lang="ru-RU" sz="800" i="1" dirty="0">
              <a:solidFill>
                <a:schemeClr val="bg1"/>
              </a:solidFill>
              <a:latin typeface="DINPro-Medium" panose="02000503030000020004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856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0109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Прямоугольник 124"/>
          <p:cNvSpPr/>
          <p:nvPr/>
        </p:nvSpPr>
        <p:spPr>
          <a:xfrm flipH="1">
            <a:off x="5968181" y="1845771"/>
            <a:ext cx="2415693" cy="2587948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rgbClr val="3C3C3C"/>
              </a:solidFill>
            </a:endParaRPr>
          </a:p>
        </p:txBody>
      </p:sp>
      <p:sp>
        <p:nvSpPr>
          <p:cNvPr id="127" name="Прямоугольник 126"/>
          <p:cNvSpPr/>
          <p:nvPr/>
        </p:nvSpPr>
        <p:spPr>
          <a:xfrm flipH="1">
            <a:off x="716216" y="1844471"/>
            <a:ext cx="2415693" cy="2587948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rgbClr val="3C3C3C"/>
              </a:solidFill>
            </a:endParaRPr>
          </a:p>
        </p:txBody>
      </p:sp>
      <p:sp>
        <p:nvSpPr>
          <p:cNvPr id="129" name="Прямоугольник 128"/>
          <p:cNvSpPr/>
          <p:nvPr/>
        </p:nvSpPr>
        <p:spPr>
          <a:xfrm flipH="1">
            <a:off x="3342199" y="1845771"/>
            <a:ext cx="2415693" cy="2587948"/>
          </a:xfrm>
          <a:prstGeom prst="rect">
            <a:avLst/>
          </a:prstGeom>
          <a:noFill/>
          <a:ln w="12700"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rgbClr val="3C3C3C"/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1542547" y="1719032"/>
            <a:ext cx="763029" cy="230512"/>
          </a:xfrm>
          <a:prstGeom prst="rect">
            <a:avLst/>
          </a:prstGeom>
          <a:solidFill>
            <a:srgbClr val="3C3C3C"/>
          </a:solidFill>
          <a:ln w="76200">
            <a:solidFill>
              <a:srgbClr val="3C3C3C"/>
            </a:solidFill>
          </a:ln>
        </p:spPr>
        <p:txBody>
          <a:bodyPr wrap="none" lIns="0" rIns="0" rtlCol="0">
            <a:spAutoFit/>
          </a:bodyPr>
          <a:lstStyle/>
          <a:p>
            <a:pPr>
              <a:spcBef>
                <a:spcPts val="385"/>
              </a:spcBef>
            </a:pPr>
            <a:r>
              <a:rPr lang="ru-RU" sz="900" b="1" dirty="0" smtClean="0">
                <a:solidFill>
                  <a:schemeClr val="bg1">
                    <a:lumMod val="85000"/>
                  </a:schemeClr>
                </a:solidFill>
                <a:latin typeface="Trebuchet MS" panose="020B0603020202020204" pitchFamily="34" charset="0"/>
              </a:rPr>
              <a:t>Предпосылки</a:t>
            </a:r>
            <a:endParaRPr lang="ru-RU" sz="900" b="1" dirty="0">
              <a:solidFill>
                <a:schemeClr val="bg1">
                  <a:lumMod val="8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4294490" y="1719032"/>
            <a:ext cx="498534" cy="230512"/>
          </a:xfrm>
          <a:prstGeom prst="rect">
            <a:avLst/>
          </a:prstGeom>
          <a:solidFill>
            <a:srgbClr val="3C3C3C"/>
          </a:solidFill>
          <a:ln w="76200">
            <a:solidFill>
              <a:srgbClr val="3C3C3C"/>
            </a:solidFill>
          </a:ln>
        </p:spPr>
        <p:txBody>
          <a:bodyPr wrap="non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 b="1">
                <a:solidFill>
                  <a:srgbClr val="30B7EE"/>
                </a:solidFill>
              </a:defRPr>
            </a:lvl1pPr>
          </a:lstStyle>
          <a:p>
            <a:r>
              <a:rPr lang="ru-RU" sz="900" dirty="0" smtClean="0">
                <a:solidFill>
                  <a:srgbClr val="EF6213"/>
                </a:solidFill>
                <a:latin typeface="Trebuchet MS" panose="020B0603020202020204" pitchFamily="34" charset="0"/>
              </a:rPr>
              <a:t>Решение</a:t>
            </a:r>
            <a:endParaRPr lang="ru-RU" sz="900" dirty="0">
              <a:solidFill>
                <a:srgbClr val="EF6213"/>
              </a:solidFill>
              <a:latin typeface="Trebuchet MS" panose="020B0603020202020204" pitchFamily="34" charset="0"/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6497157" y="1719032"/>
            <a:ext cx="1357744" cy="230512"/>
          </a:xfrm>
          <a:prstGeom prst="rect">
            <a:avLst/>
          </a:prstGeom>
          <a:solidFill>
            <a:srgbClr val="3C3C3C"/>
          </a:solidFill>
          <a:ln w="76200">
            <a:solidFill>
              <a:srgbClr val="3C3C3C"/>
            </a:solidFill>
          </a:ln>
        </p:spPr>
        <p:txBody>
          <a:bodyPr wrap="non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 b="1">
                <a:solidFill>
                  <a:srgbClr val="30B7EE"/>
                </a:solidFill>
              </a:defRPr>
            </a:lvl1pPr>
          </a:lstStyle>
          <a:p>
            <a:r>
              <a:rPr lang="ru-RU" sz="900" dirty="0" smtClean="0">
                <a:solidFill>
                  <a:schemeClr val="accent2">
                    <a:lumMod val="75000"/>
                  </a:schemeClr>
                </a:solidFill>
                <a:latin typeface="Trebuchet MS" panose="020B0603020202020204" pitchFamily="34" charset="0"/>
              </a:rPr>
              <a:t>Ожидаемые результаты</a:t>
            </a:r>
            <a:endParaRPr lang="ru-RU" sz="900" dirty="0">
              <a:solidFill>
                <a:schemeClr val="accent2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38587" y="48528"/>
            <a:ext cx="8111805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Внедрение 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системы «</a:t>
            </a:r>
            <a:r>
              <a:rPr lang="ru-RU" sz="1600" b="1" dirty="0" err="1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Нефтеконтроль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» на объектах НБХ АО «</a:t>
            </a:r>
            <a:r>
              <a:rPr lang="ru-RU" sz="1600" b="1" dirty="0" err="1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Газпромнефть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-Терминал» обеспечит 100% мониторинг измерений на всех участках НБХ 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chemeClr val="tx1"/>
              </a:solidFill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-10635" y="1131590"/>
            <a:ext cx="9154635" cy="576064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chemeClr val="tx1"/>
              </a:solidFill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5968183" y="1986895"/>
            <a:ext cx="2415694" cy="2323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Объективный</a:t>
            </a:r>
            <a:r>
              <a:rPr lang="ru-RU" sz="800" b="1" dirty="0">
                <a:solidFill>
                  <a:srgbClr val="168BB9"/>
                </a:solidFill>
              </a:rPr>
              <a:t> учет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 количества и качества НП в соответствии с 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требованиями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Компании на участках </a:t>
            </a:r>
            <a:r>
              <a:rPr lang="ru-RU" sz="800" b="1" dirty="0">
                <a:solidFill>
                  <a:srgbClr val="168BB9"/>
                </a:solidFill>
              </a:rPr>
              <a:t>приема, хранения и отпуска</a:t>
            </a:r>
          </a:p>
          <a:p>
            <a:pPr marL="136922" indent="-13692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b="1" dirty="0">
                <a:solidFill>
                  <a:srgbClr val="168BB9"/>
                </a:solidFill>
              </a:rPr>
              <a:t>Передача данных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измерений в системы коммерческого учета в автоматическом 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режиме</a:t>
            </a:r>
            <a:endParaRPr lang="ru-RU" sz="800" dirty="0">
              <a:solidFill>
                <a:schemeClr val="bg1">
                  <a:lumMod val="95000"/>
                </a:schemeClr>
              </a:solidFill>
            </a:endParaRPr>
          </a:p>
          <a:p>
            <a:pPr marL="136922" indent="-13692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100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% 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контроль, анализ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и мониторинг работы</a:t>
            </a:r>
            <a:r>
              <a:rPr lang="ru-RU" sz="800" b="1" dirty="0">
                <a:solidFill>
                  <a:srgbClr val="168BB9"/>
                </a:solidFill>
              </a:rPr>
              <a:t> систем учета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нефтепродуктов на всех участках 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объектов</a:t>
            </a:r>
            <a:endParaRPr lang="ru-RU" sz="800" dirty="0">
              <a:solidFill>
                <a:schemeClr val="bg1">
                  <a:lumMod val="95000"/>
                </a:schemeClr>
              </a:solidFill>
            </a:endParaRPr>
          </a:p>
          <a:p>
            <a:pPr marL="136922" indent="-13692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Идентификация потерь, сокращение «узких мест» в системе учета 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нефтепродуктов</a:t>
            </a:r>
            <a:endParaRPr lang="ru-RU" sz="800" dirty="0">
              <a:solidFill>
                <a:schemeClr val="bg1">
                  <a:lumMod val="95000"/>
                </a:schemeClr>
              </a:solidFill>
            </a:endParaRPr>
          </a:p>
          <a:p>
            <a:pPr marL="136922" indent="-13692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Снижение времени обслуживания автоцистерн</a:t>
            </a:r>
          </a:p>
          <a:p>
            <a:pPr marL="136922" indent="-136922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Снижение рисков смешения НП</a:t>
            </a:r>
          </a:p>
        </p:txBody>
      </p:sp>
      <p:sp>
        <p:nvSpPr>
          <p:cNvPr id="128" name="Прямоугольник 127"/>
          <p:cNvSpPr/>
          <p:nvPr/>
        </p:nvSpPr>
        <p:spPr>
          <a:xfrm>
            <a:off x="716219" y="1986895"/>
            <a:ext cx="2415692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800" b="1" dirty="0">
                <a:solidFill>
                  <a:srgbClr val="EF6213"/>
                </a:solidFill>
              </a:rPr>
              <a:t>Потери нефтепродуктов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на объектах и участках товаропроводящей сети 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БЛПС</a:t>
            </a:r>
          </a:p>
          <a:p>
            <a:pPr marL="128588" indent="-1285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800" b="1" dirty="0">
                <a:solidFill>
                  <a:srgbClr val="EF6213"/>
                </a:solidFill>
              </a:rPr>
              <a:t>Несоответствие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 оснащения объектов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измерительными системами требованиям или полное их отсутствие на участках приема, хранения и 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отпуска</a:t>
            </a:r>
            <a:endParaRPr lang="ru-RU" sz="800" dirty="0">
              <a:solidFill>
                <a:schemeClr val="bg1">
                  <a:lumMod val="95000"/>
                </a:schemeClr>
              </a:solidFill>
            </a:endParaRPr>
          </a:p>
          <a:p>
            <a:pPr marL="128588" indent="-1285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800" b="1" dirty="0">
                <a:solidFill>
                  <a:srgbClr val="EF6213"/>
                </a:solidFill>
              </a:rPr>
              <a:t>Отсутствие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автоматической передачи данных фактических измерений в АИС «</a:t>
            </a:r>
            <a:r>
              <a:rPr lang="ru-RU" sz="800" dirty="0" err="1">
                <a:solidFill>
                  <a:schemeClr val="bg1">
                    <a:lumMod val="95000"/>
                  </a:schemeClr>
                </a:solidFill>
              </a:rPr>
              <a:t>Нефтеконтроль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-БЛПС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»</a:t>
            </a:r>
            <a:endParaRPr lang="ru-RU" sz="800" dirty="0">
              <a:solidFill>
                <a:schemeClr val="bg1">
                  <a:lumMod val="95000"/>
                </a:schemeClr>
              </a:solidFill>
            </a:endParaRPr>
          </a:p>
          <a:p>
            <a:pPr marL="128588" indent="-1285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Случаи </a:t>
            </a:r>
            <a:r>
              <a:rPr lang="ru-RU" sz="800" b="1" dirty="0" smtClean="0">
                <a:solidFill>
                  <a:srgbClr val="EF6213"/>
                </a:solidFill>
              </a:rPr>
              <a:t>смешения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 нефтепродуктов</a:t>
            </a:r>
            <a:endParaRPr lang="ru-RU" sz="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3342200" y="1986895"/>
            <a:ext cx="2415695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Оснастить все участки нефтебаз узлами учета  </a:t>
            </a:r>
          </a:p>
          <a:p>
            <a:pPr marL="128588" indent="-12858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Повысить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достоверности данных о приеме, хранении и 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отпуске</a:t>
            </a:r>
            <a:endParaRPr lang="ru-RU" sz="800" dirty="0">
              <a:solidFill>
                <a:schemeClr val="bg1">
                  <a:lumMod val="95000"/>
                </a:schemeClr>
              </a:solidFill>
            </a:endParaRPr>
          </a:p>
          <a:p>
            <a:pPr marL="128588" indent="-12858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Снизить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небалансов 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нефтепродуктов</a:t>
            </a:r>
            <a:endParaRPr lang="ru-RU" sz="800" dirty="0">
              <a:solidFill>
                <a:schemeClr val="bg1">
                  <a:lumMod val="95000"/>
                </a:schemeClr>
              </a:solidFill>
            </a:endParaRPr>
          </a:p>
          <a:p>
            <a:pPr marL="128588" indent="-12858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Соблюсти требования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Компании по сохранности количества и качества</a:t>
            </a: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нефтепродуктов</a:t>
            </a: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;</a:t>
            </a:r>
            <a:endParaRPr lang="ru-RU" sz="800" dirty="0">
              <a:solidFill>
                <a:schemeClr val="bg1">
                  <a:lumMod val="95000"/>
                </a:schemeClr>
              </a:solidFill>
            </a:endParaRPr>
          </a:p>
          <a:p>
            <a:pPr marL="128588" indent="-12858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Устранить риски по действующим предписаниям надзорных органов, нормам и правилам, требованиям действующего Законодательства</a:t>
            </a:r>
          </a:p>
          <a:p>
            <a:pPr>
              <a:spcBef>
                <a:spcPts val="600"/>
              </a:spcBef>
            </a:pPr>
            <a:r>
              <a:rPr lang="ru-RU" sz="800" dirty="0" smtClean="0">
                <a:solidFill>
                  <a:schemeClr val="bg1">
                    <a:lumMod val="95000"/>
                  </a:schemeClr>
                </a:solidFill>
              </a:rPr>
              <a:t>Автоматизировать процессы </a:t>
            </a:r>
            <a:r>
              <a:rPr lang="ru-RU" sz="800" dirty="0">
                <a:solidFill>
                  <a:schemeClr val="bg1">
                    <a:lumMod val="95000"/>
                  </a:schemeClr>
                </a:solidFill>
              </a:rPr>
              <a:t>приема и отпуска с прямой интеграцией в АСКУ через систему</a:t>
            </a:r>
            <a:r>
              <a:rPr lang="en-US" sz="8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sz="800" dirty="0" smtClean="0">
                <a:solidFill>
                  <a:schemeClr val="bg1">
                    <a:lumMod val="95000"/>
                  </a:schemeClr>
                </a:solidFill>
              </a:rPr>
              <a:t>MES</a:t>
            </a:r>
            <a:endParaRPr lang="ru-RU" sz="800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1" name="Овал 130"/>
          <p:cNvSpPr/>
          <p:nvPr/>
        </p:nvSpPr>
        <p:spPr>
          <a:xfrm>
            <a:off x="1569796" y="783088"/>
            <a:ext cx="582704" cy="565539"/>
          </a:xfrm>
          <a:prstGeom prst="ellipse">
            <a:avLst/>
          </a:prstGeom>
          <a:solidFill>
            <a:srgbClr val="3C3C3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3743908" y="1311405"/>
            <a:ext cx="1620000" cy="34679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ru-RU"/>
            </a:defPPr>
            <a:lvl1pPr algn="ctr" defTabSz="914400">
              <a:spcBef>
                <a:spcPct val="0"/>
              </a:spcBef>
              <a:buNone/>
              <a:defRPr sz="1323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46094"/>
            <a:r>
              <a:rPr lang="ru-RU" sz="1200" b="1" dirty="0" smtClean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9-2021 гг.*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Trebuchet MS" panose="020B06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3" name="Овал 132"/>
          <p:cNvSpPr/>
          <p:nvPr/>
        </p:nvSpPr>
        <p:spPr>
          <a:xfrm>
            <a:off x="4198864" y="783088"/>
            <a:ext cx="582704" cy="565539"/>
          </a:xfrm>
          <a:prstGeom prst="ellipse">
            <a:avLst/>
          </a:prstGeom>
          <a:solidFill>
            <a:srgbClr val="3C3C3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6263357" y="1311405"/>
            <a:ext cx="2016000" cy="34679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ru-RU"/>
            </a:defPPr>
            <a:lvl1pPr algn="ctr" defTabSz="914400">
              <a:spcBef>
                <a:spcPct val="0"/>
              </a:spcBef>
              <a:buNone/>
              <a:defRPr sz="1323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46094"/>
            <a:r>
              <a:rPr lang="ru-RU" sz="1200" b="1" dirty="0" smtClean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 167 млн руб.*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Trebuchet MS" panose="020B06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5" name="Овал 134"/>
          <p:cNvSpPr/>
          <p:nvPr/>
        </p:nvSpPr>
        <p:spPr>
          <a:xfrm>
            <a:off x="6869633" y="783088"/>
            <a:ext cx="582704" cy="565539"/>
          </a:xfrm>
          <a:prstGeom prst="ellipse">
            <a:avLst/>
          </a:prstGeom>
          <a:solidFill>
            <a:srgbClr val="3C3C3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36" name="Freeform 35"/>
          <p:cNvSpPr>
            <a:spLocks noEditPoints="1"/>
          </p:cNvSpPr>
          <p:nvPr/>
        </p:nvSpPr>
        <p:spPr bwMode="auto">
          <a:xfrm>
            <a:off x="7019329" y="1060792"/>
            <a:ext cx="252028" cy="220531"/>
          </a:xfrm>
          <a:custGeom>
            <a:avLst/>
            <a:gdLst>
              <a:gd name="T0" fmla="*/ 121 w 138"/>
              <a:gd name="T1" fmla="*/ 61 h 106"/>
              <a:gd name="T2" fmla="*/ 100 w 138"/>
              <a:gd name="T3" fmla="*/ 48 h 106"/>
              <a:gd name="T4" fmla="*/ 100 w 138"/>
              <a:gd name="T5" fmla="*/ 47 h 106"/>
              <a:gd name="T6" fmla="*/ 109 w 138"/>
              <a:gd name="T7" fmla="*/ 45 h 106"/>
              <a:gd name="T8" fmla="*/ 125 w 138"/>
              <a:gd name="T9" fmla="*/ 15 h 106"/>
              <a:gd name="T10" fmla="*/ 125 w 138"/>
              <a:gd name="T11" fmla="*/ 14 h 106"/>
              <a:gd name="T12" fmla="*/ 75 w 138"/>
              <a:gd name="T13" fmla="*/ 0 h 106"/>
              <a:gd name="T14" fmla="*/ 25 w 138"/>
              <a:gd name="T15" fmla="*/ 14 h 106"/>
              <a:gd name="T16" fmla="*/ 25 w 138"/>
              <a:gd name="T17" fmla="*/ 34 h 106"/>
              <a:gd name="T18" fmla="*/ 0 w 138"/>
              <a:gd name="T19" fmla="*/ 47 h 106"/>
              <a:gd name="T20" fmla="*/ 17 w 138"/>
              <a:gd name="T21" fmla="*/ 77 h 106"/>
              <a:gd name="T22" fmla="*/ 38 w 138"/>
              <a:gd name="T23" fmla="*/ 92 h 106"/>
              <a:gd name="T24" fmla="*/ 88 w 138"/>
              <a:gd name="T25" fmla="*/ 106 h 106"/>
              <a:gd name="T26" fmla="*/ 138 w 138"/>
              <a:gd name="T27" fmla="*/ 92 h 106"/>
              <a:gd name="T28" fmla="*/ 138 w 138"/>
              <a:gd name="T29" fmla="*/ 73 h 106"/>
              <a:gd name="T30" fmla="*/ 88 w 138"/>
              <a:gd name="T31" fmla="*/ 39 h 106"/>
              <a:gd name="T32" fmla="*/ 81 w 138"/>
              <a:gd name="T33" fmla="*/ 28 h 106"/>
              <a:gd name="T34" fmla="*/ 88 w 138"/>
              <a:gd name="T35" fmla="*/ 39 h 106"/>
              <a:gd name="T36" fmla="*/ 116 w 138"/>
              <a:gd name="T37" fmla="*/ 14 h 106"/>
              <a:gd name="T38" fmla="*/ 35 w 138"/>
              <a:gd name="T39" fmla="*/ 14 h 106"/>
              <a:gd name="T40" fmla="*/ 71 w 138"/>
              <a:gd name="T41" fmla="*/ 28 h 106"/>
              <a:gd name="T42" fmla="*/ 64 w 138"/>
              <a:gd name="T43" fmla="*/ 39 h 106"/>
              <a:gd name="T44" fmla="*/ 71 w 138"/>
              <a:gd name="T45" fmla="*/ 28 h 106"/>
              <a:gd name="T46" fmla="*/ 54 w 138"/>
              <a:gd name="T47" fmla="*/ 38 h 106"/>
              <a:gd name="T48" fmla="*/ 48 w 138"/>
              <a:gd name="T49" fmla="*/ 27 h 106"/>
              <a:gd name="T50" fmla="*/ 34 w 138"/>
              <a:gd name="T51" fmla="*/ 23 h 106"/>
              <a:gd name="T52" fmla="*/ 38 w 138"/>
              <a:gd name="T53" fmla="*/ 35 h 106"/>
              <a:gd name="T54" fmla="*/ 34 w 138"/>
              <a:gd name="T55" fmla="*/ 23 h 106"/>
              <a:gd name="T56" fmla="*/ 8 w 138"/>
              <a:gd name="T57" fmla="*/ 65 h 106"/>
              <a:gd name="T58" fmla="*/ 13 w 138"/>
              <a:gd name="T59" fmla="*/ 57 h 106"/>
              <a:gd name="T60" fmla="*/ 9 w 138"/>
              <a:gd name="T61" fmla="*/ 47 h 106"/>
              <a:gd name="T62" fmla="*/ 42 w 138"/>
              <a:gd name="T63" fmla="*/ 45 h 106"/>
              <a:gd name="T64" fmla="*/ 88 w 138"/>
              <a:gd name="T65" fmla="*/ 48 h 106"/>
              <a:gd name="T66" fmla="*/ 9 w 138"/>
              <a:gd name="T67" fmla="*/ 47 h 106"/>
              <a:gd name="T68" fmla="*/ 39 w 138"/>
              <a:gd name="T69" fmla="*/ 60 h 106"/>
              <a:gd name="T70" fmla="*/ 46 w 138"/>
              <a:gd name="T71" fmla="*/ 72 h 106"/>
              <a:gd name="T72" fmla="*/ 63 w 138"/>
              <a:gd name="T73" fmla="*/ 71 h 106"/>
              <a:gd name="T74" fmla="*/ 56 w 138"/>
              <a:gd name="T75" fmla="*/ 61 h 106"/>
              <a:gd name="T76" fmla="*/ 63 w 138"/>
              <a:gd name="T77" fmla="*/ 71 h 106"/>
              <a:gd name="T78" fmla="*/ 73 w 138"/>
              <a:gd name="T79" fmla="*/ 71 h 106"/>
              <a:gd name="T80" fmla="*/ 79 w 138"/>
              <a:gd name="T81" fmla="*/ 59 h 106"/>
              <a:gd name="T82" fmla="*/ 29 w 138"/>
              <a:gd name="T83" fmla="*/ 71 h 106"/>
              <a:gd name="T84" fmla="*/ 22 w 138"/>
              <a:gd name="T85" fmla="*/ 59 h 106"/>
              <a:gd name="T86" fmla="*/ 29 w 138"/>
              <a:gd name="T87" fmla="*/ 71 h 106"/>
              <a:gd name="T88" fmla="*/ 47 w 138"/>
              <a:gd name="T89" fmla="*/ 91 h 106"/>
              <a:gd name="T90" fmla="*/ 51 w 138"/>
              <a:gd name="T91" fmla="*/ 82 h 106"/>
              <a:gd name="T92" fmla="*/ 67 w 138"/>
              <a:gd name="T93" fmla="*/ 96 h 106"/>
              <a:gd name="T94" fmla="*/ 61 w 138"/>
              <a:gd name="T95" fmla="*/ 84 h 106"/>
              <a:gd name="T96" fmla="*/ 67 w 138"/>
              <a:gd name="T97" fmla="*/ 96 h 106"/>
              <a:gd name="T98" fmla="*/ 77 w 138"/>
              <a:gd name="T99" fmla="*/ 97 h 106"/>
              <a:gd name="T100" fmla="*/ 84 w 138"/>
              <a:gd name="T101" fmla="*/ 86 h 106"/>
              <a:gd name="T102" fmla="*/ 88 w 138"/>
              <a:gd name="T103" fmla="*/ 78 h 106"/>
              <a:gd name="T104" fmla="*/ 83 w 138"/>
              <a:gd name="T105" fmla="*/ 77 h 106"/>
              <a:gd name="T106" fmla="*/ 129 w 138"/>
              <a:gd name="T107" fmla="*/ 72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38" h="106">
                <a:moveTo>
                  <a:pt x="138" y="72"/>
                </a:moveTo>
                <a:cubicBezTo>
                  <a:pt x="138" y="65"/>
                  <a:pt x="129" y="62"/>
                  <a:pt x="121" y="61"/>
                </a:cubicBezTo>
                <a:cubicBezTo>
                  <a:pt x="115" y="60"/>
                  <a:pt x="108" y="59"/>
                  <a:pt x="100" y="58"/>
                </a:cubicBezTo>
                <a:cubicBezTo>
                  <a:pt x="100" y="48"/>
                  <a:pt x="100" y="48"/>
                  <a:pt x="100" y="48"/>
                </a:cubicBezTo>
                <a:cubicBezTo>
                  <a:pt x="100" y="48"/>
                  <a:pt x="100" y="48"/>
                  <a:pt x="100" y="48"/>
                </a:cubicBezTo>
                <a:cubicBezTo>
                  <a:pt x="100" y="47"/>
                  <a:pt x="100" y="47"/>
                  <a:pt x="100" y="47"/>
                </a:cubicBezTo>
                <a:cubicBezTo>
                  <a:pt x="100" y="47"/>
                  <a:pt x="100" y="47"/>
                  <a:pt x="100" y="47"/>
                </a:cubicBezTo>
                <a:cubicBezTo>
                  <a:pt x="103" y="46"/>
                  <a:pt x="106" y="46"/>
                  <a:pt x="109" y="45"/>
                </a:cubicBezTo>
                <a:cubicBezTo>
                  <a:pt x="116" y="43"/>
                  <a:pt x="125" y="41"/>
                  <a:pt x="125" y="34"/>
                </a:cubicBezTo>
                <a:cubicBezTo>
                  <a:pt x="125" y="15"/>
                  <a:pt x="125" y="15"/>
                  <a:pt x="125" y="15"/>
                </a:cubicBezTo>
                <a:cubicBezTo>
                  <a:pt x="125" y="15"/>
                  <a:pt x="125" y="15"/>
                  <a:pt x="125" y="15"/>
                </a:cubicBezTo>
                <a:cubicBezTo>
                  <a:pt x="125" y="15"/>
                  <a:pt x="125" y="15"/>
                  <a:pt x="125" y="14"/>
                </a:cubicBezTo>
                <a:cubicBezTo>
                  <a:pt x="125" y="7"/>
                  <a:pt x="116" y="5"/>
                  <a:pt x="109" y="3"/>
                </a:cubicBezTo>
                <a:cubicBezTo>
                  <a:pt x="100" y="1"/>
                  <a:pt x="88" y="0"/>
                  <a:pt x="75" y="0"/>
                </a:cubicBezTo>
                <a:cubicBezTo>
                  <a:pt x="63" y="0"/>
                  <a:pt x="51" y="1"/>
                  <a:pt x="42" y="3"/>
                </a:cubicBezTo>
                <a:cubicBezTo>
                  <a:pt x="35" y="5"/>
                  <a:pt x="25" y="7"/>
                  <a:pt x="25" y="14"/>
                </a:cubicBezTo>
                <a:cubicBezTo>
                  <a:pt x="25" y="34"/>
                  <a:pt x="25" y="34"/>
                  <a:pt x="25" y="34"/>
                </a:cubicBezTo>
                <a:cubicBezTo>
                  <a:pt x="25" y="34"/>
                  <a:pt x="25" y="34"/>
                  <a:pt x="25" y="34"/>
                </a:cubicBezTo>
                <a:cubicBezTo>
                  <a:pt x="22" y="34"/>
                  <a:pt x="19" y="35"/>
                  <a:pt x="17" y="35"/>
                </a:cubicBezTo>
                <a:cubicBezTo>
                  <a:pt x="9" y="37"/>
                  <a:pt x="0" y="40"/>
                  <a:pt x="0" y="47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73"/>
                  <a:pt x="9" y="76"/>
                  <a:pt x="17" y="77"/>
                </a:cubicBezTo>
                <a:cubicBezTo>
                  <a:pt x="23" y="79"/>
                  <a:pt x="30" y="80"/>
                  <a:pt x="38" y="80"/>
                </a:cubicBezTo>
                <a:cubicBezTo>
                  <a:pt x="38" y="92"/>
                  <a:pt x="38" y="92"/>
                  <a:pt x="38" y="92"/>
                </a:cubicBezTo>
                <a:cubicBezTo>
                  <a:pt x="38" y="98"/>
                  <a:pt x="48" y="101"/>
                  <a:pt x="55" y="103"/>
                </a:cubicBezTo>
                <a:cubicBezTo>
                  <a:pt x="64" y="105"/>
                  <a:pt x="76" y="106"/>
                  <a:pt x="88" y="106"/>
                </a:cubicBezTo>
                <a:cubicBezTo>
                  <a:pt x="101" y="106"/>
                  <a:pt x="112" y="105"/>
                  <a:pt x="121" y="103"/>
                </a:cubicBezTo>
                <a:cubicBezTo>
                  <a:pt x="129" y="101"/>
                  <a:pt x="138" y="98"/>
                  <a:pt x="138" y="92"/>
                </a:cubicBezTo>
                <a:cubicBezTo>
                  <a:pt x="138" y="73"/>
                  <a:pt x="138" y="73"/>
                  <a:pt x="138" y="73"/>
                </a:cubicBezTo>
                <a:cubicBezTo>
                  <a:pt x="138" y="73"/>
                  <a:pt x="138" y="73"/>
                  <a:pt x="138" y="73"/>
                </a:cubicBezTo>
                <a:cubicBezTo>
                  <a:pt x="138" y="73"/>
                  <a:pt x="138" y="72"/>
                  <a:pt x="138" y="72"/>
                </a:cubicBezTo>
                <a:close/>
                <a:moveTo>
                  <a:pt x="88" y="39"/>
                </a:moveTo>
                <a:cubicBezTo>
                  <a:pt x="86" y="39"/>
                  <a:pt x="84" y="39"/>
                  <a:pt x="81" y="39"/>
                </a:cubicBezTo>
                <a:cubicBezTo>
                  <a:pt x="81" y="28"/>
                  <a:pt x="81" y="28"/>
                  <a:pt x="81" y="28"/>
                </a:cubicBezTo>
                <a:cubicBezTo>
                  <a:pt x="84" y="28"/>
                  <a:pt x="86" y="28"/>
                  <a:pt x="88" y="28"/>
                </a:cubicBezTo>
                <a:lnTo>
                  <a:pt x="88" y="39"/>
                </a:lnTo>
                <a:close/>
                <a:moveTo>
                  <a:pt x="75" y="8"/>
                </a:moveTo>
                <a:cubicBezTo>
                  <a:pt x="98" y="8"/>
                  <a:pt x="112" y="12"/>
                  <a:pt x="116" y="14"/>
                </a:cubicBezTo>
                <a:cubicBezTo>
                  <a:pt x="112" y="17"/>
                  <a:pt x="98" y="20"/>
                  <a:pt x="75" y="20"/>
                </a:cubicBezTo>
                <a:cubicBezTo>
                  <a:pt x="53" y="20"/>
                  <a:pt x="39" y="17"/>
                  <a:pt x="35" y="14"/>
                </a:cubicBezTo>
                <a:cubicBezTo>
                  <a:pt x="39" y="12"/>
                  <a:pt x="53" y="8"/>
                  <a:pt x="75" y="8"/>
                </a:cubicBezTo>
                <a:close/>
                <a:moveTo>
                  <a:pt x="71" y="28"/>
                </a:moveTo>
                <a:cubicBezTo>
                  <a:pt x="71" y="39"/>
                  <a:pt x="71" y="39"/>
                  <a:pt x="71" y="39"/>
                </a:cubicBezTo>
                <a:cubicBezTo>
                  <a:pt x="69" y="39"/>
                  <a:pt x="66" y="39"/>
                  <a:pt x="64" y="39"/>
                </a:cubicBezTo>
                <a:cubicBezTo>
                  <a:pt x="64" y="28"/>
                  <a:pt x="64" y="28"/>
                  <a:pt x="64" y="28"/>
                </a:cubicBezTo>
                <a:cubicBezTo>
                  <a:pt x="66" y="28"/>
                  <a:pt x="69" y="28"/>
                  <a:pt x="71" y="28"/>
                </a:cubicBezTo>
                <a:close/>
                <a:moveTo>
                  <a:pt x="54" y="27"/>
                </a:moveTo>
                <a:cubicBezTo>
                  <a:pt x="54" y="38"/>
                  <a:pt x="54" y="38"/>
                  <a:pt x="54" y="38"/>
                </a:cubicBezTo>
                <a:cubicBezTo>
                  <a:pt x="52" y="38"/>
                  <a:pt x="50" y="38"/>
                  <a:pt x="48" y="37"/>
                </a:cubicBezTo>
                <a:cubicBezTo>
                  <a:pt x="48" y="27"/>
                  <a:pt x="48" y="27"/>
                  <a:pt x="48" y="27"/>
                </a:cubicBezTo>
                <a:cubicBezTo>
                  <a:pt x="50" y="27"/>
                  <a:pt x="52" y="27"/>
                  <a:pt x="54" y="27"/>
                </a:cubicBezTo>
                <a:close/>
                <a:moveTo>
                  <a:pt x="34" y="23"/>
                </a:moveTo>
                <a:cubicBezTo>
                  <a:pt x="35" y="24"/>
                  <a:pt x="37" y="24"/>
                  <a:pt x="38" y="24"/>
                </a:cubicBezTo>
                <a:cubicBezTo>
                  <a:pt x="38" y="35"/>
                  <a:pt x="38" y="35"/>
                  <a:pt x="38" y="35"/>
                </a:cubicBezTo>
                <a:cubicBezTo>
                  <a:pt x="36" y="34"/>
                  <a:pt x="35" y="34"/>
                  <a:pt x="34" y="33"/>
                </a:cubicBezTo>
                <a:lnTo>
                  <a:pt x="34" y="23"/>
                </a:lnTo>
                <a:close/>
                <a:moveTo>
                  <a:pt x="13" y="67"/>
                </a:moveTo>
                <a:cubicBezTo>
                  <a:pt x="10" y="67"/>
                  <a:pt x="9" y="66"/>
                  <a:pt x="8" y="65"/>
                </a:cubicBezTo>
                <a:cubicBezTo>
                  <a:pt x="8" y="55"/>
                  <a:pt x="8" y="55"/>
                  <a:pt x="8" y="55"/>
                </a:cubicBezTo>
                <a:cubicBezTo>
                  <a:pt x="10" y="56"/>
                  <a:pt x="11" y="56"/>
                  <a:pt x="13" y="57"/>
                </a:cubicBezTo>
                <a:lnTo>
                  <a:pt x="13" y="67"/>
                </a:lnTo>
                <a:close/>
                <a:moveTo>
                  <a:pt x="9" y="47"/>
                </a:moveTo>
                <a:cubicBezTo>
                  <a:pt x="12" y="45"/>
                  <a:pt x="20" y="43"/>
                  <a:pt x="32" y="42"/>
                </a:cubicBezTo>
                <a:cubicBezTo>
                  <a:pt x="35" y="43"/>
                  <a:pt x="39" y="44"/>
                  <a:pt x="42" y="45"/>
                </a:cubicBezTo>
                <a:cubicBezTo>
                  <a:pt x="51" y="47"/>
                  <a:pt x="63" y="48"/>
                  <a:pt x="75" y="48"/>
                </a:cubicBezTo>
                <a:cubicBezTo>
                  <a:pt x="80" y="48"/>
                  <a:pt x="84" y="48"/>
                  <a:pt x="88" y="48"/>
                </a:cubicBezTo>
                <a:cubicBezTo>
                  <a:pt x="82" y="50"/>
                  <a:pt x="69" y="52"/>
                  <a:pt x="50" y="52"/>
                </a:cubicBezTo>
                <a:cubicBezTo>
                  <a:pt x="28" y="52"/>
                  <a:pt x="14" y="49"/>
                  <a:pt x="9" y="47"/>
                </a:cubicBezTo>
                <a:close/>
                <a:moveTo>
                  <a:pt x="39" y="72"/>
                </a:moveTo>
                <a:cubicBezTo>
                  <a:pt x="39" y="60"/>
                  <a:pt x="39" y="60"/>
                  <a:pt x="39" y="60"/>
                </a:cubicBezTo>
                <a:cubicBezTo>
                  <a:pt x="41" y="61"/>
                  <a:pt x="43" y="61"/>
                  <a:pt x="46" y="61"/>
                </a:cubicBezTo>
                <a:cubicBezTo>
                  <a:pt x="46" y="72"/>
                  <a:pt x="46" y="72"/>
                  <a:pt x="46" y="72"/>
                </a:cubicBezTo>
                <a:cubicBezTo>
                  <a:pt x="43" y="72"/>
                  <a:pt x="41" y="72"/>
                  <a:pt x="39" y="72"/>
                </a:cubicBezTo>
                <a:close/>
                <a:moveTo>
                  <a:pt x="63" y="71"/>
                </a:moveTo>
                <a:cubicBezTo>
                  <a:pt x="61" y="72"/>
                  <a:pt x="58" y="72"/>
                  <a:pt x="56" y="72"/>
                </a:cubicBezTo>
                <a:cubicBezTo>
                  <a:pt x="56" y="61"/>
                  <a:pt x="56" y="61"/>
                  <a:pt x="56" y="61"/>
                </a:cubicBezTo>
                <a:cubicBezTo>
                  <a:pt x="58" y="61"/>
                  <a:pt x="60" y="61"/>
                  <a:pt x="63" y="60"/>
                </a:cubicBezTo>
                <a:lnTo>
                  <a:pt x="63" y="71"/>
                </a:lnTo>
                <a:close/>
                <a:moveTo>
                  <a:pt x="79" y="69"/>
                </a:moveTo>
                <a:cubicBezTo>
                  <a:pt x="77" y="70"/>
                  <a:pt x="75" y="70"/>
                  <a:pt x="73" y="71"/>
                </a:cubicBezTo>
                <a:cubicBezTo>
                  <a:pt x="73" y="59"/>
                  <a:pt x="73" y="59"/>
                  <a:pt x="73" y="59"/>
                </a:cubicBezTo>
                <a:cubicBezTo>
                  <a:pt x="75" y="59"/>
                  <a:pt x="77" y="59"/>
                  <a:pt x="79" y="59"/>
                </a:cubicBezTo>
                <a:lnTo>
                  <a:pt x="79" y="69"/>
                </a:lnTo>
                <a:close/>
                <a:moveTo>
                  <a:pt x="29" y="71"/>
                </a:moveTo>
                <a:cubicBezTo>
                  <a:pt x="26" y="70"/>
                  <a:pt x="24" y="70"/>
                  <a:pt x="22" y="70"/>
                </a:cubicBezTo>
                <a:cubicBezTo>
                  <a:pt x="22" y="59"/>
                  <a:pt x="22" y="59"/>
                  <a:pt x="22" y="59"/>
                </a:cubicBezTo>
                <a:cubicBezTo>
                  <a:pt x="24" y="59"/>
                  <a:pt x="27" y="59"/>
                  <a:pt x="29" y="60"/>
                </a:cubicBezTo>
                <a:lnTo>
                  <a:pt x="29" y="71"/>
                </a:lnTo>
                <a:close/>
                <a:moveTo>
                  <a:pt x="51" y="93"/>
                </a:moveTo>
                <a:cubicBezTo>
                  <a:pt x="49" y="92"/>
                  <a:pt x="47" y="92"/>
                  <a:pt x="47" y="91"/>
                </a:cubicBezTo>
                <a:cubicBezTo>
                  <a:pt x="47" y="81"/>
                  <a:pt x="47" y="81"/>
                  <a:pt x="47" y="81"/>
                </a:cubicBezTo>
                <a:cubicBezTo>
                  <a:pt x="48" y="81"/>
                  <a:pt x="49" y="82"/>
                  <a:pt x="51" y="82"/>
                </a:cubicBezTo>
                <a:lnTo>
                  <a:pt x="51" y="93"/>
                </a:lnTo>
                <a:close/>
                <a:moveTo>
                  <a:pt x="67" y="96"/>
                </a:moveTo>
                <a:cubicBezTo>
                  <a:pt x="65" y="96"/>
                  <a:pt x="63" y="96"/>
                  <a:pt x="61" y="95"/>
                </a:cubicBezTo>
                <a:cubicBezTo>
                  <a:pt x="61" y="84"/>
                  <a:pt x="61" y="84"/>
                  <a:pt x="61" y="84"/>
                </a:cubicBezTo>
                <a:cubicBezTo>
                  <a:pt x="63" y="85"/>
                  <a:pt x="65" y="85"/>
                  <a:pt x="67" y="85"/>
                </a:cubicBezTo>
                <a:lnTo>
                  <a:pt x="67" y="96"/>
                </a:lnTo>
                <a:close/>
                <a:moveTo>
                  <a:pt x="84" y="97"/>
                </a:moveTo>
                <a:cubicBezTo>
                  <a:pt x="82" y="97"/>
                  <a:pt x="79" y="97"/>
                  <a:pt x="77" y="97"/>
                </a:cubicBezTo>
                <a:cubicBezTo>
                  <a:pt x="77" y="86"/>
                  <a:pt x="77" y="86"/>
                  <a:pt x="77" y="86"/>
                </a:cubicBezTo>
                <a:cubicBezTo>
                  <a:pt x="79" y="86"/>
                  <a:pt x="82" y="86"/>
                  <a:pt x="84" y="86"/>
                </a:cubicBezTo>
                <a:lnTo>
                  <a:pt x="84" y="97"/>
                </a:lnTo>
                <a:close/>
                <a:moveTo>
                  <a:pt x="88" y="78"/>
                </a:moveTo>
                <a:cubicBezTo>
                  <a:pt x="86" y="78"/>
                  <a:pt x="84" y="78"/>
                  <a:pt x="81" y="78"/>
                </a:cubicBezTo>
                <a:cubicBezTo>
                  <a:pt x="82" y="78"/>
                  <a:pt x="83" y="77"/>
                  <a:pt x="83" y="77"/>
                </a:cubicBezTo>
                <a:cubicBezTo>
                  <a:pt x="90" y="76"/>
                  <a:pt x="99" y="73"/>
                  <a:pt x="100" y="67"/>
                </a:cubicBezTo>
                <a:cubicBezTo>
                  <a:pt x="115" y="68"/>
                  <a:pt x="125" y="70"/>
                  <a:pt x="129" y="72"/>
                </a:cubicBezTo>
                <a:cubicBezTo>
                  <a:pt x="124" y="74"/>
                  <a:pt x="111" y="78"/>
                  <a:pt x="88" y="78"/>
                </a:cubicBezTo>
                <a:close/>
              </a:path>
            </a:pathLst>
          </a:custGeom>
          <a:solidFill>
            <a:srgbClr val="EF621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Прямоугольник 136"/>
          <p:cNvSpPr/>
          <p:nvPr/>
        </p:nvSpPr>
        <p:spPr>
          <a:xfrm>
            <a:off x="1345476" y="1377774"/>
            <a:ext cx="108843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altLang="en-US" sz="1200" b="1" dirty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  <a:sym typeface="Trebuchet MS" panose="020B0603020202020204" pitchFamily="34" charset="0"/>
              </a:rPr>
              <a:t>21 </a:t>
            </a:r>
            <a:r>
              <a:rPr lang="ru-RU" altLang="en-US" sz="1200" b="1" dirty="0" smtClean="0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  <a:sym typeface="Trebuchet MS" panose="020B0603020202020204" pitchFamily="34" charset="0"/>
              </a:rPr>
              <a:t>нефтебаза*</a:t>
            </a:r>
            <a:endParaRPr lang="ru-RU" sz="1200" b="1" dirty="0">
              <a:solidFill>
                <a:schemeClr val="bg1">
                  <a:lumMod val="95000"/>
                </a:schemeClr>
              </a:solidFill>
              <a:latin typeface="Trebuchet MS" panose="020B0603020202020204" pitchFamily="34" charset="0"/>
              <a:ea typeface="Tahoma" panose="020B0604030504040204" pitchFamily="34" charset="0"/>
              <a:cs typeface="Tahoma" panose="020B0604030504040204" pitchFamily="34" charset="0"/>
              <a:sym typeface="Trebuchet MS" panose="020B0603020202020204" pitchFamily="34" charset="0"/>
            </a:endParaRPr>
          </a:p>
        </p:txBody>
      </p:sp>
      <p:sp>
        <p:nvSpPr>
          <p:cNvPr id="138" name="Picture118"/>
          <p:cNvSpPr>
            <a:spLocks noChangeAspect="1" noEditPoints="1"/>
          </p:cNvSpPr>
          <p:nvPr/>
        </p:nvSpPr>
        <p:spPr bwMode="auto">
          <a:xfrm>
            <a:off x="1715459" y="1046048"/>
            <a:ext cx="291377" cy="211505"/>
          </a:xfrm>
          <a:custGeom>
            <a:avLst/>
            <a:gdLst>
              <a:gd name="T0" fmla="*/ 1644 w 1700"/>
              <a:gd name="T1" fmla="*/ 610 h 1234"/>
              <a:gd name="T2" fmla="*/ 1586 w 1700"/>
              <a:gd name="T3" fmla="*/ 270 h 1234"/>
              <a:gd name="T4" fmla="*/ 1512 w 1700"/>
              <a:gd name="T5" fmla="*/ 214 h 1234"/>
              <a:gd name="T6" fmla="*/ 1474 w 1700"/>
              <a:gd name="T7" fmla="*/ 198 h 1234"/>
              <a:gd name="T8" fmla="*/ 1494 w 1700"/>
              <a:gd name="T9" fmla="*/ 150 h 1234"/>
              <a:gd name="T10" fmla="*/ 1512 w 1700"/>
              <a:gd name="T11" fmla="*/ 100 h 1234"/>
              <a:gd name="T12" fmla="*/ 1428 w 1700"/>
              <a:gd name="T13" fmla="*/ 72 h 1234"/>
              <a:gd name="T14" fmla="*/ 1304 w 1700"/>
              <a:gd name="T15" fmla="*/ 44 h 1234"/>
              <a:gd name="T16" fmla="*/ 1238 w 1700"/>
              <a:gd name="T17" fmla="*/ 34 h 1234"/>
              <a:gd name="T18" fmla="*/ 992 w 1700"/>
              <a:gd name="T19" fmla="*/ 8 h 1234"/>
              <a:gd name="T20" fmla="*/ 812 w 1700"/>
              <a:gd name="T21" fmla="*/ 0 h 1234"/>
              <a:gd name="T22" fmla="*/ 612 w 1700"/>
              <a:gd name="T23" fmla="*/ 10 h 1234"/>
              <a:gd name="T24" fmla="*/ 312 w 1700"/>
              <a:gd name="T25" fmla="*/ 48 h 1234"/>
              <a:gd name="T26" fmla="*/ 162 w 1700"/>
              <a:gd name="T27" fmla="*/ 82 h 1234"/>
              <a:gd name="T28" fmla="*/ 112 w 1700"/>
              <a:gd name="T29" fmla="*/ 158 h 1234"/>
              <a:gd name="T30" fmla="*/ 170 w 1700"/>
              <a:gd name="T31" fmla="*/ 136 h 1234"/>
              <a:gd name="T32" fmla="*/ 138 w 1700"/>
              <a:gd name="T33" fmla="*/ 204 h 1234"/>
              <a:gd name="T34" fmla="*/ 112 w 1700"/>
              <a:gd name="T35" fmla="*/ 270 h 1234"/>
              <a:gd name="T36" fmla="*/ 0 w 1700"/>
              <a:gd name="T37" fmla="*/ 1234 h 1234"/>
              <a:gd name="T38" fmla="*/ 1644 w 1700"/>
              <a:gd name="T39" fmla="*/ 1122 h 1234"/>
              <a:gd name="T40" fmla="*/ 396 w 1700"/>
              <a:gd name="T41" fmla="*/ 204 h 1234"/>
              <a:gd name="T42" fmla="*/ 510 w 1700"/>
              <a:gd name="T43" fmla="*/ 1122 h 1234"/>
              <a:gd name="T44" fmla="*/ 1076 w 1700"/>
              <a:gd name="T45" fmla="*/ 72 h 1234"/>
              <a:gd name="T46" fmla="*/ 1246 w 1700"/>
              <a:gd name="T47" fmla="*/ 92 h 1234"/>
              <a:gd name="T48" fmla="*/ 1164 w 1700"/>
              <a:gd name="T49" fmla="*/ 138 h 1234"/>
              <a:gd name="T50" fmla="*/ 1020 w 1700"/>
              <a:gd name="T51" fmla="*/ 124 h 1234"/>
              <a:gd name="T52" fmla="*/ 850 w 1700"/>
              <a:gd name="T53" fmla="*/ 114 h 1234"/>
              <a:gd name="T54" fmla="*/ 934 w 1700"/>
              <a:gd name="T55" fmla="*/ 60 h 1234"/>
              <a:gd name="T56" fmla="*/ 794 w 1700"/>
              <a:gd name="T57" fmla="*/ 114 h 1234"/>
              <a:gd name="T58" fmla="*/ 624 w 1700"/>
              <a:gd name="T59" fmla="*/ 122 h 1234"/>
              <a:gd name="T60" fmla="*/ 710 w 1700"/>
              <a:gd name="T61" fmla="*/ 60 h 1234"/>
              <a:gd name="T62" fmla="*/ 566 w 1700"/>
              <a:gd name="T63" fmla="*/ 126 h 1234"/>
              <a:gd name="T64" fmla="*/ 396 w 1700"/>
              <a:gd name="T65" fmla="*/ 146 h 1234"/>
              <a:gd name="T66" fmla="*/ 480 w 1700"/>
              <a:gd name="T67" fmla="*/ 80 h 1234"/>
              <a:gd name="T68" fmla="*/ 1512 w 1700"/>
              <a:gd name="T69" fmla="*/ 838 h 1234"/>
              <a:gd name="T70" fmla="*/ 1512 w 1700"/>
              <a:gd name="T71" fmla="*/ 952 h 1234"/>
              <a:gd name="T72" fmla="*/ 1512 w 1700"/>
              <a:gd name="T73" fmla="*/ 780 h 1234"/>
              <a:gd name="T74" fmla="*/ 1586 w 1700"/>
              <a:gd name="T75" fmla="*/ 780 h 1234"/>
              <a:gd name="T76" fmla="*/ 1586 w 1700"/>
              <a:gd name="T77" fmla="*/ 498 h 1234"/>
              <a:gd name="T78" fmla="*/ 1586 w 1700"/>
              <a:gd name="T79" fmla="*/ 328 h 1234"/>
              <a:gd name="T80" fmla="*/ 1512 w 1700"/>
              <a:gd name="T81" fmla="*/ 328 h 1234"/>
              <a:gd name="T82" fmla="*/ 1416 w 1700"/>
              <a:gd name="T83" fmla="*/ 182 h 1234"/>
              <a:gd name="T84" fmla="*/ 1304 w 1700"/>
              <a:gd name="T85" fmla="*/ 158 h 1234"/>
              <a:gd name="T86" fmla="*/ 1364 w 1700"/>
              <a:gd name="T87" fmla="*/ 114 h 1234"/>
              <a:gd name="T88" fmla="*/ 226 w 1700"/>
              <a:gd name="T89" fmla="*/ 122 h 1234"/>
              <a:gd name="T90" fmla="*/ 340 w 1700"/>
              <a:gd name="T91" fmla="*/ 98 h 1234"/>
              <a:gd name="T92" fmla="*/ 280 w 1700"/>
              <a:gd name="T93" fmla="*/ 166 h 1234"/>
              <a:gd name="T94" fmla="*/ 226 w 1700"/>
              <a:gd name="T95" fmla="*/ 328 h 1234"/>
              <a:gd name="T96" fmla="*/ 226 w 1700"/>
              <a:gd name="T97" fmla="*/ 234 h 1234"/>
              <a:gd name="T98" fmla="*/ 226 w 1700"/>
              <a:gd name="T99" fmla="*/ 1122 h 1234"/>
              <a:gd name="T100" fmla="*/ 1512 w 1700"/>
              <a:gd name="T101" fmla="*/ 1008 h 1234"/>
              <a:gd name="T102" fmla="*/ 1512 w 1700"/>
              <a:gd name="T103" fmla="*/ 1122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00" h="1234">
                <a:moveTo>
                  <a:pt x="1644" y="1122"/>
                </a:moveTo>
                <a:lnTo>
                  <a:pt x="1644" y="668"/>
                </a:lnTo>
                <a:lnTo>
                  <a:pt x="1644" y="610"/>
                </a:lnTo>
                <a:lnTo>
                  <a:pt x="1644" y="214"/>
                </a:lnTo>
                <a:lnTo>
                  <a:pt x="1586" y="214"/>
                </a:lnTo>
                <a:lnTo>
                  <a:pt x="1586" y="270"/>
                </a:lnTo>
                <a:lnTo>
                  <a:pt x="1512" y="270"/>
                </a:lnTo>
                <a:lnTo>
                  <a:pt x="1512" y="228"/>
                </a:lnTo>
                <a:lnTo>
                  <a:pt x="1512" y="214"/>
                </a:lnTo>
                <a:lnTo>
                  <a:pt x="1512" y="214"/>
                </a:lnTo>
                <a:lnTo>
                  <a:pt x="1494" y="206"/>
                </a:lnTo>
                <a:lnTo>
                  <a:pt x="1474" y="198"/>
                </a:lnTo>
                <a:lnTo>
                  <a:pt x="1474" y="142"/>
                </a:lnTo>
                <a:lnTo>
                  <a:pt x="1474" y="142"/>
                </a:lnTo>
                <a:lnTo>
                  <a:pt x="1494" y="150"/>
                </a:lnTo>
                <a:lnTo>
                  <a:pt x="1512" y="158"/>
                </a:lnTo>
                <a:lnTo>
                  <a:pt x="1512" y="100"/>
                </a:lnTo>
                <a:lnTo>
                  <a:pt x="1512" y="100"/>
                </a:lnTo>
                <a:lnTo>
                  <a:pt x="1496" y="94"/>
                </a:lnTo>
                <a:lnTo>
                  <a:pt x="1476" y="86"/>
                </a:lnTo>
                <a:lnTo>
                  <a:pt x="1428" y="72"/>
                </a:lnTo>
                <a:lnTo>
                  <a:pt x="1370" y="58"/>
                </a:lnTo>
                <a:lnTo>
                  <a:pt x="1304" y="46"/>
                </a:lnTo>
                <a:lnTo>
                  <a:pt x="1304" y="44"/>
                </a:lnTo>
                <a:lnTo>
                  <a:pt x="1294" y="44"/>
                </a:lnTo>
                <a:lnTo>
                  <a:pt x="1294" y="44"/>
                </a:lnTo>
                <a:lnTo>
                  <a:pt x="1238" y="34"/>
                </a:lnTo>
                <a:lnTo>
                  <a:pt x="1178" y="26"/>
                </a:lnTo>
                <a:lnTo>
                  <a:pt x="1054" y="12"/>
                </a:lnTo>
                <a:lnTo>
                  <a:pt x="992" y="8"/>
                </a:lnTo>
                <a:lnTo>
                  <a:pt x="930" y="4"/>
                </a:lnTo>
                <a:lnTo>
                  <a:pt x="870" y="2"/>
                </a:lnTo>
                <a:lnTo>
                  <a:pt x="812" y="0"/>
                </a:lnTo>
                <a:lnTo>
                  <a:pt x="812" y="0"/>
                </a:lnTo>
                <a:lnTo>
                  <a:pt x="714" y="2"/>
                </a:lnTo>
                <a:lnTo>
                  <a:pt x="612" y="10"/>
                </a:lnTo>
                <a:lnTo>
                  <a:pt x="508" y="20"/>
                </a:lnTo>
                <a:lnTo>
                  <a:pt x="406" y="32"/>
                </a:lnTo>
                <a:lnTo>
                  <a:pt x="312" y="48"/>
                </a:lnTo>
                <a:lnTo>
                  <a:pt x="230" y="64"/>
                </a:lnTo>
                <a:lnTo>
                  <a:pt x="192" y="72"/>
                </a:lnTo>
                <a:lnTo>
                  <a:pt x="162" y="82"/>
                </a:lnTo>
                <a:lnTo>
                  <a:pt x="134" y="92"/>
                </a:lnTo>
                <a:lnTo>
                  <a:pt x="112" y="100"/>
                </a:lnTo>
                <a:lnTo>
                  <a:pt x="112" y="158"/>
                </a:lnTo>
                <a:lnTo>
                  <a:pt x="112" y="158"/>
                </a:lnTo>
                <a:lnTo>
                  <a:pt x="138" y="146"/>
                </a:lnTo>
                <a:lnTo>
                  <a:pt x="170" y="136"/>
                </a:lnTo>
                <a:lnTo>
                  <a:pt x="170" y="192"/>
                </a:lnTo>
                <a:lnTo>
                  <a:pt x="170" y="192"/>
                </a:lnTo>
                <a:lnTo>
                  <a:pt x="138" y="204"/>
                </a:lnTo>
                <a:lnTo>
                  <a:pt x="112" y="214"/>
                </a:lnTo>
                <a:lnTo>
                  <a:pt x="112" y="228"/>
                </a:lnTo>
                <a:lnTo>
                  <a:pt x="112" y="270"/>
                </a:lnTo>
                <a:lnTo>
                  <a:pt x="112" y="1122"/>
                </a:lnTo>
                <a:lnTo>
                  <a:pt x="0" y="1122"/>
                </a:lnTo>
                <a:lnTo>
                  <a:pt x="0" y="1234"/>
                </a:lnTo>
                <a:lnTo>
                  <a:pt x="1700" y="1234"/>
                </a:lnTo>
                <a:lnTo>
                  <a:pt x="1700" y="1122"/>
                </a:lnTo>
                <a:lnTo>
                  <a:pt x="1644" y="1122"/>
                </a:lnTo>
                <a:close/>
                <a:moveTo>
                  <a:pt x="396" y="1122"/>
                </a:moveTo>
                <a:lnTo>
                  <a:pt x="396" y="270"/>
                </a:lnTo>
                <a:lnTo>
                  <a:pt x="396" y="204"/>
                </a:lnTo>
                <a:lnTo>
                  <a:pt x="396" y="204"/>
                </a:lnTo>
                <a:lnTo>
                  <a:pt x="510" y="190"/>
                </a:lnTo>
                <a:lnTo>
                  <a:pt x="510" y="1122"/>
                </a:lnTo>
                <a:lnTo>
                  <a:pt x="396" y="1122"/>
                </a:lnTo>
                <a:close/>
                <a:moveTo>
                  <a:pt x="1076" y="128"/>
                </a:moveTo>
                <a:lnTo>
                  <a:pt x="1076" y="72"/>
                </a:lnTo>
                <a:lnTo>
                  <a:pt x="1076" y="72"/>
                </a:lnTo>
                <a:lnTo>
                  <a:pt x="1164" y="82"/>
                </a:lnTo>
                <a:lnTo>
                  <a:pt x="1246" y="92"/>
                </a:lnTo>
                <a:lnTo>
                  <a:pt x="1246" y="150"/>
                </a:lnTo>
                <a:lnTo>
                  <a:pt x="1246" y="150"/>
                </a:lnTo>
                <a:lnTo>
                  <a:pt x="1164" y="138"/>
                </a:lnTo>
                <a:lnTo>
                  <a:pt x="1076" y="128"/>
                </a:lnTo>
                <a:lnTo>
                  <a:pt x="1076" y="128"/>
                </a:lnTo>
                <a:close/>
                <a:moveTo>
                  <a:pt x="1020" y="124"/>
                </a:moveTo>
                <a:lnTo>
                  <a:pt x="1020" y="124"/>
                </a:lnTo>
                <a:lnTo>
                  <a:pt x="934" y="118"/>
                </a:lnTo>
                <a:lnTo>
                  <a:pt x="850" y="114"/>
                </a:lnTo>
                <a:lnTo>
                  <a:pt x="850" y="58"/>
                </a:lnTo>
                <a:lnTo>
                  <a:pt x="850" y="58"/>
                </a:lnTo>
                <a:lnTo>
                  <a:pt x="934" y="60"/>
                </a:lnTo>
                <a:lnTo>
                  <a:pt x="1020" y="66"/>
                </a:lnTo>
                <a:lnTo>
                  <a:pt x="1020" y="124"/>
                </a:lnTo>
                <a:close/>
                <a:moveTo>
                  <a:pt x="794" y="114"/>
                </a:moveTo>
                <a:lnTo>
                  <a:pt x="794" y="114"/>
                </a:lnTo>
                <a:lnTo>
                  <a:pt x="710" y="116"/>
                </a:lnTo>
                <a:lnTo>
                  <a:pt x="624" y="122"/>
                </a:lnTo>
                <a:lnTo>
                  <a:pt x="624" y="66"/>
                </a:lnTo>
                <a:lnTo>
                  <a:pt x="624" y="66"/>
                </a:lnTo>
                <a:lnTo>
                  <a:pt x="710" y="60"/>
                </a:lnTo>
                <a:lnTo>
                  <a:pt x="794" y="58"/>
                </a:lnTo>
                <a:lnTo>
                  <a:pt x="794" y="114"/>
                </a:lnTo>
                <a:close/>
                <a:moveTo>
                  <a:pt x="566" y="126"/>
                </a:moveTo>
                <a:lnTo>
                  <a:pt x="566" y="126"/>
                </a:lnTo>
                <a:lnTo>
                  <a:pt x="480" y="136"/>
                </a:lnTo>
                <a:lnTo>
                  <a:pt x="396" y="146"/>
                </a:lnTo>
                <a:lnTo>
                  <a:pt x="396" y="90"/>
                </a:lnTo>
                <a:lnTo>
                  <a:pt x="396" y="90"/>
                </a:lnTo>
                <a:lnTo>
                  <a:pt x="480" y="80"/>
                </a:lnTo>
                <a:lnTo>
                  <a:pt x="566" y="70"/>
                </a:lnTo>
                <a:lnTo>
                  <a:pt x="566" y="126"/>
                </a:lnTo>
                <a:close/>
                <a:moveTo>
                  <a:pt x="1512" y="838"/>
                </a:moveTo>
                <a:lnTo>
                  <a:pt x="1586" y="838"/>
                </a:lnTo>
                <a:lnTo>
                  <a:pt x="1586" y="952"/>
                </a:lnTo>
                <a:lnTo>
                  <a:pt x="1512" y="952"/>
                </a:lnTo>
                <a:lnTo>
                  <a:pt x="1512" y="838"/>
                </a:lnTo>
                <a:close/>
                <a:moveTo>
                  <a:pt x="1586" y="780"/>
                </a:moveTo>
                <a:lnTo>
                  <a:pt x="1512" y="780"/>
                </a:lnTo>
                <a:lnTo>
                  <a:pt x="1512" y="668"/>
                </a:lnTo>
                <a:lnTo>
                  <a:pt x="1586" y="668"/>
                </a:lnTo>
                <a:lnTo>
                  <a:pt x="1586" y="780"/>
                </a:lnTo>
                <a:close/>
                <a:moveTo>
                  <a:pt x="1512" y="610"/>
                </a:moveTo>
                <a:lnTo>
                  <a:pt x="1512" y="498"/>
                </a:lnTo>
                <a:lnTo>
                  <a:pt x="1586" y="498"/>
                </a:lnTo>
                <a:lnTo>
                  <a:pt x="1586" y="610"/>
                </a:lnTo>
                <a:lnTo>
                  <a:pt x="1512" y="610"/>
                </a:lnTo>
                <a:close/>
                <a:moveTo>
                  <a:pt x="1586" y="328"/>
                </a:moveTo>
                <a:lnTo>
                  <a:pt x="1586" y="440"/>
                </a:lnTo>
                <a:lnTo>
                  <a:pt x="1512" y="440"/>
                </a:lnTo>
                <a:lnTo>
                  <a:pt x="1512" y="328"/>
                </a:lnTo>
                <a:lnTo>
                  <a:pt x="1586" y="328"/>
                </a:lnTo>
                <a:close/>
                <a:moveTo>
                  <a:pt x="1416" y="126"/>
                </a:moveTo>
                <a:lnTo>
                  <a:pt x="1416" y="182"/>
                </a:lnTo>
                <a:lnTo>
                  <a:pt x="1416" y="182"/>
                </a:lnTo>
                <a:lnTo>
                  <a:pt x="1364" y="170"/>
                </a:lnTo>
                <a:lnTo>
                  <a:pt x="1304" y="158"/>
                </a:lnTo>
                <a:lnTo>
                  <a:pt x="1304" y="102"/>
                </a:lnTo>
                <a:lnTo>
                  <a:pt x="1304" y="102"/>
                </a:lnTo>
                <a:lnTo>
                  <a:pt x="1364" y="114"/>
                </a:lnTo>
                <a:lnTo>
                  <a:pt x="1416" y="126"/>
                </a:lnTo>
                <a:lnTo>
                  <a:pt x="1416" y="126"/>
                </a:lnTo>
                <a:close/>
                <a:moveTo>
                  <a:pt x="226" y="122"/>
                </a:moveTo>
                <a:lnTo>
                  <a:pt x="226" y="122"/>
                </a:lnTo>
                <a:lnTo>
                  <a:pt x="280" y="110"/>
                </a:lnTo>
                <a:lnTo>
                  <a:pt x="340" y="98"/>
                </a:lnTo>
                <a:lnTo>
                  <a:pt x="340" y="156"/>
                </a:lnTo>
                <a:lnTo>
                  <a:pt x="340" y="156"/>
                </a:lnTo>
                <a:lnTo>
                  <a:pt x="280" y="166"/>
                </a:lnTo>
                <a:lnTo>
                  <a:pt x="226" y="178"/>
                </a:lnTo>
                <a:lnTo>
                  <a:pt x="226" y="122"/>
                </a:lnTo>
                <a:close/>
                <a:moveTo>
                  <a:pt x="226" y="328"/>
                </a:moveTo>
                <a:lnTo>
                  <a:pt x="226" y="328"/>
                </a:lnTo>
                <a:lnTo>
                  <a:pt x="226" y="234"/>
                </a:lnTo>
                <a:lnTo>
                  <a:pt x="226" y="234"/>
                </a:lnTo>
                <a:lnTo>
                  <a:pt x="282" y="222"/>
                </a:lnTo>
                <a:lnTo>
                  <a:pt x="282" y="1122"/>
                </a:lnTo>
                <a:lnTo>
                  <a:pt x="226" y="1122"/>
                </a:lnTo>
                <a:lnTo>
                  <a:pt x="226" y="328"/>
                </a:lnTo>
                <a:close/>
                <a:moveTo>
                  <a:pt x="1512" y="1122"/>
                </a:moveTo>
                <a:lnTo>
                  <a:pt x="1512" y="1008"/>
                </a:lnTo>
                <a:lnTo>
                  <a:pt x="1586" y="1008"/>
                </a:lnTo>
                <a:lnTo>
                  <a:pt x="1586" y="1122"/>
                </a:lnTo>
                <a:lnTo>
                  <a:pt x="1512" y="1122"/>
                </a:lnTo>
                <a:close/>
              </a:path>
            </a:pathLst>
          </a:custGeom>
          <a:solidFill>
            <a:srgbClr val="EF621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139" name="deadline_2"/>
          <p:cNvSpPr>
            <a:spLocks noEditPoints="1"/>
          </p:cNvSpPr>
          <p:nvPr/>
        </p:nvSpPr>
        <p:spPr bwMode="auto">
          <a:xfrm>
            <a:off x="4396907" y="1056486"/>
            <a:ext cx="186618" cy="188833"/>
          </a:xfrm>
          <a:custGeom>
            <a:avLst/>
            <a:gdLst>
              <a:gd name="T0" fmla="*/ 11554 w 15249"/>
              <a:gd name="T1" fmla="*/ 14446 h 16065"/>
              <a:gd name="T2" fmla="*/ 15249 w 15249"/>
              <a:gd name="T3" fmla="*/ 15083 h 16065"/>
              <a:gd name="T4" fmla="*/ 4763 w 15249"/>
              <a:gd name="T5" fmla="*/ 3658 h 16065"/>
              <a:gd name="T6" fmla="*/ 4071 w 15249"/>
              <a:gd name="T7" fmla="*/ 14963 h 16065"/>
              <a:gd name="T8" fmla="*/ 3572 w 15249"/>
              <a:gd name="T9" fmla="*/ 14240 h 16065"/>
              <a:gd name="T10" fmla="*/ 4098 w 15249"/>
              <a:gd name="T11" fmla="*/ 0 h 16065"/>
              <a:gd name="T12" fmla="*/ 8215 w 15249"/>
              <a:gd name="T13" fmla="*/ 11729 h 16065"/>
              <a:gd name="T14" fmla="*/ 7996 w 15249"/>
              <a:gd name="T15" fmla="*/ 9218 h 16065"/>
              <a:gd name="T16" fmla="*/ 7943 w 15249"/>
              <a:gd name="T17" fmla="*/ 9029 h 16065"/>
              <a:gd name="T18" fmla="*/ 7802 w 15249"/>
              <a:gd name="T19" fmla="*/ 8895 h 16065"/>
              <a:gd name="T20" fmla="*/ 7606 w 15249"/>
              <a:gd name="T21" fmla="*/ 8851 h 16065"/>
              <a:gd name="T22" fmla="*/ 7418 w 15249"/>
              <a:gd name="T23" fmla="*/ 8914 h 16065"/>
              <a:gd name="T24" fmla="*/ 7291 w 15249"/>
              <a:gd name="T25" fmla="*/ 9060 h 16065"/>
              <a:gd name="T26" fmla="*/ 7239 w 15249"/>
              <a:gd name="T27" fmla="*/ 11475 h 16065"/>
              <a:gd name="T28" fmla="*/ 7093 w 15249"/>
              <a:gd name="T29" fmla="*/ 11626 h 16065"/>
              <a:gd name="T30" fmla="*/ 7001 w 15249"/>
              <a:gd name="T31" fmla="*/ 11817 h 16065"/>
              <a:gd name="T32" fmla="*/ 6980 w 15249"/>
              <a:gd name="T33" fmla="*/ 12061 h 16065"/>
              <a:gd name="T34" fmla="*/ 7106 w 15249"/>
              <a:gd name="T35" fmla="*/ 12382 h 16065"/>
              <a:gd name="T36" fmla="*/ 7373 w 15249"/>
              <a:gd name="T37" fmla="*/ 12591 h 16065"/>
              <a:gd name="T38" fmla="*/ 7679 w 15249"/>
              <a:gd name="T39" fmla="*/ 12639 h 16065"/>
              <a:gd name="T40" fmla="*/ 9210 w 15249"/>
              <a:gd name="T41" fmla="*/ 13335 h 16065"/>
              <a:gd name="T42" fmla="*/ 9469 w 15249"/>
              <a:gd name="T43" fmla="*/ 13359 h 16065"/>
              <a:gd name="T44" fmla="*/ 9682 w 15249"/>
              <a:gd name="T45" fmla="*/ 13208 h 16065"/>
              <a:gd name="T46" fmla="*/ 9745 w 15249"/>
              <a:gd name="T47" fmla="*/ 13012 h 16065"/>
              <a:gd name="T48" fmla="*/ 9699 w 15249"/>
              <a:gd name="T49" fmla="*/ 12824 h 16065"/>
              <a:gd name="T50" fmla="*/ 9559 w 15249"/>
              <a:gd name="T51" fmla="*/ 12681 h 16065"/>
              <a:gd name="T52" fmla="*/ 7493 w 15249"/>
              <a:gd name="T53" fmla="*/ 12239 h 16065"/>
              <a:gd name="T54" fmla="*/ 7388 w 15249"/>
              <a:gd name="T55" fmla="*/ 12138 h 16065"/>
              <a:gd name="T56" fmla="*/ 7347 w 15249"/>
              <a:gd name="T57" fmla="*/ 11995 h 16065"/>
              <a:gd name="T58" fmla="*/ 7388 w 15249"/>
              <a:gd name="T59" fmla="*/ 11851 h 16065"/>
              <a:gd name="T60" fmla="*/ 7493 w 15249"/>
              <a:gd name="T61" fmla="*/ 11751 h 16065"/>
              <a:gd name="T62" fmla="*/ 7640 w 15249"/>
              <a:gd name="T63" fmla="*/ 11717 h 16065"/>
              <a:gd name="T64" fmla="*/ 7780 w 15249"/>
              <a:gd name="T65" fmla="*/ 11765 h 16065"/>
              <a:gd name="T66" fmla="*/ 7876 w 15249"/>
              <a:gd name="T67" fmla="*/ 11875 h 16065"/>
              <a:gd name="T68" fmla="*/ 7902 w 15249"/>
              <a:gd name="T69" fmla="*/ 12023 h 16065"/>
              <a:gd name="T70" fmla="*/ 7847 w 15249"/>
              <a:gd name="T71" fmla="*/ 12160 h 16065"/>
              <a:gd name="T72" fmla="*/ 7734 w 15249"/>
              <a:gd name="T73" fmla="*/ 12250 h 16065"/>
              <a:gd name="T74" fmla="*/ 7209 w 15249"/>
              <a:gd name="T75" fmla="*/ 7945 h 16065"/>
              <a:gd name="T76" fmla="*/ 5187 w 15249"/>
              <a:gd name="T77" fmla="*/ 8733 h 16065"/>
              <a:gd name="T78" fmla="*/ 3866 w 15249"/>
              <a:gd name="T79" fmla="*/ 10412 h 16065"/>
              <a:gd name="T80" fmla="*/ 3593 w 15249"/>
              <a:gd name="T81" fmla="*/ 12613 h 16065"/>
              <a:gd name="T82" fmla="*/ 4478 w 15249"/>
              <a:gd name="T83" fmla="*/ 14582 h 16065"/>
              <a:gd name="T84" fmla="*/ 6224 w 15249"/>
              <a:gd name="T85" fmla="*/ 15818 h 16065"/>
              <a:gd name="T86" fmla="*/ 8446 w 15249"/>
              <a:gd name="T87" fmla="*/ 15982 h 16065"/>
              <a:gd name="T88" fmla="*/ 10366 w 15249"/>
              <a:gd name="T89" fmla="*/ 15006 h 16065"/>
              <a:gd name="T90" fmla="*/ 11520 w 15249"/>
              <a:gd name="T91" fmla="*/ 13203 h 16065"/>
              <a:gd name="T92" fmla="*/ 11575 w 15249"/>
              <a:gd name="T93" fmla="*/ 10978 h 16065"/>
              <a:gd name="T94" fmla="*/ 10508 w 15249"/>
              <a:gd name="T95" fmla="*/ 9118 h 16065"/>
              <a:gd name="T96" fmla="*/ 8643 w 15249"/>
              <a:gd name="T97" fmla="*/ 8053 h 16065"/>
              <a:gd name="T98" fmla="*/ 6792 w 15249"/>
              <a:gd name="T99" fmla="*/ 15220 h 16065"/>
              <a:gd name="T100" fmla="*/ 5266 w 15249"/>
              <a:gd name="T101" fmla="*/ 14348 h 16065"/>
              <a:gd name="T102" fmla="*/ 4393 w 15249"/>
              <a:gd name="T103" fmla="*/ 12826 h 16065"/>
              <a:gd name="T104" fmla="*/ 4438 w 15249"/>
              <a:gd name="T105" fmla="*/ 11006 h 16065"/>
              <a:gd name="T106" fmla="*/ 5382 w 15249"/>
              <a:gd name="T107" fmla="*/ 9531 h 16065"/>
              <a:gd name="T108" fmla="*/ 6954 w 15249"/>
              <a:gd name="T109" fmla="*/ 8732 h 16065"/>
              <a:gd name="T110" fmla="*/ 8772 w 15249"/>
              <a:gd name="T111" fmla="*/ 8867 h 16065"/>
              <a:gd name="T112" fmla="*/ 10200 w 15249"/>
              <a:gd name="T113" fmla="*/ 9877 h 16065"/>
              <a:gd name="T114" fmla="*/ 10925 w 15249"/>
              <a:gd name="T115" fmla="*/ 11488 h 16065"/>
              <a:gd name="T116" fmla="*/ 10700 w 15249"/>
              <a:gd name="T117" fmla="*/ 13290 h 16065"/>
              <a:gd name="T118" fmla="*/ 9621 w 15249"/>
              <a:gd name="T119" fmla="*/ 14662 h 16065"/>
              <a:gd name="T120" fmla="*/ 7966 w 15249"/>
              <a:gd name="T121" fmla="*/ 15308 h 160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249" h="16065">
                <a:moveTo>
                  <a:pt x="1059" y="14027"/>
                </a:moveTo>
                <a:lnTo>
                  <a:pt x="1059" y="5746"/>
                </a:lnTo>
                <a:lnTo>
                  <a:pt x="14190" y="5746"/>
                </a:lnTo>
                <a:lnTo>
                  <a:pt x="14190" y="14027"/>
                </a:lnTo>
                <a:lnTo>
                  <a:pt x="11788" y="14027"/>
                </a:lnTo>
                <a:lnTo>
                  <a:pt x="11752" y="14098"/>
                </a:lnTo>
                <a:lnTo>
                  <a:pt x="11715" y="14169"/>
                </a:lnTo>
                <a:lnTo>
                  <a:pt x="11677" y="14240"/>
                </a:lnTo>
                <a:lnTo>
                  <a:pt x="11636" y="14310"/>
                </a:lnTo>
                <a:lnTo>
                  <a:pt x="11596" y="14378"/>
                </a:lnTo>
                <a:lnTo>
                  <a:pt x="11554" y="14446"/>
                </a:lnTo>
                <a:lnTo>
                  <a:pt x="11510" y="14514"/>
                </a:lnTo>
                <a:lnTo>
                  <a:pt x="11466" y="14581"/>
                </a:lnTo>
                <a:lnTo>
                  <a:pt x="11421" y="14646"/>
                </a:lnTo>
                <a:lnTo>
                  <a:pt x="11375" y="14712"/>
                </a:lnTo>
                <a:lnTo>
                  <a:pt x="11327" y="14776"/>
                </a:lnTo>
                <a:lnTo>
                  <a:pt x="11278" y="14838"/>
                </a:lnTo>
                <a:lnTo>
                  <a:pt x="11229" y="14901"/>
                </a:lnTo>
                <a:lnTo>
                  <a:pt x="11178" y="14963"/>
                </a:lnTo>
                <a:lnTo>
                  <a:pt x="11126" y="15023"/>
                </a:lnTo>
                <a:lnTo>
                  <a:pt x="11074" y="15083"/>
                </a:lnTo>
                <a:lnTo>
                  <a:pt x="15249" y="15083"/>
                </a:lnTo>
                <a:lnTo>
                  <a:pt x="15249" y="14822"/>
                </a:lnTo>
                <a:lnTo>
                  <a:pt x="15249" y="14027"/>
                </a:lnTo>
                <a:lnTo>
                  <a:pt x="15249" y="5746"/>
                </a:lnTo>
                <a:lnTo>
                  <a:pt x="15249" y="3611"/>
                </a:lnTo>
                <a:lnTo>
                  <a:pt x="15249" y="625"/>
                </a:lnTo>
                <a:lnTo>
                  <a:pt x="12922" y="625"/>
                </a:lnTo>
                <a:lnTo>
                  <a:pt x="12922" y="3658"/>
                </a:lnTo>
                <a:lnTo>
                  <a:pt x="10532" y="3658"/>
                </a:lnTo>
                <a:lnTo>
                  <a:pt x="10532" y="625"/>
                </a:lnTo>
                <a:lnTo>
                  <a:pt x="4763" y="625"/>
                </a:lnTo>
                <a:lnTo>
                  <a:pt x="4763" y="3658"/>
                </a:lnTo>
                <a:lnTo>
                  <a:pt x="2374" y="3658"/>
                </a:lnTo>
                <a:lnTo>
                  <a:pt x="2374" y="625"/>
                </a:lnTo>
                <a:lnTo>
                  <a:pt x="0" y="625"/>
                </a:lnTo>
                <a:lnTo>
                  <a:pt x="0" y="3611"/>
                </a:lnTo>
                <a:lnTo>
                  <a:pt x="0" y="5746"/>
                </a:lnTo>
                <a:lnTo>
                  <a:pt x="0" y="14027"/>
                </a:lnTo>
                <a:lnTo>
                  <a:pt x="0" y="14822"/>
                </a:lnTo>
                <a:lnTo>
                  <a:pt x="0" y="15083"/>
                </a:lnTo>
                <a:lnTo>
                  <a:pt x="4175" y="15083"/>
                </a:lnTo>
                <a:lnTo>
                  <a:pt x="4122" y="15023"/>
                </a:lnTo>
                <a:lnTo>
                  <a:pt x="4071" y="14963"/>
                </a:lnTo>
                <a:lnTo>
                  <a:pt x="4019" y="14901"/>
                </a:lnTo>
                <a:lnTo>
                  <a:pt x="3970" y="14838"/>
                </a:lnTo>
                <a:lnTo>
                  <a:pt x="3922" y="14776"/>
                </a:lnTo>
                <a:lnTo>
                  <a:pt x="3873" y="14712"/>
                </a:lnTo>
                <a:lnTo>
                  <a:pt x="3827" y="14646"/>
                </a:lnTo>
                <a:lnTo>
                  <a:pt x="3782" y="14581"/>
                </a:lnTo>
                <a:lnTo>
                  <a:pt x="3738" y="14514"/>
                </a:lnTo>
                <a:lnTo>
                  <a:pt x="3694" y="14446"/>
                </a:lnTo>
                <a:lnTo>
                  <a:pt x="3653" y="14378"/>
                </a:lnTo>
                <a:lnTo>
                  <a:pt x="3612" y="14310"/>
                </a:lnTo>
                <a:lnTo>
                  <a:pt x="3572" y="14240"/>
                </a:lnTo>
                <a:lnTo>
                  <a:pt x="3533" y="14169"/>
                </a:lnTo>
                <a:lnTo>
                  <a:pt x="3496" y="14098"/>
                </a:lnTo>
                <a:lnTo>
                  <a:pt x="3461" y="14027"/>
                </a:lnTo>
                <a:lnTo>
                  <a:pt x="1059" y="14027"/>
                </a:lnTo>
                <a:close/>
                <a:moveTo>
                  <a:pt x="11199" y="0"/>
                </a:moveTo>
                <a:lnTo>
                  <a:pt x="12256" y="0"/>
                </a:lnTo>
                <a:lnTo>
                  <a:pt x="12256" y="3105"/>
                </a:lnTo>
                <a:lnTo>
                  <a:pt x="11199" y="3105"/>
                </a:lnTo>
                <a:lnTo>
                  <a:pt x="11199" y="0"/>
                </a:lnTo>
                <a:close/>
                <a:moveTo>
                  <a:pt x="3039" y="0"/>
                </a:moveTo>
                <a:lnTo>
                  <a:pt x="4098" y="0"/>
                </a:lnTo>
                <a:lnTo>
                  <a:pt x="4098" y="3105"/>
                </a:lnTo>
                <a:lnTo>
                  <a:pt x="3039" y="3105"/>
                </a:lnTo>
                <a:lnTo>
                  <a:pt x="3039" y="0"/>
                </a:lnTo>
                <a:close/>
                <a:moveTo>
                  <a:pt x="9559" y="12681"/>
                </a:moveTo>
                <a:lnTo>
                  <a:pt x="8268" y="11938"/>
                </a:lnTo>
                <a:lnTo>
                  <a:pt x="8264" y="11902"/>
                </a:lnTo>
                <a:lnTo>
                  <a:pt x="8258" y="11866"/>
                </a:lnTo>
                <a:lnTo>
                  <a:pt x="8250" y="11831"/>
                </a:lnTo>
                <a:lnTo>
                  <a:pt x="8240" y="11797"/>
                </a:lnTo>
                <a:lnTo>
                  <a:pt x="8228" y="11763"/>
                </a:lnTo>
                <a:lnTo>
                  <a:pt x="8215" y="11729"/>
                </a:lnTo>
                <a:lnTo>
                  <a:pt x="8200" y="11698"/>
                </a:lnTo>
                <a:lnTo>
                  <a:pt x="8183" y="11667"/>
                </a:lnTo>
                <a:lnTo>
                  <a:pt x="8164" y="11638"/>
                </a:lnTo>
                <a:lnTo>
                  <a:pt x="8144" y="11609"/>
                </a:lnTo>
                <a:lnTo>
                  <a:pt x="8123" y="11582"/>
                </a:lnTo>
                <a:lnTo>
                  <a:pt x="8101" y="11556"/>
                </a:lnTo>
                <a:lnTo>
                  <a:pt x="8077" y="11531"/>
                </a:lnTo>
                <a:lnTo>
                  <a:pt x="8051" y="11507"/>
                </a:lnTo>
                <a:lnTo>
                  <a:pt x="8025" y="11484"/>
                </a:lnTo>
                <a:lnTo>
                  <a:pt x="7996" y="11464"/>
                </a:lnTo>
                <a:lnTo>
                  <a:pt x="7996" y="9218"/>
                </a:lnTo>
                <a:lnTo>
                  <a:pt x="7996" y="9200"/>
                </a:lnTo>
                <a:lnTo>
                  <a:pt x="7994" y="9181"/>
                </a:lnTo>
                <a:lnTo>
                  <a:pt x="7992" y="9163"/>
                </a:lnTo>
                <a:lnTo>
                  <a:pt x="7989" y="9145"/>
                </a:lnTo>
                <a:lnTo>
                  <a:pt x="7984" y="9127"/>
                </a:lnTo>
                <a:lnTo>
                  <a:pt x="7979" y="9110"/>
                </a:lnTo>
                <a:lnTo>
                  <a:pt x="7974" y="9093"/>
                </a:lnTo>
                <a:lnTo>
                  <a:pt x="7967" y="9076"/>
                </a:lnTo>
                <a:lnTo>
                  <a:pt x="7960" y="9060"/>
                </a:lnTo>
                <a:lnTo>
                  <a:pt x="7952" y="9044"/>
                </a:lnTo>
                <a:lnTo>
                  <a:pt x="7943" y="9029"/>
                </a:lnTo>
                <a:lnTo>
                  <a:pt x="7933" y="9013"/>
                </a:lnTo>
                <a:lnTo>
                  <a:pt x="7923" y="8998"/>
                </a:lnTo>
                <a:lnTo>
                  <a:pt x="7912" y="8984"/>
                </a:lnTo>
                <a:lnTo>
                  <a:pt x="7900" y="8971"/>
                </a:lnTo>
                <a:lnTo>
                  <a:pt x="7888" y="8958"/>
                </a:lnTo>
                <a:lnTo>
                  <a:pt x="7875" y="8946"/>
                </a:lnTo>
                <a:lnTo>
                  <a:pt x="7861" y="8935"/>
                </a:lnTo>
                <a:lnTo>
                  <a:pt x="7847" y="8924"/>
                </a:lnTo>
                <a:lnTo>
                  <a:pt x="7832" y="8914"/>
                </a:lnTo>
                <a:lnTo>
                  <a:pt x="7817" y="8904"/>
                </a:lnTo>
                <a:lnTo>
                  <a:pt x="7802" y="8895"/>
                </a:lnTo>
                <a:lnTo>
                  <a:pt x="7786" y="8887"/>
                </a:lnTo>
                <a:lnTo>
                  <a:pt x="7770" y="8880"/>
                </a:lnTo>
                <a:lnTo>
                  <a:pt x="7753" y="8873"/>
                </a:lnTo>
                <a:lnTo>
                  <a:pt x="7736" y="8867"/>
                </a:lnTo>
                <a:lnTo>
                  <a:pt x="7718" y="8862"/>
                </a:lnTo>
                <a:lnTo>
                  <a:pt x="7700" y="8858"/>
                </a:lnTo>
                <a:lnTo>
                  <a:pt x="7682" y="8855"/>
                </a:lnTo>
                <a:lnTo>
                  <a:pt x="7663" y="8853"/>
                </a:lnTo>
                <a:lnTo>
                  <a:pt x="7644" y="8851"/>
                </a:lnTo>
                <a:lnTo>
                  <a:pt x="7625" y="8851"/>
                </a:lnTo>
                <a:lnTo>
                  <a:pt x="7606" y="8851"/>
                </a:lnTo>
                <a:lnTo>
                  <a:pt x="7588" y="8853"/>
                </a:lnTo>
                <a:lnTo>
                  <a:pt x="7569" y="8855"/>
                </a:lnTo>
                <a:lnTo>
                  <a:pt x="7551" y="8858"/>
                </a:lnTo>
                <a:lnTo>
                  <a:pt x="7532" y="8862"/>
                </a:lnTo>
                <a:lnTo>
                  <a:pt x="7515" y="8867"/>
                </a:lnTo>
                <a:lnTo>
                  <a:pt x="7497" y="8873"/>
                </a:lnTo>
                <a:lnTo>
                  <a:pt x="7481" y="8880"/>
                </a:lnTo>
                <a:lnTo>
                  <a:pt x="7464" y="8887"/>
                </a:lnTo>
                <a:lnTo>
                  <a:pt x="7448" y="8895"/>
                </a:lnTo>
                <a:lnTo>
                  <a:pt x="7433" y="8904"/>
                </a:lnTo>
                <a:lnTo>
                  <a:pt x="7418" y="8914"/>
                </a:lnTo>
                <a:lnTo>
                  <a:pt x="7404" y="8924"/>
                </a:lnTo>
                <a:lnTo>
                  <a:pt x="7390" y="8935"/>
                </a:lnTo>
                <a:lnTo>
                  <a:pt x="7375" y="8946"/>
                </a:lnTo>
                <a:lnTo>
                  <a:pt x="7362" y="8958"/>
                </a:lnTo>
                <a:lnTo>
                  <a:pt x="7350" y="8971"/>
                </a:lnTo>
                <a:lnTo>
                  <a:pt x="7339" y="8984"/>
                </a:lnTo>
                <a:lnTo>
                  <a:pt x="7328" y="8998"/>
                </a:lnTo>
                <a:lnTo>
                  <a:pt x="7317" y="9013"/>
                </a:lnTo>
                <a:lnTo>
                  <a:pt x="7308" y="9029"/>
                </a:lnTo>
                <a:lnTo>
                  <a:pt x="7299" y="9044"/>
                </a:lnTo>
                <a:lnTo>
                  <a:pt x="7291" y="9060"/>
                </a:lnTo>
                <a:lnTo>
                  <a:pt x="7283" y="9076"/>
                </a:lnTo>
                <a:lnTo>
                  <a:pt x="7277" y="9093"/>
                </a:lnTo>
                <a:lnTo>
                  <a:pt x="7271" y="9110"/>
                </a:lnTo>
                <a:lnTo>
                  <a:pt x="7266" y="9127"/>
                </a:lnTo>
                <a:lnTo>
                  <a:pt x="7262" y="9145"/>
                </a:lnTo>
                <a:lnTo>
                  <a:pt x="7259" y="9163"/>
                </a:lnTo>
                <a:lnTo>
                  <a:pt x="7256" y="9181"/>
                </a:lnTo>
                <a:lnTo>
                  <a:pt x="7255" y="9200"/>
                </a:lnTo>
                <a:lnTo>
                  <a:pt x="7254" y="9218"/>
                </a:lnTo>
                <a:lnTo>
                  <a:pt x="7254" y="11464"/>
                </a:lnTo>
                <a:lnTo>
                  <a:pt x="7239" y="11475"/>
                </a:lnTo>
                <a:lnTo>
                  <a:pt x="7223" y="11487"/>
                </a:lnTo>
                <a:lnTo>
                  <a:pt x="7208" y="11500"/>
                </a:lnTo>
                <a:lnTo>
                  <a:pt x="7194" y="11512"/>
                </a:lnTo>
                <a:lnTo>
                  <a:pt x="7180" y="11525"/>
                </a:lnTo>
                <a:lnTo>
                  <a:pt x="7166" y="11538"/>
                </a:lnTo>
                <a:lnTo>
                  <a:pt x="7153" y="11552"/>
                </a:lnTo>
                <a:lnTo>
                  <a:pt x="7140" y="11566"/>
                </a:lnTo>
                <a:lnTo>
                  <a:pt x="7128" y="11580"/>
                </a:lnTo>
                <a:lnTo>
                  <a:pt x="7116" y="11595"/>
                </a:lnTo>
                <a:lnTo>
                  <a:pt x="7104" y="11610"/>
                </a:lnTo>
                <a:lnTo>
                  <a:pt x="7093" y="11626"/>
                </a:lnTo>
                <a:lnTo>
                  <a:pt x="7082" y="11641"/>
                </a:lnTo>
                <a:lnTo>
                  <a:pt x="7072" y="11657"/>
                </a:lnTo>
                <a:lnTo>
                  <a:pt x="7061" y="11674"/>
                </a:lnTo>
                <a:lnTo>
                  <a:pt x="7052" y="11691"/>
                </a:lnTo>
                <a:lnTo>
                  <a:pt x="7043" y="11708"/>
                </a:lnTo>
                <a:lnTo>
                  <a:pt x="7035" y="11725"/>
                </a:lnTo>
                <a:lnTo>
                  <a:pt x="7027" y="11744"/>
                </a:lnTo>
                <a:lnTo>
                  <a:pt x="7020" y="11761"/>
                </a:lnTo>
                <a:lnTo>
                  <a:pt x="7013" y="11780"/>
                </a:lnTo>
                <a:lnTo>
                  <a:pt x="7007" y="11798"/>
                </a:lnTo>
                <a:lnTo>
                  <a:pt x="7001" y="11817"/>
                </a:lnTo>
                <a:lnTo>
                  <a:pt x="6996" y="11836"/>
                </a:lnTo>
                <a:lnTo>
                  <a:pt x="6991" y="11855"/>
                </a:lnTo>
                <a:lnTo>
                  <a:pt x="6987" y="11874"/>
                </a:lnTo>
                <a:lnTo>
                  <a:pt x="6984" y="11893"/>
                </a:lnTo>
                <a:lnTo>
                  <a:pt x="6981" y="11913"/>
                </a:lnTo>
                <a:lnTo>
                  <a:pt x="6979" y="11933"/>
                </a:lnTo>
                <a:lnTo>
                  <a:pt x="6978" y="11953"/>
                </a:lnTo>
                <a:lnTo>
                  <a:pt x="6977" y="11973"/>
                </a:lnTo>
                <a:lnTo>
                  <a:pt x="6976" y="11995"/>
                </a:lnTo>
                <a:lnTo>
                  <a:pt x="6977" y="12028"/>
                </a:lnTo>
                <a:lnTo>
                  <a:pt x="6980" y="12061"/>
                </a:lnTo>
                <a:lnTo>
                  <a:pt x="6984" y="12093"/>
                </a:lnTo>
                <a:lnTo>
                  <a:pt x="6989" y="12125"/>
                </a:lnTo>
                <a:lnTo>
                  <a:pt x="6997" y="12156"/>
                </a:lnTo>
                <a:lnTo>
                  <a:pt x="7005" y="12187"/>
                </a:lnTo>
                <a:lnTo>
                  <a:pt x="7015" y="12216"/>
                </a:lnTo>
                <a:lnTo>
                  <a:pt x="7027" y="12247"/>
                </a:lnTo>
                <a:lnTo>
                  <a:pt x="7040" y="12275"/>
                </a:lnTo>
                <a:lnTo>
                  <a:pt x="7054" y="12303"/>
                </a:lnTo>
                <a:lnTo>
                  <a:pt x="7071" y="12330"/>
                </a:lnTo>
                <a:lnTo>
                  <a:pt x="7088" y="12356"/>
                </a:lnTo>
                <a:lnTo>
                  <a:pt x="7106" y="12382"/>
                </a:lnTo>
                <a:lnTo>
                  <a:pt x="7125" y="12406"/>
                </a:lnTo>
                <a:lnTo>
                  <a:pt x="7145" y="12429"/>
                </a:lnTo>
                <a:lnTo>
                  <a:pt x="7166" y="12452"/>
                </a:lnTo>
                <a:lnTo>
                  <a:pt x="7189" y="12473"/>
                </a:lnTo>
                <a:lnTo>
                  <a:pt x="7212" y="12494"/>
                </a:lnTo>
                <a:lnTo>
                  <a:pt x="7238" y="12514"/>
                </a:lnTo>
                <a:lnTo>
                  <a:pt x="7263" y="12532"/>
                </a:lnTo>
                <a:lnTo>
                  <a:pt x="7289" y="12548"/>
                </a:lnTo>
                <a:lnTo>
                  <a:pt x="7316" y="12564"/>
                </a:lnTo>
                <a:lnTo>
                  <a:pt x="7344" y="12578"/>
                </a:lnTo>
                <a:lnTo>
                  <a:pt x="7373" y="12591"/>
                </a:lnTo>
                <a:lnTo>
                  <a:pt x="7403" y="12603"/>
                </a:lnTo>
                <a:lnTo>
                  <a:pt x="7433" y="12613"/>
                </a:lnTo>
                <a:lnTo>
                  <a:pt x="7463" y="12622"/>
                </a:lnTo>
                <a:lnTo>
                  <a:pt x="7495" y="12629"/>
                </a:lnTo>
                <a:lnTo>
                  <a:pt x="7526" y="12634"/>
                </a:lnTo>
                <a:lnTo>
                  <a:pt x="7560" y="12639"/>
                </a:lnTo>
                <a:lnTo>
                  <a:pt x="7592" y="12641"/>
                </a:lnTo>
                <a:lnTo>
                  <a:pt x="7625" y="12642"/>
                </a:lnTo>
                <a:lnTo>
                  <a:pt x="7643" y="12642"/>
                </a:lnTo>
                <a:lnTo>
                  <a:pt x="7661" y="12641"/>
                </a:lnTo>
                <a:lnTo>
                  <a:pt x="7679" y="12639"/>
                </a:lnTo>
                <a:lnTo>
                  <a:pt x="7697" y="12638"/>
                </a:lnTo>
                <a:lnTo>
                  <a:pt x="7715" y="12635"/>
                </a:lnTo>
                <a:lnTo>
                  <a:pt x="7733" y="12632"/>
                </a:lnTo>
                <a:lnTo>
                  <a:pt x="7750" y="12629"/>
                </a:lnTo>
                <a:lnTo>
                  <a:pt x="7767" y="12625"/>
                </a:lnTo>
                <a:lnTo>
                  <a:pt x="7801" y="12616"/>
                </a:lnTo>
                <a:lnTo>
                  <a:pt x="7834" y="12605"/>
                </a:lnTo>
                <a:lnTo>
                  <a:pt x="7868" y="12593"/>
                </a:lnTo>
                <a:lnTo>
                  <a:pt x="7900" y="12579"/>
                </a:lnTo>
                <a:lnTo>
                  <a:pt x="9188" y="13323"/>
                </a:lnTo>
                <a:lnTo>
                  <a:pt x="9210" y="13335"/>
                </a:lnTo>
                <a:lnTo>
                  <a:pt x="9233" y="13345"/>
                </a:lnTo>
                <a:lnTo>
                  <a:pt x="9256" y="13353"/>
                </a:lnTo>
                <a:lnTo>
                  <a:pt x="9279" y="13360"/>
                </a:lnTo>
                <a:lnTo>
                  <a:pt x="9304" y="13365"/>
                </a:lnTo>
                <a:lnTo>
                  <a:pt x="9327" y="13368"/>
                </a:lnTo>
                <a:lnTo>
                  <a:pt x="9351" y="13371"/>
                </a:lnTo>
                <a:lnTo>
                  <a:pt x="9374" y="13371"/>
                </a:lnTo>
                <a:lnTo>
                  <a:pt x="9398" y="13370"/>
                </a:lnTo>
                <a:lnTo>
                  <a:pt x="9421" y="13368"/>
                </a:lnTo>
                <a:lnTo>
                  <a:pt x="9445" y="13364"/>
                </a:lnTo>
                <a:lnTo>
                  <a:pt x="9469" y="13359"/>
                </a:lnTo>
                <a:lnTo>
                  <a:pt x="9491" y="13353"/>
                </a:lnTo>
                <a:lnTo>
                  <a:pt x="9513" y="13344"/>
                </a:lnTo>
                <a:lnTo>
                  <a:pt x="9535" y="13335"/>
                </a:lnTo>
                <a:lnTo>
                  <a:pt x="9556" y="13324"/>
                </a:lnTo>
                <a:lnTo>
                  <a:pt x="9577" y="13312"/>
                </a:lnTo>
                <a:lnTo>
                  <a:pt x="9596" y="13298"/>
                </a:lnTo>
                <a:lnTo>
                  <a:pt x="9616" y="13283"/>
                </a:lnTo>
                <a:lnTo>
                  <a:pt x="9634" y="13266"/>
                </a:lnTo>
                <a:lnTo>
                  <a:pt x="9651" y="13249"/>
                </a:lnTo>
                <a:lnTo>
                  <a:pt x="9667" y="13230"/>
                </a:lnTo>
                <a:lnTo>
                  <a:pt x="9682" y="13208"/>
                </a:lnTo>
                <a:lnTo>
                  <a:pt x="9695" y="13187"/>
                </a:lnTo>
                <a:lnTo>
                  <a:pt x="9704" y="13170"/>
                </a:lnTo>
                <a:lnTo>
                  <a:pt x="9712" y="13153"/>
                </a:lnTo>
                <a:lnTo>
                  <a:pt x="9720" y="13136"/>
                </a:lnTo>
                <a:lnTo>
                  <a:pt x="9726" y="13119"/>
                </a:lnTo>
                <a:lnTo>
                  <a:pt x="9731" y="13101"/>
                </a:lnTo>
                <a:lnTo>
                  <a:pt x="9736" y="13083"/>
                </a:lnTo>
                <a:lnTo>
                  <a:pt x="9739" y="13066"/>
                </a:lnTo>
                <a:lnTo>
                  <a:pt x="9742" y="13048"/>
                </a:lnTo>
                <a:lnTo>
                  <a:pt x="9744" y="13030"/>
                </a:lnTo>
                <a:lnTo>
                  <a:pt x="9745" y="13012"/>
                </a:lnTo>
                <a:lnTo>
                  <a:pt x="9745" y="12994"/>
                </a:lnTo>
                <a:lnTo>
                  <a:pt x="9744" y="12977"/>
                </a:lnTo>
                <a:lnTo>
                  <a:pt x="9742" y="12958"/>
                </a:lnTo>
                <a:lnTo>
                  <a:pt x="9739" y="12941"/>
                </a:lnTo>
                <a:lnTo>
                  <a:pt x="9736" y="12923"/>
                </a:lnTo>
                <a:lnTo>
                  <a:pt x="9732" y="12906"/>
                </a:lnTo>
                <a:lnTo>
                  <a:pt x="9727" y="12889"/>
                </a:lnTo>
                <a:lnTo>
                  <a:pt x="9721" y="12872"/>
                </a:lnTo>
                <a:lnTo>
                  <a:pt x="9714" y="12856"/>
                </a:lnTo>
                <a:lnTo>
                  <a:pt x="9707" y="12840"/>
                </a:lnTo>
                <a:lnTo>
                  <a:pt x="9699" y="12824"/>
                </a:lnTo>
                <a:lnTo>
                  <a:pt x="9690" y="12808"/>
                </a:lnTo>
                <a:lnTo>
                  <a:pt x="9680" y="12793"/>
                </a:lnTo>
                <a:lnTo>
                  <a:pt x="9670" y="12779"/>
                </a:lnTo>
                <a:lnTo>
                  <a:pt x="9659" y="12765"/>
                </a:lnTo>
                <a:lnTo>
                  <a:pt x="9647" y="12751"/>
                </a:lnTo>
                <a:lnTo>
                  <a:pt x="9634" y="12738"/>
                </a:lnTo>
                <a:lnTo>
                  <a:pt x="9621" y="12725"/>
                </a:lnTo>
                <a:lnTo>
                  <a:pt x="9605" y="12713"/>
                </a:lnTo>
                <a:lnTo>
                  <a:pt x="9591" y="12701"/>
                </a:lnTo>
                <a:lnTo>
                  <a:pt x="9575" y="12691"/>
                </a:lnTo>
                <a:lnTo>
                  <a:pt x="9559" y="12681"/>
                </a:lnTo>
                <a:close/>
                <a:moveTo>
                  <a:pt x="7625" y="12272"/>
                </a:moveTo>
                <a:lnTo>
                  <a:pt x="7611" y="12272"/>
                </a:lnTo>
                <a:lnTo>
                  <a:pt x="7597" y="12271"/>
                </a:lnTo>
                <a:lnTo>
                  <a:pt x="7583" y="12269"/>
                </a:lnTo>
                <a:lnTo>
                  <a:pt x="7570" y="12266"/>
                </a:lnTo>
                <a:lnTo>
                  <a:pt x="7556" y="12263"/>
                </a:lnTo>
                <a:lnTo>
                  <a:pt x="7542" y="12260"/>
                </a:lnTo>
                <a:lnTo>
                  <a:pt x="7530" y="12255"/>
                </a:lnTo>
                <a:lnTo>
                  <a:pt x="7517" y="12250"/>
                </a:lnTo>
                <a:lnTo>
                  <a:pt x="7505" y="12245"/>
                </a:lnTo>
                <a:lnTo>
                  <a:pt x="7493" y="12239"/>
                </a:lnTo>
                <a:lnTo>
                  <a:pt x="7481" y="12231"/>
                </a:lnTo>
                <a:lnTo>
                  <a:pt x="7470" y="12224"/>
                </a:lnTo>
                <a:lnTo>
                  <a:pt x="7459" y="12216"/>
                </a:lnTo>
                <a:lnTo>
                  <a:pt x="7449" y="12208"/>
                </a:lnTo>
                <a:lnTo>
                  <a:pt x="7439" y="12199"/>
                </a:lnTo>
                <a:lnTo>
                  <a:pt x="7429" y="12190"/>
                </a:lnTo>
                <a:lnTo>
                  <a:pt x="7420" y="12180"/>
                </a:lnTo>
                <a:lnTo>
                  <a:pt x="7411" y="12170"/>
                </a:lnTo>
                <a:lnTo>
                  <a:pt x="7403" y="12160"/>
                </a:lnTo>
                <a:lnTo>
                  <a:pt x="7396" y="12149"/>
                </a:lnTo>
                <a:lnTo>
                  <a:pt x="7388" y="12138"/>
                </a:lnTo>
                <a:lnTo>
                  <a:pt x="7381" y="12126"/>
                </a:lnTo>
                <a:lnTo>
                  <a:pt x="7375" y="12115"/>
                </a:lnTo>
                <a:lnTo>
                  <a:pt x="7369" y="12102"/>
                </a:lnTo>
                <a:lnTo>
                  <a:pt x="7364" y="12090"/>
                </a:lnTo>
                <a:lnTo>
                  <a:pt x="7360" y="12077"/>
                </a:lnTo>
                <a:lnTo>
                  <a:pt x="7356" y="12064"/>
                </a:lnTo>
                <a:lnTo>
                  <a:pt x="7353" y="12051"/>
                </a:lnTo>
                <a:lnTo>
                  <a:pt x="7351" y="12037"/>
                </a:lnTo>
                <a:lnTo>
                  <a:pt x="7349" y="12023"/>
                </a:lnTo>
                <a:lnTo>
                  <a:pt x="7348" y="12009"/>
                </a:lnTo>
                <a:lnTo>
                  <a:pt x="7347" y="11995"/>
                </a:lnTo>
                <a:lnTo>
                  <a:pt x="7348" y="11980"/>
                </a:lnTo>
                <a:lnTo>
                  <a:pt x="7349" y="11966"/>
                </a:lnTo>
                <a:lnTo>
                  <a:pt x="7351" y="11952"/>
                </a:lnTo>
                <a:lnTo>
                  <a:pt x="7353" y="11938"/>
                </a:lnTo>
                <a:lnTo>
                  <a:pt x="7356" y="11925"/>
                </a:lnTo>
                <a:lnTo>
                  <a:pt x="7360" y="11912"/>
                </a:lnTo>
                <a:lnTo>
                  <a:pt x="7364" y="11899"/>
                </a:lnTo>
                <a:lnTo>
                  <a:pt x="7369" y="11887"/>
                </a:lnTo>
                <a:lnTo>
                  <a:pt x="7375" y="11875"/>
                </a:lnTo>
                <a:lnTo>
                  <a:pt x="7381" y="11863"/>
                </a:lnTo>
                <a:lnTo>
                  <a:pt x="7388" y="11851"/>
                </a:lnTo>
                <a:lnTo>
                  <a:pt x="7396" y="11840"/>
                </a:lnTo>
                <a:lnTo>
                  <a:pt x="7403" y="11829"/>
                </a:lnTo>
                <a:lnTo>
                  <a:pt x="7411" y="11819"/>
                </a:lnTo>
                <a:lnTo>
                  <a:pt x="7420" y="11809"/>
                </a:lnTo>
                <a:lnTo>
                  <a:pt x="7429" y="11799"/>
                </a:lnTo>
                <a:lnTo>
                  <a:pt x="7439" y="11790"/>
                </a:lnTo>
                <a:lnTo>
                  <a:pt x="7449" y="11781"/>
                </a:lnTo>
                <a:lnTo>
                  <a:pt x="7459" y="11773"/>
                </a:lnTo>
                <a:lnTo>
                  <a:pt x="7470" y="11765"/>
                </a:lnTo>
                <a:lnTo>
                  <a:pt x="7481" y="11758"/>
                </a:lnTo>
                <a:lnTo>
                  <a:pt x="7493" y="11751"/>
                </a:lnTo>
                <a:lnTo>
                  <a:pt x="7505" y="11745"/>
                </a:lnTo>
                <a:lnTo>
                  <a:pt x="7517" y="11739"/>
                </a:lnTo>
                <a:lnTo>
                  <a:pt x="7530" y="11734"/>
                </a:lnTo>
                <a:lnTo>
                  <a:pt x="7542" y="11729"/>
                </a:lnTo>
                <a:lnTo>
                  <a:pt x="7556" y="11726"/>
                </a:lnTo>
                <a:lnTo>
                  <a:pt x="7570" y="11722"/>
                </a:lnTo>
                <a:lnTo>
                  <a:pt x="7583" y="11720"/>
                </a:lnTo>
                <a:lnTo>
                  <a:pt x="7597" y="11718"/>
                </a:lnTo>
                <a:lnTo>
                  <a:pt x="7611" y="11717"/>
                </a:lnTo>
                <a:lnTo>
                  <a:pt x="7625" y="11717"/>
                </a:lnTo>
                <a:lnTo>
                  <a:pt x="7640" y="11717"/>
                </a:lnTo>
                <a:lnTo>
                  <a:pt x="7654" y="11718"/>
                </a:lnTo>
                <a:lnTo>
                  <a:pt x="7667" y="11720"/>
                </a:lnTo>
                <a:lnTo>
                  <a:pt x="7681" y="11722"/>
                </a:lnTo>
                <a:lnTo>
                  <a:pt x="7694" y="11726"/>
                </a:lnTo>
                <a:lnTo>
                  <a:pt x="7708" y="11729"/>
                </a:lnTo>
                <a:lnTo>
                  <a:pt x="7721" y="11734"/>
                </a:lnTo>
                <a:lnTo>
                  <a:pt x="7734" y="11739"/>
                </a:lnTo>
                <a:lnTo>
                  <a:pt x="7746" y="11745"/>
                </a:lnTo>
                <a:lnTo>
                  <a:pt x="7758" y="11751"/>
                </a:lnTo>
                <a:lnTo>
                  <a:pt x="7769" y="11758"/>
                </a:lnTo>
                <a:lnTo>
                  <a:pt x="7780" y="11765"/>
                </a:lnTo>
                <a:lnTo>
                  <a:pt x="7791" y="11773"/>
                </a:lnTo>
                <a:lnTo>
                  <a:pt x="7802" y="11781"/>
                </a:lnTo>
                <a:lnTo>
                  <a:pt x="7812" y="11790"/>
                </a:lnTo>
                <a:lnTo>
                  <a:pt x="7821" y="11799"/>
                </a:lnTo>
                <a:lnTo>
                  <a:pt x="7831" y="11809"/>
                </a:lnTo>
                <a:lnTo>
                  <a:pt x="7839" y="11819"/>
                </a:lnTo>
                <a:lnTo>
                  <a:pt x="7847" y="11829"/>
                </a:lnTo>
                <a:lnTo>
                  <a:pt x="7855" y="11840"/>
                </a:lnTo>
                <a:lnTo>
                  <a:pt x="7862" y="11851"/>
                </a:lnTo>
                <a:lnTo>
                  <a:pt x="7870" y="11863"/>
                </a:lnTo>
                <a:lnTo>
                  <a:pt x="7876" y="11875"/>
                </a:lnTo>
                <a:lnTo>
                  <a:pt x="7882" y="11887"/>
                </a:lnTo>
                <a:lnTo>
                  <a:pt x="7887" y="11899"/>
                </a:lnTo>
                <a:lnTo>
                  <a:pt x="7891" y="11912"/>
                </a:lnTo>
                <a:lnTo>
                  <a:pt x="7895" y="11925"/>
                </a:lnTo>
                <a:lnTo>
                  <a:pt x="7898" y="11938"/>
                </a:lnTo>
                <a:lnTo>
                  <a:pt x="7900" y="11952"/>
                </a:lnTo>
                <a:lnTo>
                  <a:pt x="7902" y="11966"/>
                </a:lnTo>
                <a:lnTo>
                  <a:pt x="7903" y="11980"/>
                </a:lnTo>
                <a:lnTo>
                  <a:pt x="7904" y="11995"/>
                </a:lnTo>
                <a:lnTo>
                  <a:pt x="7903" y="12009"/>
                </a:lnTo>
                <a:lnTo>
                  <a:pt x="7902" y="12023"/>
                </a:lnTo>
                <a:lnTo>
                  <a:pt x="7900" y="12037"/>
                </a:lnTo>
                <a:lnTo>
                  <a:pt x="7898" y="12051"/>
                </a:lnTo>
                <a:lnTo>
                  <a:pt x="7895" y="12064"/>
                </a:lnTo>
                <a:lnTo>
                  <a:pt x="7891" y="12077"/>
                </a:lnTo>
                <a:lnTo>
                  <a:pt x="7887" y="12090"/>
                </a:lnTo>
                <a:lnTo>
                  <a:pt x="7882" y="12102"/>
                </a:lnTo>
                <a:lnTo>
                  <a:pt x="7876" y="12115"/>
                </a:lnTo>
                <a:lnTo>
                  <a:pt x="7870" y="12126"/>
                </a:lnTo>
                <a:lnTo>
                  <a:pt x="7862" y="12138"/>
                </a:lnTo>
                <a:lnTo>
                  <a:pt x="7855" y="12149"/>
                </a:lnTo>
                <a:lnTo>
                  <a:pt x="7847" y="12160"/>
                </a:lnTo>
                <a:lnTo>
                  <a:pt x="7839" y="12170"/>
                </a:lnTo>
                <a:lnTo>
                  <a:pt x="7831" y="12180"/>
                </a:lnTo>
                <a:lnTo>
                  <a:pt x="7821" y="12190"/>
                </a:lnTo>
                <a:lnTo>
                  <a:pt x="7812" y="12199"/>
                </a:lnTo>
                <a:lnTo>
                  <a:pt x="7802" y="12208"/>
                </a:lnTo>
                <a:lnTo>
                  <a:pt x="7791" y="12216"/>
                </a:lnTo>
                <a:lnTo>
                  <a:pt x="7780" y="12224"/>
                </a:lnTo>
                <a:lnTo>
                  <a:pt x="7769" y="12231"/>
                </a:lnTo>
                <a:lnTo>
                  <a:pt x="7758" y="12239"/>
                </a:lnTo>
                <a:lnTo>
                  <a:pt x="7746" y="12245"/>
                </a:lnTo>
                <a:lnTo>
                  <a:pt x="7734" y="12250"/>
                </a:lnTo>
                <a:lnTo>
                  <a:pt x="7721" y="12255"/>
                </a:lnTo>
                <a:lnTo>
                  <a:pt x="7708" y="12260"/>
                </a:lnTo>
                <a:lnTo>
                  <a:pt x="7694" y="12263"/>
                </a:lnTo>
                <a:lnTo>
                  <a:pt x="7681" y="12266"/>
                </a:lnTo>
                <a:lnTo>
                  <a:pt x="7667" y="12269"/>
                </a:lnTo>
                <a:lnTo>
                  <a:pt x="7654" y="12271"/>
                </a:lnTo>
                <a:lnTo>
                  <a:pt x="7640" y="12272"/>
                </a:lnTo>
                <a:lnTo>
                  <a:pt x="7625" y="12272"/>
                </a:lnTo>
                <a:close/>
                <a:moveTo>
                  <a:pt x="7625" y="7924"/>
                </a:moveTo>
                <a:lnTo>
                  <a:pt x="7416" y="7929"/>
                </a:lnTo>
                <a:lnTo>
                  <a:pt x="7209" y="7945"/>
                </a:lnTo>
                <a:lnTo>
                  <a:pt x="7005" y="7970"/>
                </a:lnTo>
                <a:lnTo>
                  <a:pt x="6805" y="8006"/>
                </a:lnTo>
                <a:lnTo>
                  <a:pt x="6608" y="8053"/>
                </a:lnTo>
                <a:lnTo>
                  <a:pt x="6413" y="8107"/>
                </a:lnTo>
                <a:lnTo>
                  <a:pt x="6224" y="8171"/>
                </a:lnTo>
                <a:lnTo>
                  <a:pt x="6039" y="8244"/>
                </a:lnTo>
                <a:lnTo>
                  <a:pt x="5859" y="8326"/>
                </a:lnTo>
                <a:lnTo>
                  <a:pt x="5683" y="8416"/>
                </a:lnTo>
                <a:lnTo>
                  <a:pt x="5512" y="8514"/>
                </a:lnTo>
                <a:lnTo>
                  <a:pt x="5347" y="8620"/>
                </a:lnTo>
                <a:lnTo>
                  <a:pt x="5187" y="8733"/>
                </a:lnTo>
                <a:lnTo>
                  <a:pt x="5032" y="8855"/>
                </a:lnTo>
                <a:lnTo>
                  <a:pt x="4884" y="8982"/>
                </a:lnTo>
                <a:lnTo>
                  <a:pt x="4742" y="9118"/>
                </a:lnTo>
                <a:lnTo>
                  <a:pt x="4607" y="9259"/>
                </a:lnTo>
                <a:lnTo>
                  <a:pt x="4478" y="9407"/>
                </a:lnTo>
                <a:lnTo>
                  <a:pt x="4357" y="9561"/>
                </a:lnTo>
                <a:lnTo>
                  <a:pt x="4244" y="9720"/>
                </a:lnTo>
                <a:lnTo>
                  <a:pt x="4137" y="9886"/>
                </a:lnTo>
                <a:lnTo>
                  <a:pt x="4038" y="10056"/>
                </a:lnTo>
                <a:lnTo>
                  <a:pt x="3949" y="10231"/>
                </a:lnTo>
                <a:lnTo>
                  <a:pt x="3866" y="10412"/>
                </a:lnTo>
                <a:lnTo>
                  <a:pt x="3794" y="10597"/>
                </a:lnTo>
                <a:lnTo>
                  <a:pt x="3729" y="10786"/>
                </a:lnTo>
                <a:lnTo>
                  <a:pt x="3674" y="10978"/>
                </a:lnTo>
                <a:lnTo>
                  <a:pt x="3629" y="11175"/>
                </a:lnTo>
                <a:lnTo>
                  <a:pt x="3593" y="11375"/>
                </a:lnTo>
                <a:lnTo>
                  <a:pt x="3566" y="11579"/>
                </a:lnTo>
                <a:lnTo>
                  <a:pt x="3550" y="11786"/>
                </a:lnTo>
                <a:lnTo>
                  <a:pt x="3545" y="11995"/>
                </a:lnTo>
                <a:lnTo>
                  <a:pt x="3550" y="12203"/>
                </a:lnTo>
                <a:lnTo>
                  <a:pt x="3566" y="12410"/>
                </a:lnTo>
                <a:lnTo>
                  <a:pt x="3593" y="12613"/>
                </a:lnTo>
                <a:lnTo>
                  <a:pt x="3629" y="12814"/>
                </a:lnTo>
                <a:lnTo>
                  <a:pt x="3674" y="13011"/>
                </a:lnTo>
                <a:lnTo>
                  <a:pt x="3729" y="13203"/>
                </a:lnTo>
                <a:lnTo>
                  <a:pt x="3794" y="13392"/>
                </a:lnTo>
                <a:lnTo>
                  <a:pt x="3866" y="13577"/>
                </a:lnTo>
                <a:lnTo>
                  <a:pt x="3949" y="13758"/>
                </a:lnTo>
                <a:lnTo>
                  <a:pt x="4038" y="13932"/>
                </a:lnTo>
                <a:lnTo>
                  <a:pt x="4137" y="14103"/>
                </a:lnTo>
                <a:lnTo>
                  <a:pt x="4244" y="14269"/>
                </a:lnTo>
                <a:lnTo>
                  <a:pt x="4357" y="14428"/>
                </a:lnTo>
                <a:lnTo>
                  <a:pt x="4478" y="14582"/>
                </a:lnTo>
                <a:lnTo>
                  <a:pt x="4607" y="14730"/>
                </a:lnTo>
                <a:lnTo>
                  <a:pt x="4742" y="14871"/>
                </a:lnTo>
                <a:lnTo>
                  <a:pt x="4884" y="15006"/>
                </a:lnTo>
                <a:lnTo>
                  <a:pt x="5032" y="15134"/>
                </a:lnTo>
                <a:lnTo>
                  <a:pt x="5187" y="15255"/>
                </a:lnTo>
                <a:lnTo>
                  <a:pt x="5347" y="15368"/>
                </a:lnTo>
                <a:lnTo>
                  <a:pt x="5512" y="15475"/>
                </a:lnTo>
                <a:lnTo>
                  <a:pt x="5683" y="15573"/>
                </a:lnTo>
                <a:lnTo>
                  <a:pt x="5859" y="15662"/>
                </a:lnTo>
                <a:lnTo>
                  <a:pt x="6039" y="15745"/>
                </a:lnTo>
                <a:lnTo>
                  <a:pt x="6224" y="15818"/>
                </a:lnTo>
                <a:lnTo>
                  <a:pt x="6413" y="15881"/>
                </a:lnTo>
                <a:lnTo>
                  <a:pt x="6608" y="15936"/>
                </a:lnTo>
                <a:lnTo>
                  <a:pt x="6805" y="15982"/>
                </a:lnTo>
                <a:lnTo>
                  <a:pt x="7005" y="16018"/>
                </a:lnTo>
                <a:lnTo>
                  <a:pt x="7209" y="16044"/>
                </a:lnTo>
                <a:lnTo>
                  <a:pt x="7416" y="16060"/>
                </a:lnTo>
                <a:lnTo>
                  <a:pt x="7625" y="16065"/>
                </a:lnTo>
                <a:lnTo>
                  <a:pt x="7835" y="16060"/>
                </a:lnTo>
                <a:lnTo>
                  <a:pt x="8042" y="16044"/>
                </a:lnTo>
                <a:lnTo>
                  <a:pt x="8246" y="16018"/>
                </a:lnTo>
                <a:lnTo>
                  <a:pt x="8446" y="15982"/>
                </a:lnTo>
                <a:lnTo>
                  <a:pt x="8643" y="15936"/>
                </a:lnTo>
                <a:lnTo>
                  <a:pt x="8837" y="15881"/>
                </a:lnTo>
                <a:lnTo>
                  <a:pt x="9026" y="15818"/>
                </a:lnTo>
                <a:lnTo>
                  <a:pt x="9211" y="15745"/>
                </a:lnTo>
                <a:lnTo>
                  <a:pt x="9392" y="15662"/>
                </a:lnTo>
                <a:lnTo>
                  <a:pt x="9567" y="15573"/>
                </a:lnTo>
                <a:lnTo>
                  <a:pt x="9738" y="15475"/>
                </a:lnTo>
                <a:lnTo>
                  <a:pt x="9904" y="15368"/>
                </a:lnTo>
                <a:lnTo>
                  <a:pt x="10064" y="15255"/>
                </a:lnTo>
                <a:lnTo>
                  <a:pt x="10218" y="15134"/>
                </a:lnTo>
                <a:lnTo>
                  <a:pt x="10366" y="15006"/>
                </a:lnTo>
                <a:lnTo>
                  <a:pt x="10508" y="14871"/>
                </a:lnTo>
                <a:lnTo>
                  <a:pt x="10643" y="14730"/>
                </a:lnTo>
                <a:lnTo>
                  <a:pt x="10771" y="14582"/>
                </a:lnTo>
                <a:lnTo>
                  <a:pt x="10893" y="14428"/>
                </a:lnTo>
                <a:lnTo>
                  <a:pt x="11006" y="14269"/>
                </a:lnTo>
                <a:lnTo>
                  <a:pt x="11112" y="14103"/>
                </a:lnTo>
                <a:lnTo>
                  <a:pt x="11211" y="13932"/>
                </a:lnTo>
                <a:lnTo>
                  <a:pt x="11301" y="13758"/>
                </a:lnTo>
                <a:lnTo>
                  <a:pt x="11383" y="13577"/>
                </a:lnTo>
                <a:lnTo>
                  <a:pt x="11456" y="13392"/>
                </a:lnTo>
                <a:lnTo>
                  <a:pt x="11520" y="13203"/>
                </a:lnTo>
                <a:lnTo>
                  <a:pt x="11575" y="13011"/>
                </a:lnTo>
                <a:lnTo>
                  <a:pt x="11620" y="12814"/>
                </a:lnTo>
                <a:lnTo>
                  <a:pt x="11656" y="12613"/>
                </a:lnTo>
                <a:lnTo>
                  <a:pt x="11683" y="12410"/>
                </a:lnTo>
                <a:lnTo>
                  <a:pt x="11699" y="12203"/>
                </a:lnTo>
                <a:lnTo>
                  <a:pt x="11704" y="11995"/>
                </a:lnTo>
                <a:lnTo>
                  <a:pt x="11699" y="11786"/>
                </a:lnTo>
                <a:lnTo>
                  <a:pt x="11683" y="11579"/>
                </a:lnTo>
                <a:lnTo>
                  <a:pt x="11656" y="11375"/>
                </a:lnTo>
                <a:lnTo>
                  <a:pt x="11620" y="11175"/>
                </a:lnTo>
                <a:lnTo>
                  <a:pt x="11575" y="10978"/>
                </a:lnTo>
                <a:lnTo>
                  <a:pt x="11520" y="10786"/>
                </a:lnTo>
                <a:lnTo>
                  <a:pt x="11456" y="10597"/>
                </a:lnTo>
                <a:lnTo>
                  <a:pt x="11383" y="10412"/>
                </a:lnTo>
                <a:lnTo>
                  <a:pt x="11301" y="10231"/>
                </a:lnTo>
                <a:lnTo>
                  <a:pt x="11211" y="10056"/>
                </a:lnTo>
                <a:lnTo>
                  <a:pt x="11112" y="9886"/>
                </a:lnTo>
                <a:lnTo>
                  <a:pt x="11006" y="9720"/>
                </a:lnTo>
                <a:lnTo>
                  <a:pt x="10893" y="9561"/>
                </a:lnTo>
                <a:lnTo>
                  <a:pt x="10771" y="9407"/>
                </a:lnTo>
                <a:lnTo>
                  <a:pt x="10643" y="9259"/>
                </a:lnTo>
                <a:lnTo>
                  <a:pt x="10508" y="9118"/>
                </a:lnTo>
                <a:lnTo>
                  <a:pt x="10366" y="8982"/>
                </a:lnTo>
                <a:lnTo>
                  <a:pt x="10218" y="8855"/>
                </a:lnTo>
                <a:lnTo>
                  <a:pt x="10064" y="8733"/>
                </a:lnTo>
                <a:lnTo>
                  <a:pt x="9904" y="8620"/>
                </a:lnTo>
                <a:lnTo>
                  <a:pt x="9738" y="8514"/>
                </a:lnTo>
                <a:lnTo>
                  <a:pt x="9567" y="8416"/>
                </a:lnTo>
                <a:lnTo>
                  <a:pt x="9392" y="8326"/>
                </a:lnTo>
                <a:lnTo>
                  <a:pt x="9211" y="8244"/>
                </a:lnTo>
                <a:lnTo>
                  <a:pt x="9026" y="8171"/>
                </a:lnTo>
                <a:lnTo>
                  <a:pt x="8837" y="8107"/>
                </a:lnTo>
                <a:lnTo>
                  <a:pt x="8643" y="8053"/>
                </a:lnTo>
                <a:lnTo>
                  <a:pt x="8446" y="8006"/>
                </a:lnTo>
                <a:lnTo>
                  <a:pt x="8246" y="7970"/>
                </a:lnTo>
                <a:lnTo>
                  <a:pt x="8042" y="7945"/>
                </a:lnTo>
                <a:lnTo>
                  <a:pt x="7835" y="7929"/>
                </a:lnTo>
                <a:lnTo>
                  <a:pt x="7625" y="7924"/>
                </a:lnTo>
                <a:close/>
                <a:moveTo>
                  <a:pt x="7625" y="15325"/>
                </a:moveTo>
                <a:lnTo>
                  <a:pt x="7454" y="15321"/>
                </a:lnTo>
                <a:lnTo>
                  <a:pt x="7285" y="15308"/>
                </a:lnTo>
                <a:lnTo>
                  <a:pt x="7118" y="15287"/>
                </a:lnTo>
                <a:lnTo>
                  <a:pt x="6954" y="15258"/>
                </a:lnTo>
                <a:lnTo>
                  <a:pt x="6792" y="15220"/>
                </a:lnTo>
                <a:lnTo>
                  <a:pt x="6634" y="15175"/>
                </a:lnTo>
                <a:lnTo>
                  <a:pt x="6479" y="15122"/>
                </a:lnTo>
                <a:lnTo>
                  <a:pt x="6328" y="15063"/>
                </a:lnTo>
                <a:lnTo>
                  <a:pt x="6180" y="14996"/>
                </a:lnTo>
                <a:lnTo>
                  <a:pt x="6036" y="14922"/>
                </a:lnTo>
                <a:lnTo>
                  <a:pt x="5896" y="14842"/>
                </a:lnTo>
                <a:lnTo>
                  <a:pt x="5760" y="14756"/>
                </a:lnTo>
                <a:lnTo>
                  <a:pt x="5629" y="14662"/>
                </a:lnTo>
                <a:lnTo>
                  <a:pt x="5504" y="14564"/>
                </a:lnTo>
                <a:lnTo>
                  <a:pt x="5382" y="14459"/>
                </a:lnTo>
                <a:lnTo>
                  <a:pt x="5266" y="14348"/>
                </a:lnTo>
                <a:lnTo>
                  <a:pt x="5155" y="14233"/>
                </a:lnTo>
                <a:lnTo>
                  <a:pt x="5051" y="14112"/>
                </a:lnTo>
                <a:lnTo>
                  <a:pt x="4951" y="13986"/>
                </a:lnTo>
                <a:lnTo>
                  <a:pt x="4859" y="13855"/>
                </a:lnTo>
                <a:lnTo>
                  <a:pt x="4772" y="13721"/>
                </a:lnTo>
                <a:lnTo>
                  <a:pt x="4692" y="13581"/>
                </a:lnTo>
                <a:lnTo>
                  <a:pt x="4617" y="13437"/>
                </a:lnTo>
                <a:lnTo>
                  <a:pt x="4551" y="13290"/>
                </a:lnTo>
                <a:lnTo>
                  <a:pt x="4490" y="13138"/>
                </a:lnTo>
                <a:lnTo>
                  <a:pt x="4438" y="12984"/>
                </a:lnTo>
                <a:lnTo>
                  <a:pt x="4393" y="12826"/>
                </a:lnTo>
                <a:lnTo>
                  <a:pt x="4355" y="12665"/>
                </a:lnTo>
                <a:lnTo>
                  <a:pt x="4326" y="12501"/>
                </a:lnTo>
                <a:lnTo>
                  <a:pt x="4305" y="12335"/>
                </a:lnTo>
                <a:lnTo>
                  <a:pt x="4292" y="12165"/>
                </a:lnTo>
                <a:lnTo>
                  <a:pt x="4288" y="11995"/>
                </a:lnTo>
                <a:lnTo>
                  <a:pt x="4292" y="11823"/>
                </a:lnTo>
                <a:lnTo>
                  <a:pt x="4305" y="11654"/>
                </a:lnTo>
                <a:lnTo>
                  <a:pt x="4326" y="11488"/>
                </a:lnTo>
                <a:lnTo>
                  <a:pt x="4355" y="11324"/>
                </a:lnTo>
                <a:lnTo>
                  <a:pt x="4393" y="11163"/>
                </a:lnTo>
                <a:lnTo>
                  <a:pt x="4438" y="11006"/>
                </a:lnTo>
                <a:lnTo>
                  <a:pt x="4490" y="10851"/>
                </a:lnTo>
                <a:lnTo>
                  <a:pt x="4551" y="10699"/>
                </a:lnTo>
                <a:lnTo>
                  <a:pt x="4617" y="10552"/>
                </a:lnTo>
                <a:lnTo>
                  <a:pt x="4692" y="10408"/>
                </a:lnTo>
                <a:lnTo>
                  <a:pt x="4772" y="10269"/>
                </a:lnTo>
                <a:lnTo>
                  <a:pt x="4859" y="10134"/>
                </a:lnTo>
                <a:lnTo>
                  <a:pt x="4951" y="10003"/>
                </a:lnTo>
                <a:lnTo>
                  <a:pt x="5051" y="9877"/>
                </a:lnTo>
                <a:lnTo>
                  <a:pt x="5155" y="9756"/>
                </a:lnTo>
                <a:lnTo>
                  <a:pt x="5266" y="9641"/>
                </a:lnTo>
                <a:lnTo>
                  <a:pt x="5382" y="9531"/>
                </a:lnTo>
                <a:lnTo>
                  <a:pt x="5504" y="9426"/>
                </a:lnTo>
                <a:lnTo>
                  <a:pt x="5629" y="9327"/>
                </a:lnTo>
                <a:lnTo>
                  <a:pt x="5760" y="9233"/>
                </a:lnTo>
                <a:lnTo>
                  <a:pt x="5896" y="9147"/>
                </a:lnTo>
                <a:lnTo>
                  <a:pt x="6036" y="9067"/>
                </a:lnTo>
                <a:lnTo>
                  <a:pt x="6180" y="8993"/>
                </a:lnTo>
                <a:lnTo>
                  <a:pt x="6328" y="8926"/>
                </a:lnTo>
                <a:lnTo>
                  <a:pt x="6479" y="8867"/>
                </a:lnTo>
                <a:lnTo>
                  <a:pt x="6634" y="8815"/>
                </a:lnTo>
                <a:lnTo>
                  <a:pt x="6792" y="8769"/>
                </a:lnTo>
                <a:lnTo>
                  <a:pt x="6954" y="8732"/>
                </a:lnTo>
                <a:lnTo>
                  <a:pt x="7118" y="8702"/>
                </a:lnTo>
                <a:lnTo>
                  <a:pt x="7285" y="8681"/>
                </a:lnTo>
                <a:lnTo>
                  <a:pt x="7454" y="8669"/>
                </a:lnTo>
                <a:lnTo>
                  <a:pt x="7625" y="8664"/>
                </a:lnTo>
                <a:lnTo>
                  <a:pt x="7797" y="8669"/>
                </a:lnTo>
                <a:lnTo>
                  <a:pt x="7966" y="8681"/>
                </a:lnTo>
                <a:lnTo>
                  <a:pt x="8133" y="8702"/>
                </a:lnTo>
                <a:lnTo>
                  <a:pt x="8297" y="8732"/>
                </a:lnTo>
                <a:lnTo>
                  <a:pt x="8458" y="8769"/>
                </a:lnTo>
                <a:lnTo>
                  <a:pt x="8617" y="8815"/>
                </a:lnTo>
                <a:lnTo>
                  <a:pt x="8772" y="8867"/>
                </a:lnTo>
                <a:lnTo>
                  <a:pt x="8923" y="8926"/>
                </a:lnTo>
                <a:lnTo>
                  <a:pt x="9071" y="8993"/>
                </a:lnTo>
                <a:lnTo>
                  <a:pt x="9215" y="9067"/>
                </a:lnTo>
                <a:lnTo>
                  <a:pt x="9355" y="9147"/>
                </a:lnTo>
                <a:lnTo>
                  <a:pt x="9490" y="9233"/>
                </a:lnTo>
                <a:lnTo>
                  <a:pt x="9621" y="9327"/>
                </a:lnTo>
                <a:lnTo>
                  <a:pt x="9747" y="9426"/>
                </a:lnTo>
                <a:lnTo>
                  <a:pt x="9868" y="9531"/>
                </a:lnTo>
                <a:lnTo>
                  <a:pt x="9984" y="9641"/>
                </a:lnTo>
                <a:lnTo>
                  <a:pt x="10095" y="9756"/>
                </a:lnTo>
                <a:lnTo>
                  <a:pt x="10200" y="9877"/>
                </a:lnTo>
                <a:lnTo>
                  <a:pt x="10299" y="10003"/>
                </a:lnTo>
                <a:lnTo>
                  <a:pt x="10392" y="10134"/>
                </a:lnTo>
                <a:lnTo>
                  <a:pt x="10479" y="10269"/>
                </a:lnTo>
                <a:lnTo>
                  <a:pt x="10559" y="10408"/>
                </a:lnTo>
                <a:lnTo>
                  <a:pt x="10634" y="10552"/>
                </a:lnTo>
                <a:lnTo>
                  <a:pt x="10700" y="10699"/>
                </a:lnTo>
                <a:lnTo>
                  <a:pt x="10760" y="10851"/>
                </a:lnTo>
                <a:lnTo>
                  <a:pt x="10813" y="11006"/>
                </a:lnTo>
                <a:lnTo>
                  <a:pt x="10857" y="11163"/>
                </a:lnTo>
                <a:lnTo>
                  <a:pt x="10896" y="11324"/>
                </a:lnTo>
                <a:lnTo>
                  <a:pt x="10925" y="11488"/>
                </a:lnTo>
                <a:lnTo>
                  <a:pt x="10946" y="11654"/>
                </a:lnTo>
                <a:lnTo>
                  <a:pt x="10959" y="11823"/>
                </a:lnTo>
                <a:lnTo>
                  <a:pt x="10963" y="11995"/>
                </a:lnTo>
                <a:lnTo>
                  <a:pt x="10959" y="12165"/>
                </a:lnTo>
                <a:lnTo>
                  <a:pt x="10946" y="12335"/>
                </a:lnTo>
                <a:lnTo>
                  <a:pt x="10925" y="12501"/>
                </a:lnTo>
                <a:lnTo>
                  <a:pt x="10896" y="12665"/>
                </a:lnTo>
                <a:lnTo>
                  <a:pt x="10857" y="12826"/>
                </a:lnTo>
                <a:lnTo>
                  <a:pt x="10813" y="12984"/>
                </a:lnTo>
                <a:lnTo>
                  <a:pt x="10760" y="13138"/>
                </a:lnTo>
                <a:lnTo>
                  <a:pt x="10700" y="13290"/>
                </a:lnTo>
                <a:lnTo>
                  <a:pt x="10634" y="13437"/>
                </a:lnTo>
                <a:lnTo>
                  <a:pt x="10559" y="13581"/>
                </a:lnTo>
                <a:lnTo>
                  <a:pt x="10479" y="13721"/>
                </a:lnTo>
                <a:lnTo>
                  <a:pt x="10392" y="13855"/>
                </a:lnTo>
                <a:lnTo>
                  <a:pt x="10299" y="13986"/>
                </a:lnTo>
                <a:lnTo>
                  <a:pt x="10200" y="14112"/>
                </a:lnTo>
                <a:lnTo>
                  <a:pt x="10095" y="14233"/>
                </a:lnTo>
                <a:lnTo>
                  <a:pt x="9984" y="14348"/>
                </a:lnTo>
                <a:lnTo>
                  <a:pt x="9868" y="14459"/>
                </a:lnTo>
                <a:lnTo>
                  <a:pt x="9747" y="14564"/>
                </a:lnTo>
                <a:lnTo>
                  <a:pt x="9621" y="14662"/>
                </a:lnTo>
                <a:lnTo>
                  <a:pt x="9490" y="14756"/>
                </a:lnTo>
                <a:lnTo>
                  <a:pt x="9355" y="14842"/>
                </a:lnTo>
                <a:lnTo>
                  <a:pt x="9215" y="14922"/>
                </a:lnTo>
                <a:lnTo>
                  <a:pt x="9071" y="14996"/>
                </a:lnTo>
                <a:lnTo>
                  <a:pt x="8923" y="15063"/>
                </a:lnTo>
                <a:lnTo>
                  <a:pt x="8772" y="15122"/>
                </a:lnTo>
                <a:lnTo>
                  <a:pt x="8617" y="15175"/>
                </a:lnTo>
                <a:lnTo>
                  <a:pt x="8458" y="15220"/>
                </a:lnTo>
                <a:lnTo>
                  <a:pt x="8297" y="15258"/>
                </a:lnTo>
                <a:lnTo>
                  <a:pt x="8133" y="15287"/>
                </a:lnTo>
                <a:lnTo>
                  <a:pt x="7966" y="15308"/>
                </a:lnTo>
                <a:lnTo>
                  <a:pt x="7797" y="15321"/>
                </a:lnTo>
                <a:lnTo>
                  <a:pt x="7625" y="15325"/>
                </a:lnTo>
                <a:close/>
              </a:path>
            </a:pathLst>
          </a:custGeom>
          <a:solidFill>
            <a:srgbClr val="EF621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25" name="Прямоугольник 24"/>
          <p:cNvSpPr/>
          <p:nvPr/>
        </p:nvSpPr>
        <p:spPr>
          <a:xfrm>
            <a:off x="611560" y="4425513"/>
            <a:ext cx="824624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i="1" dirty="0" smtClean="0">
                <a:solidFill>
                  <a:schemeClr val="bg1">
                    <a:lumMod val="50000"/>
                  </a:schemeClr>
                </a:solidFill>
              </a:rPr>
              <a:t>* Уточняется по результатам разработки проектов</a:t>
            </a:r>
          </a:p>
        </p:txBody>
      </p:sp>
    </p:spTree>
    <p:extLst>
      <p:ext uri="{BB962C8B-B14F-4D97-AF65-F5344CB8AC3E}">
        <p14:creationId xmlns:p14="http://schemas.microsoft.com/office/powerpoint/2010/main" val="2130820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5" y="49984"/>
            <a:ext cx="811180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Оснащение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узлами учета будет реализовано на целевых нефтебазах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АО «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Газпромнефть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DIN Pro" panose="020B0504020101010102" pitchFamily="34" charset="0"/>
                <a:ea typeface="+mn-ea"/>
                <a:cs typeface="DIN Pro" panose="020B0504020101010102" pitchFamily="34" charset="0"/>
              </a:rPr>
              <a:t>-Терминал» к 2021 г.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7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Параллелограмм 163">
            <a:extLst>
              <a:ext uri="{FF2B5EF4-FFF2-40B4-BE49-F238E27FC236}">
                <a16:creationId xmlns:a16="http://schemas.microsoft.com/office/drawing/2014/main" id="{943ADE8D-3FCC-5D4D-B9D6-95817361A9C9}"/>
              </a:ext>
            </a:extLst>
          </p:cNvPr>
          <p:cNvSpPr/>
          <p:nvPr/>
        </p:nvSpPr>
        <p:spPr>
          <a:xfrm flipH="1" flipV="1">
            <a:off x="7044686" y="3279550"/>
            <a:ext cx="334528" cy="383421"/>
          </a:xfrm>
          <a:prstGeom prst="parallelogram">
            <a:avLst>
              <a:gd name="adj" fmla="val 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CAE22FC-0A9A-844A-AABF-0D5EF0A13394}"/>
              </a:ext>
            </a:extLst>
          </p:cNvPr>
          <p:cNvSpPr txBox="1"/>
          <p:nvPr/>
        </p:nvSpPr>
        <p:spPr>
          <a:xfrm>
            <a:off x="3776192" y="2025911"/>
            <a:ext cx="1155848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ru-RU"/>
            </a:defPPr>
            <a:lvl1pPr algn="r">
              <a:spcBef>
                <a:spcPts val="600"/>
              </a:spcBef>
              <a:defRPr sz="5400" b="1">
                <a:solidFill>
                  <a:srgbClr val="159DE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рт тиража на 8 НБ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CAE22FC-0A9A-844A-AABF-0D5EF0A13394}"/>
              </a:ext>
            </a:extLst>
          </p:cNvPr>
          <p:cNvSpPr txBox="1"/>
          <p:nvPr/>
        </p:nvSpPr>
        <p:spPr>
          <a:xfrm>
            <a:off x="300107" y="2805301"/>
            <a:ext cx="962104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ru-RU"/>
            </a:defPPr>
            <a:lvl1pPr algn="r">
              <a:spcBef>
                <a:spcPts val="600"/>
              </a:spcBef>
              <a:defRPr sz="5400" b="1">
                <a:solidFill>
                  <a:srgbClr val="159DE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Старт программы</a:t>
            </a: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Arial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5" name="Таблица 44"/>
          <p:cNvGraphicFramePr>
            <a:graphicFrameLocks noGrp="1"/>
          </p:cNvGraphicFramePr>
          <p:nvPr>
            <p:extLst/>
          </p:nvPr>
        </p:nvGraphicFramePr>
        <p:xfrm>
          <a:off x="827579" y="3545624"/>
          <a:ext cx="7632852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6071">
                  <a:extLst>
                    <a:ext uri="{9D8B030D-6E8A-4147-A177-3AD203B41FA5}">
                      <a16:colId xmlns:a16="http://schemas.microsoft.com/office/drawing/2014/main" val="4178704547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49108978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2005417914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3520218455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4187523197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3536215014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3742319498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1390098370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2463691409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3876341738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174178391"/>
                    </a:ext>
                  </a:extLst>
                </a:gridCol>
                <a:gridCol w="636071">
                  <a:extLst>
                    <a:ext uri="{9D8B030D-6E8A-4147-A177-3AD203B41FA5}">
                      <a16:colId xmlns:a16="http://schemas.microsoft.com/office/drawing/2014/main" val="40323039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2018</a:t>
                      </a:r>
                      <a:endParaRPr lang="ru-RU" sz="1000" dirty="0"/>
                    </a:p>
                  </a:txBody>
                  <a:tcPr anchor="ctr">
                    <a:solidFill>
                      <a:srgbClr val="EF621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2019</a:t>
                      </a:r>
                      <a:endParaRPr lang="ru-RU" sz="1000" dirty="0"/>
                    </a:p>
                  </a:txBody>
                  <a:tcPr anchor="ctr">
                    <a:solidFill>
                      <a:srgbClr val="EF621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1</a:t>
                      </a:r>
                      <a:r>
                        <a:rPr lang="en-US" sz="1000" dirty="0" smtClean="0"/>
                        <a:t>Q</a:t>
                      </a:r>
                      <a:endParaRPr lang="ru-RU" sz="1000" dirty="0"/>
                    </a:p>
                  </a:txBody>
                  <a:tcPr anchor="ctr">
                    <a:solidFill>
                      <a:srgbClr val="EF621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2Q</a:t>
                      </a:r>
                      <a:endParaRPr lang="ru-RU" sz="1000" dirty="0"/>
                    </a:p>
                  </a:txBody>
                  <a:tcPr anchor="ctr">
                    <a:solidFill>
                      <a:srgbClr val="EF621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Q</a:t>
                      </a:r>
                      <a:endParaRPr lang="ru-RU" sz="1000" dirty="0"/>
                    </a:p>
                  </a:txBody>
                  <a:tcPr anchor="ctr">
                    <a:solidFill>
                      <a:srgbClr val="EF621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4Q</a:t>
                      </a:r>
                      <a:endParaRPr lang="ru-RU" sz="10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EF6213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2020</a:t>
                      </a:r>
                      <a:endParaRPr lang="ru-RU" sz="10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EF6213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1Q</a:t>
                      </a:r>
                      <a:endParaRPr lang="ru-RU" sz="10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EF6213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2Q</a:t>
                      </a:r>
                      <a:endParaRPr lang="ru-RU" sz="10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EF6213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3Q</a:t>
                      </a:r>
                      <a:endParaRPr lang="ru-RU" sz="10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EF6213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4Q</a:t>
                      </a:r>
                      <a:endParaRPr lang="ru-RU" sz="10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EF6213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2021</a:t>
                      </a:r>
                      <a:endParaRPr lang="ru-RU" sz="10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EF6213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3015965"/>
                  </a:ext>
                </a:extLst>
              </a:tr>
            </a:tbl>
          </a:graphicData>
        </a:graphic>
      </p:graphicFrame>
      <p:cxnSp>
        <p:nvCxnSpPr>
          <p:cNvPr id="46" name="Прямая соединительная линия 130">
            <a:extLst>
              <a:ext uri="{FF2B5EF4-FFF2-40B4-BE49-F238E27FC236}">
                <a16:creationId xmlns:a16="http://schemas.microsoft.com/office/drawing/2014/main" id="{1EDC8889-C714-CD4A-93BF-7D28C3EE85CF}"/>
              </a:ext>
            </a:extLst>
          </p:cNvPr>
          <p:cNvCxnSpPr>
            <a:cxnSpLocks/>
          </p:cNvCxnSpPr>
          <p:nvPr/>
        </p:nvCxnSpPr>
        <p:spPr>
          <a:xfrm>
            <a:off x="1358391" y="2920564"/>
            <a:ext cx="0" cy="631652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Овал 132">
            <a:extLst>
              <a:ext uri="{FF2B5EF4-FFF2-40B4-BE49-F238E27FC236}">
                <a16:creationId xmlns:a16="http://schemas.microsoft.com/office/drawing/2014/main" id="{6FD0E59E-4496-1043-ACFE-FCB0B887224B}"/>
              </a:ext>
            </a:extLst>
          </p:cNvPr>
          <p:cNvSpPr/>
          <p:nvPr/>
        </p:nvSpPr>
        <p:spPr>
          <a:xfrm>
            <a:off x="1304390" y="2854584"/>
            <a:ext cx="108001" cy="105078"/>
          </a:xfrm>
          <a:prstGeom prst="ellipse">
            <a:avLst/>
          </a:prstGeom>
          <a:solidFill>
            <a:srgbClr val="30B7E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cxnSp>
        <p:nvCxnSpPr>
          <p:cNvPr id="48" name="Прямая соединительная линия 130">
            <a:extLst>
              <a:ext uri="{FF2B5EF4-FFF2-40B4-BE49-F238E27FC236}">
                <a16:creationId xmlns:a16="http://schemas.microsoft.com/office/drawing/2014/main" id="{1EDC8889-C714-CD4A-93BF-7D28C3EE85CF}"/>
              </a:ext>
            </a:extLst>
          </p:cNvPr>
          <p:cNvCxnSpPr>
            <a:cxnSpLocks/>
            <a:stCxn id="49" idx="4"/>
          </p:cNvCxnSpPr>
          <p:nvPr/>
        </p:nvCxnSpPr>
        <p:spPr>
          <a:xfrm>
            <a:off x="2235724" y="2108328"/>
            <a:ext cx="5162" cy="1444374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Овал 132">
            <a:extLst>
              <a:ext uri="{FF2B5EF4-FFF2-40B4-BE49-F238E27FC236}">
                <a16:creationId xmlns:a16="http://schemas.microsoft.com/office/drawing/2014/main" id="{6FD0E59E-4496-1043-ACFE-FCB0B887224B}"/>
              </a:ext>
            </a:extLst>
          </p:cNvPr>
          <p:cNvSpPr/>
          <p:nvPr/>
        </p:nvSpPr>
        <p:spPr>
          <a:xfrm>
            <a:off x="2181723" y="2003250"/>
            <a:ext cx="108001" cy="105078"/>
          </a:xfrm>
          <a:prstGeom prst="ellipse">
            <a:avLst/>
          </a:prstGeom>
          <a:solidFill>
            <a:srgbClr val="30B7E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CAE22FC-0A9A-844A-AABF-0D5EF0A13394}"/>
              </a:ext>
            </a:extLst>
          </p:cNvPr>
          <p:cNvSpPr txBox="1"/>
          <p:nvPr/>
        </p:nvSpPr>
        <p:spPr>
          <a:xfrm>
            <a:off x="1005409" y="1939385"/>
            <a:ext cx="1118319" cy="33855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ru-RU"/>
            </a:defPPr>
            <a:lvl1pPr algn="r">
              <a:spcBef>
                <a:spcPts val="600"/>
              </a:spcBef>
              <a:defRPr sz="5400" b="1">
                <a:solidFill>
                  <a:srgbClr val="159DE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ПИР пилотных проектов</a:t>
            </a: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Arial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1" name="Прямая соединительная линия 130">
            <a:extLst>
              <a:ext uri="{FF2B5EF4-FFF2-40B4-BE49-F238E27FC236}">
                <a16:creationId xmlns:a16="http://schemas.microsoft.com/office/drawing/2014/main" id="{1EDC8889-C714-CD4A-93BF-7D28C3EE85CF}"/>
              </a:ext>
            </a:extLst>
          </p:cNvPr>
          <p:cNvCxnSpPr>
            <a:cxnSpLocks/>
          </p:cNvCxnSpPr>
          <p:nvPr/>
        </p:nvCxnSpPr>
        <p:spPr>
          <a:xfrm>
            <a:off x="3287636" y="2809819"/>
            <a:ext cx="0" cy="72478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Овал 132">
            <a:extLst>
              <a:ext uri="{FF2B5EF4-FFF2-40B4-BE49-F238E27FC236}">
                <a16:creationId xmlns:a16="http://schemas.microsoft.com/office/drawing/2014/main" id="{6FD0E59E-4496-1043-ACFE-FCB0B887224B}"/>
              </a:ext>
            </a:extLst>
          </p:cNvPr>
          <p:cNvSpPr/>
          <p:nvPr/>
        </p:nvSpPr>
        <p:spPr>
          <a:xfrm>
            <a:off x="3230797" y="2742356"/>
            <a:ext cx="108001" cy="105078"/>
          </a:xfrm>
          <a:prstGeom prst="ellipse">
            <a:avLst/>
          </a:prstGeom>
          <a:solidFill>
            <a:srgbClr val="30B7E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CAE22FC-0A9A-844A-AABF-0D5EF0A13394}"/>
              </a:ext>
            </a:extLst>
          </p:cNvPr>
          <p:cNvSpPr txBox="1"/>
          <p:nvPr/>
        </p:nvSpPr>
        <p:spPr>
          <a:xfrm>
            <a:off x="2327201" y="2679762"/>
            <a:ext cx="862507" cy="33855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ru-RU"/>
            </a:defPPr>
            <a:lvl1pPr algn="r">
              <a:spcBef>
                <a:spcPts val="600"/>
              </a:spcBef>
              <a:defRPr sz="5400" b="1">
                <a:solidFill>
                  <a:srgbClr val="159DE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Терминал Гладкое</a:t>
            </a:r>
          </a:p>
        </p:txBody>
      </p:sp>
      <p:cxnSp>
        <p:nvCxnSpPr>
          <p:cNvPr id="54" name="Прямая соединительная линия 130">
            <a:extLst>
              <a:ext uri="{FF2B5EF4-FFF2-40B4-BE49-F238E27FC236}">
                <a16:creationId xmlns:a16="http://schemas.microsoft.com/office/drawing/2014/main" id="{1EDC8889-C714-CD4A-93BF-7D28C3EE85CF}"/>
              </a:ext>
            </a:extLst>
          </p:cNvPr>
          <p:cNvCxnSpPr>
            <a:cxnSpLocks/>
            <a:stCxn id="55" idx="4"/>
          </p:cNvCxnSpPr>
          <p:nvPr/>
        </p:nvCxnSpPr>
        <p:spPr>
          <a:xfrm>
            <a:off x="3688842" y="2189354"/>
            <a:ext cx="19062" cy="1340004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Овал 132">
            <a:extLst>
              <a:ext uri="{FF2B5EF4-FFF2-40B4-BE49-F238E27FC236}">
                <a16:creationId xmlns:a16="http://schemas.microsoft.com/office/drawing/2014/main" id="{6FD0E59E-4496-1043-ACFE-FCB0B887224B}"/>
              </a:ext>
            </a:extLst>
          </p:cNvPr>
          <p:cNvSpPr/>
          <p:nvPr/>
        </p:nvSpPr>
        <p:spPr>
          <a:xfrm>
            <a:off x="3634841" y="2084276"/>
            <a:ext cx="108001" cy="105078"/>
          </a:xfrm>
          <a:prstGeom prst="ellipse">
            <a:avLst/>
          </a:prstGeom>
          <a:solidFill>
            <a:srgbClr val="30B7E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cxnSp>
        <p:nvCxnSpPr>
          <p:cNvPr id="56" name="Прямая соединительная линия 130">
            <a:extLst>
              <a:ext uri="{FF2B5EF4-FFF2-40B4-BE49-F238E27FC236}">
                <a16:creationId xmlns:a16="http://schemas.microsoft.com/office/drawing/2014/main" id="{1EDC8889-C714-CD4A-93BF-7D28C3EE85CF}"/>
              </a:ext>
            </a:extLst>
          </p:cNvPr>
          <p:cNvCxnSpPr>
            <a:cxnSpLocks/>
          </p:cNvCxnSpPr>
          <p:nvPr/>
        </p:nvCxnSpPr>
        <p:spPr>
          <a:xfrm>
            <a:off x="4608004" y="2817999"/>
            <a:ext cx="0" cy="72478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Овал 132">
            <a:extLst>
              <a:ext uri="{FF2B5EF4-FFF2-40B4-BE49-F238E27FC236}">
                <a16:creationId xmlns:a16="http://schemas.microsoft.com/office/drawing/2014/main" id="{6FD0E59E-4496-1043-ACFE-FCB0B887224B}"/>
              </a:ext>
            </a:extLst>
          </p:cNvPr>
          <p:cNvSpPr/>
          <p:nvPr/>
        </p:nvSpPr>
        <p:spPr>
          <a:xfrm>
            <a:off x="4554003" y="2775091"/>
            <a:ext cx="108001" cy="105078"/>
          </a:xfrm>
          <a:prstGeom prst="ellipse">
            <a:avLst/>
          </a:prstGeom>
          <a:solidFill>
            <a:srgbClr val="30B7E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CAE22FC-0A9A-844A-AABF-0D5EF0A13394}"/>
              </a:ext>
            </a:extLst>
          </p:cNvPr>
          <p:cNvSpPr txBox="1"/>
          <p:nvPr/>
        </p:nvSpPr>
        <p:spPr>
          <a:xfrm>
            <a:off x="4638602" y="2891907"/>
            <a:ext cx="1143828" cy="33855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ru-RU"/>
            </a:defPPr>
            <a:lvl1pPr algn="r">
              <a:spcBef>
                <a:spcPts val="600"/>
              </a:spcBef>
              <a:defRPr sz="5400" b="1">
                <a:solidFill>
                  <a:srgbClr val="159DE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/>
                <a:ea typeface="Tahoma" panose="020B0604030504040204" pitchFamily="34" charset="0"/>
                <a:cs typeface="Tahoma" panose="020B0604030504040204" pitchFamily="34" charset="0"/>
              </a:rPr>
              <a:t>Целевая интеграция с АИС НК</a:t>
            </a: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Arial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CAE22FC-0A9A-844A-AABF-0D5EF0A13394}"/>
              </a:ext>
            </a:extLst>
          </p:cNvPr>
          <p:cNvSpPr txBox="1"/>
          <p:nvPr/>
        </p:nvSpPr>
        <p:spPr>
          <a:xfrm>
            <a:off x="5148628" y="2241935"/>
            <a:ext cx="939098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ru-RU"/>
            </a:defPPr>
            <a:lvl1pPr algn="r">
              <a:spcBef>
                <a:spcPts val="600"/>
              </a:spcBef>
              <a:defRPr sz="5400" b="1">
                <a:solidFill>
                  <a:srgbClr val="159DE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раж 8 НБ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0" name="Прямая соединительная линия 130">
            <a:extLst>
              <a:ext uri="{FF2B5EF4-FFF2-40B4-BE49-F238E27FC236}">
                <a16:creationId xmlns:a16="http://schemas.microsoft.com/office/drawing/2014/main" id="{1EDC8889-C714-CD4A-93BF-7D28C3EE85CF}"/>
              </a:ext>
            </a:extLst>
          </p:cNvPr>
          <p:cNvCxnSpPr>
            <a:cxnSpLocks/>
          </p:cNvCxnSpPr>
          <p:nvPr/>
        </p:nvCxnSpPr>
        <p:spPr>
          <a:xfrm>
            <a:off x="6208958" y="2365926"/>
            <a:ext cx="0" cy="1163432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Овал 132">
            <a:extLst>
              <a:ext uri="{FF2B5EF4-FFF2-40B4-BE49-F238E27FC236}">
                <a16:creationId xmlns:a16="http://schemas.microsoft.com/office/drawing/2014/main" id="{6FD0E59E-4496-1043-ACFE-FCB0B887224B}"/>
              </a:ext>
            </a:extLst>
          </p:cNvPr>
          <p:cNvSpPr/>
          <p:nvPr/>
        </p:nvSpPr>
        <p:spPr>
          <a:xfrm>
            <a:off x="6154958" y="2290224"/>
            <a:ext cx="108001" cy="105078"/>
          </a:xfrm>
          <a:prstGeom prst="ellipse">
            <a:avLst/>
          </a:prstGeom>
          <a:solidFill>
            <a:srgbClr val="30B7E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cxnSp>
        <p:nvCxnSpPr>
          <p:cNvPr id="62" name="Прямая соединительная линия 130">
            <a:extLst>
              <a:ext uri="{FF2B5EF4-FFF2-40B4-BE49-F238E27FC236}">
                <a16:creationId xmlns:a16="http://schemas.microsoft.com/office/drawing/2014/main" id="{1EDC8889-C714-CD4A-93BF-7D28C3EE85CF}"/>
              </a:ext>
            </a:extLst>
          </p:cNvPr>
          <p:cNvCxnSpPr>
            <a:cxnSpLocks/>
          </p:cNvCxnSpPr>
          <p:nvPr/>
        </p:nvCxnSpPr>
        <p:spPr>
          <a:xfrm>
            <a:off x="7480131" y="2817999"/>
            <a:ext cx="0" cy="72478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Овал 132">
            <a:extLst>
              <a:ext uri="{FF2B5EF4-FFF2-40B4-BE49-F238E27FC236}">
                <a16:creationId xmlns:a16="http://schemas.microsoft.com/office/drawing/2014/main" id="{6FD0E59E-4496-1043-ACFE-FCB0B887224B}"/>
              </a:ext>
            </a:extLst>
          </p:cNvPr>
          <p:cNvSpPr/>
          <p:nvPr/>
        </p:nvSpPr>
        <p:spPr>
          <a:xfrm>
            <a:off x="7423292" y="2769216"/>
            <a:ext cx="108001" cy="105078"/>
          </a:xfrm>
          <a:prstGeom prst="ellipse">
            <a:avLst/>
          </a:prstGeom>
          <a:solidFill>
            <a:srgbClr val="30B7E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CAE22FC-0A9A-844A-AABF-0D5EF0A13394}"/>
              </a:ext>
            </a:extLst>
          </p:cNvPr>
          <p:cNvSpPr txBox="1"/>
          <p:nvPr/>
        </p:nvSpPr>
        <p:spPr>
          <a:xfrm>
            <a:off x="6418389" y="2714033"/>
            <a:ext cx="969909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ru-RU"/>
            </a:defPPr>
            <a:lvl1pPr algn="r">
              <a:spcBef>
                <a:spcPts val="600"/>
              </a:spcBef>
              <a:defRPr sz="5400" b="1">
                <a:solidFill>
                  <a:srgbClr val="159DE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раж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6 НБ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CAE22FC-0A9A-844A-AABF-0D5EF0A13394}"/>
              </a:ext>
            </a:extLst>
          </p:cNvPr>
          <p:cNvSpPr txBox="1"/>
          <p:nvPr/>
        </p:nvSpPr>
        <p:spPr>
          <a:xfrm>
            <a:off x="6852567" y="1527634"/>
            <a:ext cx="1357452" cy="66172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ru-RU"/>
            </a:defPPr>
            <a:lvl1pPr algn="r">
              <a:spcBef>
                <a:spcPts val="600"/>
              </a:spcBef>
              <a:defRPr sz="5400" b="1">
                <a:solidFill>
                  <a:srgbClr val="159DE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вершение тиража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актическая оценка совокупного экономического эффекта </a:t>
            </a:r>
          </a:p>
        </p:txBody>
      </p:sp>
      <p:cxnSp>
        <p:nvCxnSpPr>
          <p:cNvPr id="66" name="Прямая соединительная линия 130">
            <a:extLst>
              <a:ext uri="{FF2B5EF4-FFF2-40B4-BE49-F238E27FC236}">
                <a16:creationId xmlns:a16="http://schemas.microsoft.com/office/drawing/2014/main" id="{1EDC8889-C714-CD4A-93BF-7D28C3EE85CF}"/>
              </a:ext>
            </a:extLst>
          </p:cNvPr>
          <p:cNvCxnSpPr>
            <a:cxnSpLocks/>
            <a:stCxn id="67" idx="4"/>
          </p:cNvCxnSpPr>
          <p:nvPr/>
        </p:nvCxnSpPr>
        <p:spPr>
          <a:xfrm>
            <a:off x="8301211" y="1694230"/>
            <a:ext cx="0" cy="1835128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Овал 132">
            <a:extLst>
              <a:ext uri="{FF2B5EF4-FFF2-40B4-BE49-F238E27FC236}">
                <a16:creationId xmlns:a16="http://schemas.microsoft.com/office/drawing/2014/main" id="{6FD0E59E-4496-1043-ACFE-FCB0B887224B}"/>
              </a:ext>
            </a:extLst>
          </p:cNvPr>
          <p:cNvSpPr/>
          <p:nvPr/>
        </p:nvSpPr>
        <p:spPr>
          <a:xfrm>
            <a:off x="8247210" y="1589152"/>
            <a:ext cx="108001" cy="105078"/>
          </a:xfrm>
          <a:prstGeom prst="ellipse">
            <a:avLst/>
          </a:prstGeom>
          <a:solidFill>
            <a:srgbClr val="30B7E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8" name="Текст 85"/>
          <p:cNvSpPr txBox="1">
            <a:spLocks/>
          </p:cNvSpPr>
          <p:nvPr/>
        </p:nvSpPr>
        <p:spPr>
          <a:xfrm>
            <a:off x="263626" y="735546"/>
            <a:ext cx="6936666" cy="229553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ая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рта реализации программы «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фтеконтроль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CAE22FC-0A9A-844A-AABF-0D5EF0A13394}"/>
              </a:ext>
            </a:extLst>
          </p:cNvPr>
          <p:cNvSpPr txBox="1"/>
          <p:nvPr/>
        </p:nvSpPr>
        <p:spPr>
          <a:xfrm>
            <a:off x="5112060" y="2409884"/>
            <a:ext cx="1007387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ru-RU"/>
            </a:defPPr>
            <a:lvl1pPr algn="r">
              <a:spcBef>
                <a:spcPts val="600"/>
              </a:spcBef>
              <a:defRPr sz="5400" b="1">
                <a:solidFill>
                  <a:srgbClr val="159DE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рт - 16 НБ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434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Прямоугольник 343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328258" y="3760415"/>
            <a:ext cx="1201079" cy="683543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Контур 4 </a:t>
            </a:r>
          </a:p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Система управления и интеграции</a:t>
            </a:r>
          </a:p>
        </p:txBody>
      </p:sp>
      <p:sp>
        <p:nvSpPr>
          <p:cNvPr id="343" name="Прямоугольник 342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328258" y="2926539"/>
            <a:ext cx="1201079" cy="683543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b="1">
                <a:solidFill>
                  <a:schemeClr val="bg1">
                    <a:lumMod val="95000"/>
                  </a:schemeClr>
                </a:solidFill>
              </a:rPr>
              <a:t>Контур 3</a:t>
            </a:r>
            <a:endParaRPr lang="en-US" sz="900" b="1">
              <a:solidFill>
                <a:schemeClr val="bg1">
                  <a:lumMod val="95000"/>
                </a:schemeClr>
              </a:solidFill>
            </a:endParaRPr>
          </a:p>
          <a:p>
            <a:r>
              <a:rPr lang="ru-RU" sz="900" b="1">
                <a:solidFill>
                  <a:schemeClr val="bg1">
                    <a:lumMod val="95000"/>
                  </a:schemeClr>
                </a:solidFill>
              </a:rPr>
              <a:t>Отпуск НП</a:t>
            </a:r>
            <a:endParaRPr lang="ru-RU" sz="9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42" name="Прямоугольник 341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328258" y="2092662"/>
            <a:ext cx="1201079" cy="683543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Контур  2</a:t>
            </a:r>
            <a:endParaRPr lang="en-US" sz="900" b="1" dirty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Хранение НП</a:t>
            </a:r>
          </a:p>
        </p:txBody>
      </p:sp>
      <p:sp>
        <p:nvSpPr>
          <p:cNvPr id="340" name="Прямоугольник 339">
            <a:extLst>
              <a:ext uri="{FF2B5EF4-FFF2-40B4-BE49-F238E27FC236}">
                <a16:creationId xmlns:a16="http://schemas.microsoft.com/office/drawing/2014/main" id="{3BC16AC9-4D5E-468D-8600-685C53DE1EFD}"/>
              </a:ext>
            </a:extLst>
          </p:cNvPr>
          <p:cNvSpPr/>
          <p:nvPr/>
        </p:nvSpPr>
        <p:spPr>
          <a:xfrm>
            <a:off x="328258" y="1258785"/>
            <a:ext cx="1201079" cy="683543"/>
          </a:xfrm>
          <a:prstGeom prst="rect">
            <a:avLst/>
          </a:prstGeom>
          <a:solidFill>
            <a:srgbClr val="2D2D2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Контур 1</a:t>
            </a:r>
            <a:endParaRPr lang="en-US" sz="900" b="1" dirty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Прием НП</a:t>
            </a: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2279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4" y="42759"/>
            <a:ext cx="519885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3"/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Технологическое 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оснащение контуров </a:t>
            </a:r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НБ «Гладкое»</a:t>
            </a:r>
          </a:p>
          <a:p>
            <a:pPr defTabSz="914363"/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в </a:t>
            </a:r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рамках Программы внедрения системы </a:t>
            </a:r>
            <a:r>
              <a:rPr lang="ru-RU" sz="1600" b="1" dirty="0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«</a:t>
            </a:r>
            <a:r>
              <a:rPr lang="ru-RU" sz="1600" b="1" dirty="0" err="1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Нефтеконтроль</a:t>
            </a:r>
            <a:r>
              <a:rPr lang="ru-RU" sz="1600" b="1" dirty="0" smtClean="0">
                <a:solidFill>
                  <a:srgbClr val="DE5307"/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»</a:t>
            </a:r>
            <a:endParaRPr lang="ru-RU" sz="1600" b="1" dirty="0">
              <a:solidFill>
                <a:srgbClr val="DE5307"/>
              </a:solidFill>
              <a:latin typeface="DIN Pro" panose="020B0504020101010102" pitchFamily="34" charset="0"/>
              <a:cs typeface="DIN Pro" panose="020B0504020101010102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chemeClr val="tx1"/>
              </a:solidFill>
            </a:endParaRPr>
          </a:p>
        </p:txBody>
      </p:sp>
      <p:pic>
        <p:nvPicPr>
          <p:cNvPr id="719" name="Picture 6" descr="\\gazprom-neft.local\dfs\Газпром нефть\Папки пользователей\Личные папки\Driker.AA\Desktop\Инфографика\С заливкой\Переработка_и_сбыт\емкость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854" y="2352984"/>
            <a:ext cx="395819" cy="393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20" name="knot_z"/>
          <p:cNvGrpSpPr>
            <a:grpSpLocks noChangeAspect="1"/>
          </p:cNvGrpSpPr>
          <p:nvPr/>
        </p:nvGrpSpPr>
        <p:grpSpPr>
          <a:xfrm>
            <a:off x="2165028" y="2230565"/>
            <a:ext cx="58495" cy="103018"/>
            <a:chOff x="5915026" y="4621213"/>
            <a:chExt cx="312738" cy="468313"/>
          </a:xfrm>
        </p:grpSpPr>
        <p:sp>
          <p:nvSpPr>
            <p:cNvPr id="721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2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3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4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5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6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27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728" name="Прямая соединительная линия 727"/>
          <p:cNvCxnSpPr/>
          <p:nvPr/>
        </p:nvCxnSpPr>
        <p:spPr>
          <a:xfrm flipV="1">
            <a:off x="2192556" y="2336565"/>
            <a:ext cx="0" cy="367839"/>
          </a:xfrm>
          <a:prstGeom prst="line">
            <a:avLst/>
          </a:prstGeom>
          <a:ln w="38100" cap="rnd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9" name="Прямая соединительная линия 728"/>
          <p:cNvCxnSpPr/>
          <p:nvPr/>
        </p:nvCxnSpPr>
        <p:spPr>
          <a:xfrm flipV="1">
            <a:off x="2192411" y="2507280"/>
            <a:ext cx="0" cy="202313"/>
          </a:xfrm>
          <a:prstGeom prst="line">
            <a:avLst/>
          </a:prstGeom>
          <a:ln w="12700" cap="rnd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0" name="Соединительная линия уступом 729"/>
          <p:cNvCxnSpPr>
            <a:stCxn id="762" idx="3"/>
          </p:cNvCxnSpPr>
          <p:nvPr/>
        </p:nvCxnSpPr>
        <p:spPr>
          <a:xfrm flipV="1">
            <a:off x="1827300" y="2162588"/>
            <a:ext cx="1633505" cy="147198"/>
          </a:xfrm>
          <a:prstGeom prst="bentConnector3">
            <a:avLst>
              <a:gd name="adj1" fmla="val 6850"/>
            </a:avLst>
          </a:prstGeom>
          <a:ln w="9525">
            <a:solidFill>
              <a:schemeClr val="accent6"/>
            </a:solidFill>
            <a:prstDash val="lgDashDot"/>
            <a:headEnd type="triangle"/>
            <a:tailEnd type="non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1" name="Picture 6" descr="\\gazprom-neft.local\dfs\Газпром нефть\Папки пользователей\Личные папки\Driker.AA\Desktop\Инфографика\С заливкой\Переработка_и_сбыт\емкость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4518" y="2352984"/>
            <a:ext cx="395819" cy="393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32" name="knot_z"/>
          <p:cNvGrpSpPr>
            <a:grpSpLocks noChangeAspect="1"/>
          </p:cNvGrpSpPr>
          <p:nvPr/>
        </p:nvGrpSpPr>
        <p:grpSpPr>
          <a:xfrm>
            <a:off x="2676693" y="2230565"/>
            <a:ext cx="58495" cy="103018"/>
            <a:chOff x="5915026" y="4621213"/>
            <a:chExt cx="312738" cy="468313"/>
          </a:xfrm>
        </p:grpSpPr>
        <p:sp>
          <p:nvSpPr>
            <p:cNvPr id="733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4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5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6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7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8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39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740" name="Прямая соединительная линия 739"/>
          <p:cNvCxnSpPr/>
          <p:nvPr/>
        </p:nvCxnSpPr>
        <p:spPr>
          <a:xfrm flipV="1">
            <a:off x="2703269" y="2336565"/>
            <a:ext cx="0" cy="367839"/>
          </a:xfrm>
          <a:prstGeom prst="line">
            <a:avLst/>
          </a:prstGeom>
          <a:ln w="38100" cap="rnd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1" name="Прямая соединительная линия 138"/>
          <p:cNvCxnSpPr/>
          <p:nvPr/>
        </p:nvCxnSpPr>
        <p:spPr>
          <a:xfrm flipV="1">
            <a:off x="2741567" y="2161527"/>
            <a:ext cx="108798" cy="90689"/>
          </a:xfrm>
          <a:prstGeom prst="bentConnector3">
            <a:avLst>
              <a:gd name="adj1" fmla="val 81471"/>
            </a:avLst>
          </a:prstGeom>
          <a:ln w="9525">
            <a:solidFill>
              <a:schemeClr val="accent6"/>
            </a:solidFill>
            <a:prstDash val="lgDashDot"/>
            <a:miter lim="800000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2" name="Picture 35" descr="C:\Users\Driker.AA\Desktop\Инфографика\С заливкой\Транспорт\цистерна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1064" y="2543319"/>
            <a:ext cx="280257" cy="18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43" name="knot_z"/>
          <p:cNvGrpSpPr>
            <a:grpSpLocks noChangeAspect="1"/>
          </p:cNvGrpSpPr>
          <p:nvPr/>
        </p:nvGrpSpPr>
        <p:grpSpPr>
          <a:xfrm>
            <a:off x="3131004" y="2413956"/>
            <a:ext cx="58495" cy="103018"/>
            <a:chOff x="5915026" y="4621213"/>
            <a:chExt cx="312738" cy="468313"/>
          </a:xfrm>
        </p:grpSpPr>
        <p:sp>
          <p:nvSpPr>
            <p:cNvPr id="744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5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6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7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8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49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50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751" name="Прямая соединительная линия 750"/>
          <p:cNvCxnSpPr/>
          <p:nvPr/>
        </p:nvCxnSpPr>
        <p:spPr>
          <a:xfrm flipV="1">
            <a:off x="3160252" y="2509613"/>
            <a:ext cx="0" cy="187969"/>
          </a:xfrm>
          <a:prstGeom prst="line">
            <a:avLst/>
          </a:prstGeom>
          <a:ln w="38100" cap="rnd" cmpd="dbl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Прямая соединительная линия 138"/>
          <p:cNvCxnSpPr/>
          <p:nvPr/>
        </p:nvCxnSpPr>
        <p:spPr>
          <a:xfrm rot="5400000" flipH="1" flipV="1">
            <a:off x="3078631" y="2261962"/>
            <a:ext cx="283160" cy="82292"/>
          </a:xfrm>
          <a:prstGeom prst="bentConnector3">
            <a:avLst>
              <a:gd name="adj1" fmla="val 1016"/>
            </a:avLst>
          </a:prstGeom>
          <a:ln w="9525">
            <a:solidFill>
              <a:schemeClr val="accent6"/>
            </a:solidFill>
            <a:prstDash val="lgDashDot"/>
            <a:miter lim="800000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3" name="Прямая соединительная линия 752"/>
          <p:cNvCxnSpPr/>
          <p:nvPr/>
        </p:nvCxnSpPr>
        <p:spPr>
          <a:xfrm flipV="1">
            <a:off x="2703236" y="2648406"/>
            <a:ext cx="0" cy="58603"/>
          </a:xfrm>
          <a:prstGeom prst="line">
            <a:avLst/>
          </a:prstGeom>
          <a:ln w="12700" cap="rnd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4" name="Прямая соединительная линия 753"/>
          <p:cNvCxnSpPr/>
          <p:nvPr/>
        </p:nvCxnSpPr>
        <p:spPr>
          <a:xfrm flipV="1">
            <a:off x="3159853" y="2603597"/>
            <a:ext cx="548" cy="99683"/>
          </a:xfrm>
          <a:prstGeom prst="line">
            <a:avLst/>
          </a:prstGeom>
          <a:ln w="12700" cap="rnd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5" name="Picture 79" descr="C:\Users\Driker.AA\Desktop\Инфографика\С заливкой\Гидрометеорология\акватория,_свободная_ото_льда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4070" y="2509613"/>
            <a:ext cx="344603" cy="22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6" name="Picture 79" descr="C:\Users\Driker.AA\Desktop\Инфографика\С заливкой\Гидрометеорология\акватория,_свободная_ото_льда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69"/>
          <a:stretch/>
        </p:blipFill>
        <p:spPr bwMode="auto">
          <a:xfrm>
            <a:off x="2639745" y="2637965"/>
            <a:ext cx="344603" cy="9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7" name="Picture 79" descr="C:\Users\Driker.AA\Desktop\Инфографика\С заливкой\Гидрометеорология\акватория,_свободная_ото_льда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69"/>
          <a:stretch/>
        </p:blipFill>
        <p:spPr bwMode="auto">
          <a:xfrm>
            <a:off x="3093364" y="2597233"/>
            <a:ext cx="245234" cy="107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8" name="Picture 6" descr="\\gazprom-neft.local\dfs\Газпром нефть\Папки пользователей\Личные папки\Driker.AA\Desktop\Инфографика\С заливкой\Переработка_и_сбыт\емкость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410600"/>
            <a:ext cx="270692" cy="333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59" name="knot_z"/>
          <p:cNvGrpSpPr>
            <a:grpSpLocks noChangeAspect="1"/>
          </p:cNvGrpSpPr>
          <p:nvPr/>
        </p:nvGrpSpPr>
        <p:grpSpPr>
          <a:xfrm>
            <a:off x="1773854" y="2396373"/>
            <a:ext cx="58495" cy="103018"/>
            <a:chOff x="5915026" y="4621213"/>
            <a:chExt cx="312738" cy="468313"/>
          </a:xfrm>
        </p:grpSpPr>
        <p:sp>
          <p:nvSpPr>
            <p:cNvPr id="760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1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2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3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4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5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66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767" name="Прямая соединительная линия 766"/>
          <p:cNvCxnSpPr/>
          <p:nvPr/>
        </p:nvCxnSpPr>
        <p:spPr>
          <a:xfrm flipH="1" flipV="1">
            <a:off x="1801236" y="2503893"/>
            <a:ext cx="146" cy="319338"/>
          </a:xfrm>
          <a:prstGeom prst="line">
            <a:avLst/>
          </a:prstGeom>
          <a:ln w="38100" cap="rnd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8" name="Прямая соединительная линия 767"/>
          <p:cNvCxnSpPr/>
          <p:nvPr/>
        </p:nvCxnSpPr>
        <p:spPr>
          <a:xfrm flipV="1">
            <a:off x="1801236" y="2689575"/>
            <a:ext cx="0" cy="138845"/>
          </a:xfrm>
          <a:prstGeom prst="line">
            <a:avLst/>
          </a:prstGeom>
          <a:ln w="12700" cap="rnd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9" name="Picture 79" descr="C:\Users\Driker.AA\Desktop\Инфографика\С заливкой\Гидрометеорология\акватория,_свободная_ото_льда.pn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53"/>
          <a:stretch/>
        </p:blipFill>
        <p:spPr bwMode="auto">
          <a:xfrm>
            <a:off x="1719271" y="2557231"/>
            <a:ext cx="243101" cy="174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0" name="Прямая соединительная линия 138"/>
          <p:cNvCxnSpPr/>
          <p:nvPr/>
        </p:nvCxnSpPr>
        <p:spPr>
          <a:xfrm flipV="1">
            <a:off x="2226364" y="2162588"/>
            <a:ext cx="108798" cy="90689"/>
          </a:xfrm>
          <a:prstGeom prst="bentConnector3">
            <a:avLst>
              <a:gd name="adj1" fmla="val 81471"/>
            </a:avLst>
          </a:prstGeom>
          <a:ln w="9525">
            <a:solidFill>
              <a:schemeClr val="accent6"/>
            </a:solidFill>
            <a:prstDash val="lgDashDot"/>
            <a:miter lim="800000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1" name="Picture85"/>
          <p:cNvSpPr>
            <a:spLocks noChangeAspect="1" noEditPoints="1"/>
          </p:cNvSpPr>
          <p:nvPr/>
        </p:nvSpPr>
        <p:spPr bwMode="auto">
          <a:xfrm>
            <a:off x="3840833" y="2233535"/>
            <a:ext cx="211744" cy="141245"/>
          </a:xfrm>
          <a:custGeom>
            <a:avLst/>
            <a:gdLst>
              <a:gd name="T0" fmla="*/ 1190 w 1700"/>
              <a:gd name="T1" fmla="*/ 0 h 1134"/>
              <a:gd name="T2" fmla="*/ 1190 w 1700"/>
              <a:gd name="T3" fmla="*/ 1134 h 1134"/>
              <a:gd name="T4" fmla="*/ 1700 w 1700"/>
              <a:gd name="T5" fmla="*/ 1134 h 1134"/>
              <a:gd name="T6" fmla="*/ 1700 w 1700"/>
              <a:gd name="T7" fmla="*/ 0 h 1134"/>
              <a:gd name="T8" fmla="*/ 1190 w 1700"/>
              <a:gd name="T9" fmla="*/ 0 h 1134"/>
              <a:gd name="T10" fmla="*/ 1644 w 1700"/>
              <a:gd name="T11" fmla="*/ 738 h 1134"/>
              <a:gd name="T12" fmla="*/ 1588 w 1700"/>
              <a:gd name="T13" fmla="*/ 738 h 1134"/>
              <a:gd name="T14" fmla="*/ 1588 w 1700"/>
              <a:gd name="T15" fmla="*/ 680 h 1134"/>
              <a:gd name="T16" fmla="*/ 1644 w 1700"/>
              <a:gd name="T17" fmla="*/ 680 h 1134"/>
              <a:gd name="T18" fmla="*/ 1644 w 1700"/>
              <a:gd name="T19" fmla="*/ 738 h 1134"/>
              <a:gd name="T20" fmla="*/ 1644 w 1700"/>
              <a:gd name="T21" fmla="*/ 510 h 1134"/>
              <a:gd name="T22" fmla="*/ 1248 w 1700"/>
              <a:gd name="T23" fmla="*/ 510 h 1134"/>
              <a:gd name="T24" fmla="*/ 1248 w 1700"/>
              <a:gd name="T25" fmla="*/ 454 h 1134"/>
              <a:gd name="T26" fmla="*/ 1644 w 1700"/>
              <a:gd name="T27" fmla="*/ 454 h 1134"/>
              <a:gd name="T28" fmla="*/ 1644 w 1700"/>
              <a:gd name="T29" fmla="*/ 510 h 1134"/>
              <a:gd name="T30" fmla="*/ 1644 w 1700"/>
              <a:gd name="T31" fmla="*/ 340 h 1134"/>
              <a:gd name="T32" fmla="*/ 1248 w 1700"/>
              <a:gd name="T33" fmla="*/ 340 h 1134"/>
              <a:gd name="T34" fmla="*/ 1248 w 1700"/>
              <a:gd name="T35" fmla="*/ 284 h 1134"/>
              <a:gd name="T36" fmla="*/ 1644 w 1700"/>
              <a:gd name="T37" fmla="*/ 284 h 1134"/>
              <a:gd name="T38" fmla="*/ 1644 w 1700"/>
              <a:gd name="T39" fmla="*/ 340 h 1134"/>
              <a:gd name="T40" fmla="*/ 1644 w 1700"/>
              <a:gd name="T41" fmla="*/ 170 h 1134"/>
              <a:gd name="T42" fmla="*/ 1248 w 1700"/>
              <a:gd name="T43" fmla="*/ 170 h 1134"/>
              <a:gd name="T44" fmla="*/ 1248 w 1700"/>
              <a:gd name="T45" fmla="*/ 114 h 1134"/>
              <a:gd name="T46" fmla="*/ 1644 w 1700"/>
              <a:gd name="T47" fmla="*/ 114 h 1134"/>
              <a:gd name="T48" fmla="*/ 1644 w 1700"/>
              <a:gd name="T49" fmla="*/ 170 h 1134"/>
              <a:gd name="T50" fmla="*/ 0 w 1700"/>
              <a:gd name="T51" fmla="*/ 964 h 1134"/>
              <a:gd name="T52" fmla="*/ 396 w 1700"/>
              <a:gd name="T53" fmla="*/ 964 h 1134"/>
              <a:gd name="T54" fmla="*/ 396 w 1700"/>
              <a:gd name="T55" fmla="*/ 1078 h 1134"/>
              <a:gd name="T56" fmla="*/ 284 w 1700"/>
              <a:gd name="T57" fmla="*/ 1078 h 1134"/>
              <a:gd name="T58" fmla="*/ 284 w 1700"/>
              <a:gd name="T59" fmla="*/ 1134 h 1134"/>
              <a:gd name="T60" fmla="*/ 794 w 1700"/>
              <a:gd name="T61" fmla="*/ 1134 h 1134"/>
              <a:gd name="T62" fmla="*/ 794 w 1700"/>
              <a:gd name="T63" fmla="*/ 1078 h 1134"/>
              <a:gd name="T64" fmla="*/ 680 w 1700"/>
              <a:gd name="T65" fmla="*/ 1078 h 1134"/>
              <a:gd name="T66" fmla="*/ 680 w 1700"/>
              <a:gd name="T67" fmla="*/ 964 h 1134"/>
              <a:gd name="T68" fmla="*/ 1078 w 1700"/>
              <a:gd name="T69" fmla="*/ 964 h 1134"/>
              <a:gd name="T70" fmla="*/ 1078 w 1700"/>
              <a:gd name="T71" fmla="*/ 170 h 1134"/>
              <a:gd name="T72" fmla="*/ 0 w 1700"/>
              <a:gd name="T73" fmla="*/ 170 h 1134"/>
              <a:gd name="T74" fmla="*/ 0 w 1700"/>
              <a:gd name="T75" fmla="*/ 964 h 1134"/>
              <a:gd name="T76" fmla="*/ 964 w 1700"/>
              <a:gd name="T77" fmla="*/ 908 h 1134"/>
              <a:gd name="T78" fmla="*/ 908 w 1700"/>
              <a:gd name="T79" fmla="*/ 908 h 1134"/>
              <a:gd name="T80" fmla="*/ 908 w 1700"/>
              <a:gd name="T81" fmla="*/ 850 h 1134"/>
              <a:gd name="T82" fmla="*/ 964 w 1700"/>
              <a:gd name="T83" fmla="*/ 850 h 1134"/>
              <a:gd name="T84" fmla="*/ 964 w 1700"/>
              <a:gd name="T85" fmla="*/ 908 h 1134"/>
              <a:gd name="T86" fmla="*/ 114 w 1700"/>
              <a:gd name="T87" fmla="*/ 284 h 1134"/>
              <a:gd name="T88" fmla="*/ 964 w 1700"/>
              <a:gd name="T89" fmla="*/ 284 h 1134"/>
              <a:gd name="T90" fmla="*/ 964 w 1700"/>
              <a:gd name="T91" fmla="*/ 794 h 1134"/>
              <a:gd name="T92" fmla="*/ 114 w 1700"/>
              <a:gd name="T93" fmla="*/ 794 h 1134"/>
              <a:gd name="T94" fmla="*/ 114 w 1700"/>
              <a:gd name="T95" fmla="*/ 284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00" h="1134">
                <a:moveTo>
                  <a:pt x="1190" y="0"/>
                </a:moveTo>
                <a:lnTo>
                  <a:pt x="1190" y="1134"/>
                </a:lnTo>
                <a:lnTo>
                  <a:pt x="1700" y="1134"/>
                </a:lnTo>
                <a:lnTo>
                  <a:pt x="1700" y="0"/>
                </a:lnTo>
                <a:lnTo>
                  <a:pt x="1190" y="0"/>
                </a:lnTo>
                <a:close/>
                <a:moveTo>
                  <a:pt x="1644" y="738"/>
                </a:moveTo>
                <a:lnTo>
                  <a:pt x="1588" y="738"/>
                </a:lnTo>
                <a:lnTo>
                  <a:pt x="1588" y="680"/>
                </a:lnTo>
                <a:lnTo>
                  <a:pt x="1644" y="680"/>
                </a:lnTo>
                <a:lnTo>
                  <a:pt x="1644" y="738"/>
                </a:lnTo>
                <a:close/>
                <a:moveTo>
                  <a:pt x="1644" y="510"/>
                </a:moveTo>
                <a:lnTo>
                  <a:pt x="1248" y="510"/>
                </a:lnTo>
                <a:lnTo>
                  <a:pt x="1248" y="454"/>
                </a:lnTo>
                <a:lnTo>
                  <a:pt x="1644" y="454"/>
                </a:lnTo>
                <a:lnTo>
                  <a:pt x="1644" y="510"/>
                </a:lnTo>
                <a:close/>
                <a:moveTo>
                  <a:pt x="1644" y="340"/>
                </a:moveTo>
                <a:lnTo>
                  <a:pt x="1248" y="340"/>
                </a:lnTo>
                <a:lnTo>
                  <a:pt x="1248" y="284"/>
                </a:lnTo>
                <a:lnTo>
                  <a:pt x="1644" y="284"/>
                </a:lnTo>
                <a:lnTo>
                  <a:pt x="1644" y="340"/>
                </a:lnTo>
                <a:close/>
                <a:moveTo>
                  <a:pt x="1644" y="170"/>
                </a:moveTo>
                <a:lnTo>
                  <a:pt x="1248" y="170"/>
                </a:lnTo>
                <a:lnTo>
                  <a:pt x="1248" y="114"/>
                </a:lnTo>
                <a:lnTo>
                  <a:pt x="1644" y="114"/>
                </a:lnTo>
                <a:lnTo>
                  <a:pt x="1644" y="170"/>
                </a:lnTo>
                <a:close/>
                <a:moveTo>
                  <a:pt x="0" y="964"/>
                </a:moveTo>
                <a:lnTo>
                  <a:pt x="396" y="964"/>
                </a:lnTo>
                <a:lnTo>
                  <a:pt x="396" y="1078"/>
                </a:lnTo>
                <a:lnTo>
                  <a:pt x="284" y="1078"/>
                </a:lnTo>
                <a:lnTo>
                  <a:pt x="284" y="1134"/>
                </a:lnTo>
                <a:lnTo>
                  <a:pt x="794" y="1134"/>
                </a:lnTo>
                <a:lnTo>
                  <a:pt x="794" y="1078"/>
                </a:lnTo>
                <a:lnTo>
                  <a:pt x="680" y="1078"/>
                </a:lnTo>
                <a:lnTo>
                  <a:pt x="680" y="964"/>
                </a:lnTo>
                <a:lnTo>
                  <a:pt x="1078" y="964"/>
                </a:lnTo>
                <a:lnTo>
                  <a:pt x="1078" y="170"/>
                </a:lnTo>
                <a:lnTo>
                  <a:pt x="0" y="170"/>
                </a:lnTo>
                <a:lnTo>
                  <a:pt x="0" y="964"/>
                </a:lnTo>
                <a:close/>
                <a:moveTo>
                  <a:pt x="964" y="908"/>
                </a:moveTo>
                <a:lnTo>
                  <a:pt x="908" y="908"/>
                </a:lnTo>
                <a:lnTo>
                  <a:pt x="908" y="850"/>
                </a:lnTo>
                <a:lnTo>
                  <a:pt x="964" y="850"/>
                </a:lnTo>
                <a:lnTo>
                  <a:pt x="964" y="908"/>
                </a:lnTo>
                <a:close/>
                <a:moveTo>
                  <a:pt x="114" y="284"/>
                </a:moveTo>
                <a:lnTo>
                  <a:pt x="964" y="284"/>
                </a:lnTo>
                <a:lnTo>
                  <a:pt x="964" y="794"/>
                </a:lnTo>
                <a:lnTo>
                  <a:pt x="114" y="794"/>
                </a:lnTo>
                <a:lnTo>
                  <a:pt x="114" y="2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sp>
        <p:nvSpPr>
          <p:cNvPr id="772" name="Прямоугольник 771"/>
          <p:cNvSpPr/>
          <p:nvPr/>
        </p:nvSpPr>
        <p:spPr>
          <a:xfrm>
            <a:off x="3624809" y="2413555"/>
            <a:ext cx="582699" cy="276999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600" dirty="0">
                <a:solidFill>
                  <a:schemeClr val="accent3"/>
                </a:solidFill>
              </a:rPr>
              <a:t>Локальная АСУТП</a:t>
            </a:r>
          </a:p>
        </p:txBody>
      </p:sp>
      <p:sp>
        <p:nvSpPr>
          <p:cNvPr id="1005" name="Прямоугольник 1004"/>
          <p:cNvSpPr/>
          <p:nvPr/>
        </p:nvSpPr>
        <p:spPr>
          <a:xfrm>
            <a:off x="2987825" y="4017063"/>
            <a:ext cx="1062119" cy="270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500" dirty="0">
                <a:solidFill>
                  <a:schemeClr val="bg1">
                    <a:lumMod val="95000"/>
                  </a:schemeClr>
                </a:solidFill>
              </a:rPr>
              <a:t>ПТК «ССПД»(новые) </a:t>
            </a:r>
            <a:r>
              <a:rPr lang="en-US" sz="500" dirty="0">
                <a:solidFill>
                  <a:schemeClr val="bg1">
                    <a:lumMod val="95000"/>
                  </a:schemeClr>
                </a:solidFill>
              </a:rPr>
              <a:t>/ </a:t>
            </a:r>
            <a:r>
              <a:rPr lang="ru-RU" sz="500" dirty="0">
                <a:solidFill>
                  <a:schemeClr val="bg1">
                    <a:lumMod val="95000"/>
                  </a:schemeClr>
                </a:solidFill>
              </a:rPr>
              <a:t>АСУТП НБ</a:t>
            </a:r>
            <a:r>
              <a:rPr lang="en-US" sz="5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500" dirty="0">
                <a:solidFill>
                  <a:schemeClr val="bg1">
                    <a:lumMod val="95000"/>
                  </a:schemeClr>
                </a:solidFill>
              </a:rPr>
              <a:t>(существующие)</a:t>
            </a:r>
          </a:p>
        </p:txBody>
      </p:sp>
      <p:sp>
        <p:nvSpPr>
          <p:cNvPr id="1006" name="Прямоугольник 1005"/>
          <p:cNvSpPr/>
          <p:nvPr/>
        </p:nvSpPr>
        <p:spPr>
          <a:xfrm>
            <a:off x="2279394" y="4042381"/>
            <a:ext cx="561301" cy="20867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ru-RU" sz="525" dirty="0">
                <a:solidFill>
                  <a:schemeClr val="bg1">
                    <a:lumMod val="95000"/>
                  </a:schemeClr>
                </a:solidFill>
              </a:rPr>
              <a:t>АСУП </a:t>
            </a:r>
            <a:r>
              <a:rPr lang="ru-RU" sz="525" dirty="0" smtClean="0">
                <a:solidFill>
                  <a:schemeClr val="bg1">
                    <a:lumMod val="95000"/>
                  </a:schemeClr>
                </a:solidFill>
              </a:rPr>
              <a:t>НБ </a:t>
            </a:r>
            <a:r>
              <a:rPr lang="ru-RU" sz="525" dirty="0">
                <a:solidFill>
                  <a:schemeClr val="bg1">
                    <a:lumMod val="95000"/>
                  </a:schemeClr>
                </a:solidFill>
              </a:rPr>
              <a:t>(</a:t>
            </a:r>
            <a:r>
              <a:rPr lang="en-US" sz="525" dirty="0">
                <a:solidFill>
                  <a:schemeClr val="bg1">
                    <a:lumMod val="95000"/>
                  </a:schemeClr>
                </a:solidFill>
              </a:rPr>
              <a:t>MES</a:t>
            </a:r>
            <a:r>
              <a:rPr lang="ru-RU" sz="525" dirty="0">
                <a:solidFill>
                  <a:schemeClr val="bg1">
                    <a:lumMod val="95000"/>
                  </a:schemeClr>
                </a:solidFill>
              </a:rPr>
              <a:t>)</a:t>
            </a:r>
          </a:p>
        </p:txBody>
      </p:sp>
      <p:sp>
        <p:nvSpPr>
          <p:cNvPr id="1007" name="Picture82"/>
          <p:cNvSpPr>
            <a:spLocks noEditPoints="1"/>
          </p:cNvSpPr>
          <p:nvPr/>
        </p:nvSpPr>
        <p:spPr bwMode="auto">
          <a:xfrm>
            <a:off x="3477118" y="3745703"/>
            <a:ext cx="209543" cy="294742"/>
          </a:xfrm>
          <a:custGeom>
            <a:avLst/>
            <a:gdLst>
              <a:gd name="T0" fmla="*/ 91 w 912"/>
              <a:gd name="T1" fmla="*/ 91 h 915"/>
              <a:gd name="T2" fmla="*/ 821 w 912"/>
              <a:gd name="T3" fmla="*/ 275 h 915"/>
              <a:gd name="T4" fmla="*/ 182 w 912"/>
              <a:gd name="T5" fmla="*/ 214 h 915"/>
              <a:gd name="T6" fmla="*/ 152 w 912"/>
              <a:gd name="T7" fmla="*/ 184 h 915"/>
              <a:gd name="T8" fmla="*/ 182 w 912"/>
              <a:gd name="T9" fmla="*/ 214 h 915"/>
              <a:gd name="T10" fmla="*/ 213 w 912"/>
              <a:gd name="T11" fmla="*/ 214 h 915"/>
              <a:gd name="T12" fmla="*/ 243 w 912"/>
              <a:gd name="T13" fmla="*/ 184 h 915"/>
              <a:gd name="T14" fmla="*/ 760 w 912"/>
              <a:gd name="T15" fmla="*/ 214 h 915"/>
              <a:gd name="T16" fmla="*/ 425 w 912"/>
              <a:gd name="T17" fmla="*/ 153 h 915"/>
              <a:gd name="T18" fmla="*/ 760 w 912"/>
              <a:gd name="T19" fmla="*/ 214 h 915"/>
              <a:gd name="T20" fmla="*/ 0 w 912"/>
              <a:gd name="T21" fmla="*/ 854 h 915"/>
              <a:gd name="T22" fmla="*/ 91 w 912"/>
              <a:gd name="T23" fmla="*/ 854 h 915"/>
              <a:gd name="T24" fmla="*/ 243 w 912"/>
              <a:gd name="T25" fmla="*/ 915 h 915"/>
              <a:gd name="T26" fmla="*/ 669 w 912"/>
              <a:gd name="T27" fmla="*/ 854 h 915"/>
              <a:gd name="T28" fmla="*/ 821 w 912"/>
              <a:gd name="T29" fmla="*/ 915 h 915"/>
              <a:gd name="T30" fmla="*/ 912 w 912"/>
              <a:gd name="T31" fmla="*/ 854 h 915"/>
              <a:gd name="T32" fmla="*/ 912 w 912"/>
              <a:gd name="T33" fmla="*/ 0 h 915"/>
              <a:gd name="T34" fmla="*/ 851 w 912"/>
              <a:gd name="T35" fmla="*/ 792 h 915"/>
              <a:gd name="T36" fmla="*/ 61 w 912"/>
              <a:gd name="T37" fmla="*/ 61 h 915"/>
              <a:gd name="T38" fmla="*/ 851 w 912"/>
              <a:gd name="T39" fmla="*/ 792 h 915"/>
              <a:gd name="T40" fmla="*/ 91 w 912"/>
              <a:gd name="T41" fmla="*/ 335 h 915"/>
              <a:gd name="T42" fmla="*/ 821 w 912"/>
              <a:gd name="T43" fmla="*/ 518 h 915"/>
              <a:gd name="T44" fmla="*/ 182 w 912"/>
              <a:gd name="T45" fmla="*/ 458 h 915"/>
              <a:gd name="T46" fmla="*/ 152 w 912"/>
              <a:gd name="T47" fmla="*/ 427 h 915"/>
              <a:gd name="T48" fmla="*/ 182 w 912"/>
              <a:gd name="T49" fmla="*/ 458 h 915"/>
              <a:gd name="T50" fmla="*/ 213 w 912"/>
              <a:gd name="T51" fmla="*/ 458 h 915"/>
              <a:gd name="T52" fmla="*/ 243 w 912"/>
              <a:gd name="T53" fmla="*/ 427 h 915"/>
              <a:gd name="T54" fmla="*/ 760 w 912"/>
              <a:gd name="T55" fmla="*/ 458 h 915"/>
              <a:gd name="T56" fmla="*/ 425 w 912"/>
              <a:gd name="T57" fmla="*/ 397 h 915"/>
              <a:gd name="T58" fmla="*/ 760 w 912"/>
              <a:gd name="T59" fmla="*/ 458 h 915"/>
              <a:gd name="T60" fmla="*/ 91 w 912"/>
              <a:gd name="T61" fmla="*/ 580 h 915"/>
              <a:gd name="T62" fmla="*/ 821 w 912"/>
              <a:gd name="T63" fmla="*/ 762 h 915"/>
              <a:gd name="T64" fmla="*/ 182 w 912"/>
              <a:gd name="T65" fmla="*/ 701 h 915"/>
              <a:gd name="T66" fmla="*/ 152 w 912"/>
              <a:gd name="T67" fmla="*/ 671 h 915"/>
              <a:gd name="T68" fmla="*/ 182 w 912"/>
              <a:gd name="T69" fmla="*/ 701 h 915"/>
              <a:gd name="T70" fmla="*/ 213 w 912"/>
              <a:gd name="T71" fmla="*/ 701 h 915"/>
              <a:gd name="T72" fmla="*/ 243 w 912"/>
              <a:gd name="T73" fmla="*/ 671 h 915"/>
              <a:gd name="T74" fmla="*/ 760 w 912"/>
              <a:gd name="T75" fmla="*/ 701 h 915"/>
              <a:gd name="T76" fmla="*/ 425 w 912"/>
              <a:gd name="T77" fmla="*/ 641 h 915"/>
              <a:gd name="T78" fmla="*/ 760 w 912"/>
              <a:gd name="T79" fmla="*/ 701 h 9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12" h="915">
                <a:moveTo>
                  <a:pt x="821" y="91"/>
                </a:moveTo>
                <a:lnTo>
                  <a:pt x="91" y="91"/>
                </a:lnTo>
                <a:lnTo>
                  <a:pt x="91" y="275"/>
                </a:lnTo>
                <a:lnTo>
                  <a:pt x="821" y="275"/>
                </a:lnTo>
                <a:lnTo>
                  <a:pt x="821" y="91"/>
                </a:lnTo>
                <a:close/>
                <a:moveTo>
                  <a:pt x="182" y="214"/>
                </a:moveTo>
                <a:lnTo>
                  <a:pt x="152" y="214"/>
                </a:lnTo>
                <a:lnTo>
                  <a:pt x="152" y="184"/>
                </a:lnTo>
                <a:lnTo>
                  <a:pt x="182" y="184"/>
                </a:lnTo>
                <a:lnTo>
                  <a:pt x="182" y="214"/>
                </a:lnTo>
                <a:close/>
                <a:moveTo>
                  <a:pt x="243" y="214"/>
                </a:moveTo>
                <a:lnTo>
                  <a:pt x="213" y="214"/>
                </a:lnTo>
                <a:lnTo>
                  <a:pt x="213" y="184"/>
                </a:lnTo>
                <a:lnTo>
                  <a:pt x="243" y="184"/>
                </a:lnTo>
                <a:lnTo>
                  <a:pt x="243" y="214"/>
                </a:lnTo>
                <a:close/>
                <a:moveTo>
                  <a:pt x="760" y="214"/>
                </a:moveTo>
                <a:lnTo>
                  <a:pt x="425" y="214"/>
                </a:lnTo>
                <a:lnTo>
                  <a:pt x="425" y="153"/>
                </a:lnTo>
                <a:lnTo>
                  <a:pt x="760" y="153"/>
                </a:lnTo>
                <a:lnTo>
                  <a:pt x="760" y="214"/>
                </a:lnTo>
                <a:close/>
                <a:moveTo>
                  <a:pt x="0" y="0"/>
                </a:moveTo>
                <a:lnTo>
                  <a:pt x="0" y="854"/>
                </a:lnTo>
                <a:lnTo>
                  <a:pt x="0" y="854"/>
                </a:lnTo>
                <a:lnTo>
                  <a:pt x="91" y="854"/>
                </a:lnTo>
                <a:lnTo>
                  <a:pt x="91" y="915"/>
                </a:lnTo>
                <a:lnTo>
                  <a:pt x="243" y="915"/>
                </a:lnTo>
                <a:lnTo>
                  <a:pt x="243" y="854"/>
                </a:lnTo>
                <a:lnTo>
                  <a:pt x="669" y="854"/>
                </a:lnTo>
                <a:lnTo>
                  <a:pt x="669" y="915"/>
                </a:lnTo>
                <a:lnTo>
                  <a:pt x="821" y="915"/>
                </a:lnTo>
                <a:lnTo>
                  <a:pt x="821" y="854"/>
                </a:lnTo>
                <a:lnTo>
                  <a:pt x="912" y="854"/>
                </a:lnTo>
                <a:lnTo>
                  <a:pt x="912" y="854"/>
                </a:lnTo>
                <a:lnTo>
                  <a:pt x="912" y="0"/>
                </a:lnTo>
                <a:lnTo>
                  <a:pt x="0" y="0"/>
                </a:lnTo>
                <a:close/>
                <a:moveTo>
                  <a:pt x="851" y="792"/>
                </a:moveTo>
                <a:lnTo>
                  <a:pt x="61" y="792"/>
                </a:lnTo>
                <a:lnTo>
                  <a:pt x="61" y="61"/>
                </a:lnTo>
                <a:lnTo>
                  <a:pt x="851" y="61"/>
                </a:lnTo>
                <a:lnTo>
                  <a:pt x="851" y="792"/>
                </a:lnTo>
                <a:close/>
                <a:moveTo>
                  <a:pt x="821" y="335"/>
                </a:moveTo>
                <a:lnTo>
                  <a:pt x="91" y="335"/>
                </a:lnTo>
                <a:lnTo>
                  <a:pt x="91" y="518"/>
                </a:lnTo>
                <a:lnTo>
                  <a:pt x="821" y="518"/>
                </a:lnTo>
                <a:lnTo>
                  <a:pt x="821" y="335"/>
                </a:lnTo>
                <a:close/>
                <a:moveTo>
                  <a:pt x="182" y="458"/>
                </a:moveTo>
                <a:lnTo>
                  <a:pt x="152" y="458"/>
                </a:lnTo>
                <a:lnTo>
                  <a:pt x="152" y="427"/>
                </a:lnTo>
                <a:lnTo>
                  <a:pt x="182" y="427"/>
                </a:lnTo>
                <a:lnTo>
                  <a:pt x="182" y="458"/>
                </a:lnTo>
                <a:close/>
                <a:moveTo>
                  <a:pt x="243" y="458"/>
                </a:moveTo>
                <a:lnTo>
                  <a:pt x="213" y="458"/>
                </a:lnTo>
                <a:lnTo>
                  <a:pt x="213" y="427"/>
                </a:lnTo>
                <a:lnTo>
                  <a:pt x="243" y="427"/>
                </a:lnTo>
                <a:lnTo>
                  <a:pt x="243" y="458"/>
                </a:lnTo>
                <a:close/>
                <a:moveTo>
                  <a:pt x="760" y="458"/>
                </a:moveTo>
                <a:lnTo>
                  <a:pt x="425" y="458"/>
                </a:lnTo>
                <a:lnTo>
                  <a:pt x="425" y="397"/>
                </a:lnTo>
                <a:lnTo>
                  <a:pt x="760" y="397"/>
                </a:lnTo>
                <a:lnTo>
                  <a:pt x="760" y="458"/>
                </a:lnTo>
                <a:close/>
                <a:moveTo>
                  <a:pt x="821" y="580"/>
                </a:moveTo>
                <a:lnTo>
                  <a:pt x="91" y="580"/>
                </a:lnTo>
                <a:lnTo>
                  <a:pt x="91" y="762"/>
                </a:lnTo>
                <a:lnTo>
                  <a:pt x="821" y="762"/>
                </a:lnTo>
                <a:lnTo>
                  <a:pt x="821" y="580"/>
                </a:lnTo>
                <a:close/>
                <a:moveTo>
                  <a:pt x="182" y="701"/>
                </a:moveTo>
                <a:lnTo>
                  <a:pt x="152" y="701"/>
                </a:lnTo>
                <a:lnTo>
                  <a:pt x="152" y="671"/>
                </a:lnTo>
                <a:lnTo>
                  <a:pt x="182" y="671"/>
                </a:lnTo>
                <a:lnTo>
                  <a:pt x="182" y="701"/>
                </a:lnTo>
                <a:close/>
                <a:moveTo>
                  <a:pt x="243" y="701"/>
                </a:moveTo>
                <a:lnTo>
                  <a:pt x="213" y="701"/>
                </a:lnTo>
                <a:lnTo>
                  <a:pt x="213" y="671"/>
                </a:lnTo>
                <a:lnTo>
                  <a:pt x="243" y="671"/>
                </a:lnTo>
                <a:lnTo>
                  <a:pt x="243" y="701"/>
                </a:lnTo>
                <a:close/>
                <a:moveTo>
                  <a:pt x="760" y="701"/>
                </a:moveTo>
                <a:lnTo>
                  <a:pt x="425" y="701"/>
                </a:lnTo>
                <a:lnTo>
                  <a:pt x="425" y="641"/>
                </a:lnTo>
                <a:lnTo>
                  <a:pt x="760" y="641"/>
                </a:lnTo>
                <a:lnTo>
                  <a:pt x="760" y="70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sp>
        <p:nvSpPr>
          <p:cNvPr id="1008" name="Picture84"/>
          <p:cNvSpPr>
            <a:spLocks noEditPoints="1"/>
          </p:cNvSpPr>
          <p:nvPr/>
        </p:nvSpPr>
        <p:spPr bwMode="auto">
          <a:xfrm>
            <a:off x="2428753" y="3745703"/>
            <a:ext cx="262585" cy="240930"/>
          </a:xfrm>
          <a:custGeom>
            <a:avLst/>
            <a:gdLst>
              <a:gd name="T0" fmla="*/ 761 w 912"/>
              <a:gd name="T1" fmla="*/ 91 h 609"/>
              <a:gd name="T2" fmla="*/ 761 w 912"/>
              <a:gd name="T3" fmla="*/ 61 h 609"/>
              <a:gd name="T4" fmla="*/ 912 w 912"/>
              <a:gd name="T5" fmla="*/ 61 h 609"/>
              <a:gd name="T6" fmla="*/ 912 w 912"/>
              <a:gd name="T7" fmla="*/ 30 h 609"/>
              <a:gd name="T8" fmla="*/ 761 w 912"/>
              <a:gd name="T9" fmla="*/ 30 h 609"/>
              <a:gd name="T10" fmla="*/ 761 w 912"/>
              <a:gd name="T11" fmla="*/ 0 h 609"/>
              <a:gd name="T12" fmla="*/ 670 w 912"/>
              <a:gd name="T13" fmla="*/ 0 h 609"/>
              <a:gd name="T14" fmla="*/ 670 w 912"/>
              <a:gd name="T15" fmla="*/ 30 h 609"/>
              <a:gd name="T16" fmla="*/ 244 w 912"/>
              <a:gd name="T17" fmla="*/ 30 h 609"/>
              <a:gd name="T18" fmla="*/ 244 w 912"/>
              <a:gd name="T19" fmla="*/ 0 h 609"/>
              <a:gd name="T20" fmla="*/ 152 w 912"/>
              <a:gd name="T21" fmla="*/ 0 h 609"/>
              <a:gd name="T22" fmla="*/ 152 w 912"/>
              <a:gd name="T23" fmla="*/ 30 h 609"/>
              <a:gd name="T24" fmla="*/ 0 w 912"/>
              <a:gd name="T25" fmla="*/ 30 h 609"/>
              <a:gd name="T26" fmla="*/ 0 w 912"/>
              <a:gd name="T27" fmla="*/ 61 h 609"/>
              <a:gd name="T28" fmla="*/ 152 w 912"/>
              <a:gd name="T29" fmla="*/ 61 h 609"/>
              <a:gd name="T30" fmla="*/ 152 w 912"/>
              <a:gd name="T31" fmla="*/ 91 h 609"/>
              <a:gd name="T32" fmla="*/ 182 w 912"/>
              <a:gd name="T33" fmla="*/ 91 h 609"/>
              <a:gd name="T34" fmla="*/ 182 w 912"/>
              <a:gd name="T35" fmla="*/ 214 h 609"/>
              <a:gd name="T36" fmla="*/ 0 w 912"/>
              <a:gd name="T37" fmla="*/ 214 h 609"/>
              <a:gd name="T38" fmla="*/ 0 w 912"/>
              <a:gd name="T39" fmla="*/ 518 h 609"/>
              <a:gd name="T40" fmla="*/ 152 w 912"/>
              <a:gd name="T41" fmla="*/ 518 h 609"/>
              <a:gd name="T42" fmla="*/ 152 w 912"/>
              <a:gd name="T43" fmla="*/ 579 h 609"/>
              <a:gd name="T44" fmla="*/ 91 w 912"/>
              <a:gd name="T45" fmla="*/ 579 h 609"/>
              <a:gd name="T46" fmla="*/ 91 w 912"/>
              <a:gd name="T47" fmla="*/ 609 h 609"/>
              <a:gd name="T48" fmla="*/ 304 w 912"/>
              <a:gd name="T49" fmla="*/ 609 h 609"/>
              <a:gd name="T50" fmla="*/ 304 w 912"/>
              <a:gd name="T51" fmla="*/ 579 h 609"/>
              <a:gd name="T52" fmla="*/ 244 w 912"/>
              <a:gd name="T53" fmla="*/ 579 h 609"/>
              <a:gd name="T54" fmla="*/ 244 w 912"/>
              <a:gd name="T55" fmla="*/ 518 h 609"/>
              <a:gd name="T56" fmla="*/ 396 w 912"/>
              <a:gd name="T57" fmla="*/ 518 h 609"/>
              <a:gd name="T58" fmla="*/ 396 w 912"/>
              <a:gd name="T59" fmla="*/ 214 h 609"/>
              <a:gd name="T60" fmla="*/ 212 w 912"/>
              <a:gd name="T61" fmla="*/ 214 h 609"/>
              <a:gd name="T62" fmla="*/ 212 w 912"/>
              <a:gd name="T63" fmla="*/ 91 h 609"/>
              <a:gd name="T64" fmla="*/ 244 w 912"/>
              <a:gd name="T65" fmla="*/ 91 h 609"/>
              <a:gd name="T66" fmla="*/ 244 w 912"/>
              <a:gd name="T67" fmla="*/ 61 h 609"/>
              <a:gd name="T68" fmla="*/ 670 w 912"/>
              <a:gd name="T69" fmla="*/ 61 h 609"/>
              <a:gd name="T70" fmla="*/ 670 w 912"/>
              <a:gd name="T71" fmla="*/ 91 h 609"/>
              <a:gd name="T72" fmla="*/ 700 w 912"/>
              <a:gd name="T73" fmla="*/ 91 h 609"/>
              <a:gd name="T74" fmla="*/ 700 w 912"/>
              <a:gd name="T75" fmla="*/ 214 h 609"/>
              <a:gd name="T76" fmla="*/ 517 w 912"/>
              <a:gd name="T77" fmla="*/ 214 h 609"/>
              <a:gd name="T78" fmla="*/ 517 w 912"/>
              <a:gd name="T79" fmla="*/ 518 h 609"/>
              <a:gd name="T80" fmla="*/ 670 w 912"/>
              <a:gd name="T81" fmla="*/ 518 h 609"/>
              <a:gd name="T82" fmla="*/ 670 w 912"/>
              <a:gd name="T83" fmla="*/ 579 h 609"/>
              <a:gd name="T84" fmla="*/ 608 w 912"/>
              <a:gd name="T85" fmla="*/ 579 h 609"/>
              <a:gd name="T86" fmla="*/ 608 w 912"/>
              <a:gd name="T87" fmla="*/ 609 h 609"/>
              <a:gd name="T88" fmla="*/ 821 w 912"/>
              <a:gd name="T89" fmla="*/ 609 h 609"/>
              <a:gd name="T90" fmla="*/ 821 w 912"/>
              <a:gd name="T91" fmla="*/ 579 h 609"/>
              <a:gd name="T92" fmla="*/ 761 w 912"/>
              <a:gd name="T93" fmla="*/ 579 h 609"/>
              <a:gd name="T94" fmla="*/ 761 w 912"/>
              <a:gd name="T95" fmla="*/ 518 h 609"/>
              <a:gd name="T96" fmla="*/ 912 w 912"/>
              <a:gd name="T97" fmla="*/ 518 h 609"/>
              <a:gd name="T98" fmla="*/ 912 w 912"/>
              <a:gd name="T99" fmla="*/ 214 h 609"/>
              <a:gd name="T100" fmla="*/ 730 w 912"/>
              <a:gd name="T101" fmla="*/ 214 h 609"/>
              <a:gd name="T102" fmla="*/ 730 w 912"/>
              <a:gd name="T103" fmla="*/ 91 h 609"/>
              <a:gd name="T104" fmla="*/ 761 w 912"/>
              <a:gd name="T105" fmla="*/ 91 h 609"/>
              <a:gd name="T106" fmla="*/ 335 w 912"/>
              <a:gd name="T107" fmla="*/ 456 h 609"/>
              <a:gd name="T108" fmla="*/ 61 w 912"/>
              <a:gd name="T109" fmla="*/ 456 h 609"/>
              <a:gd name="T110" fmla="*/ 61 w 912"/>
              <a:gd name="T111" fmla="*/ 274 h 609"/>
              <a:gd name="T112" fmla="*/ 335 w 912"/>
              <a:gd name="T113" fmla="*/ 274 h 609"/>
              <a:gd name="T114" fmla="*/ 335 w 912"/>
              <a:gd name="T115" fmla="*/ 456 h 609"/>
              <a:gd name="T116" fmla="*/ 852 w 912"/>
              <a:gd name="T117" fmla="*/ 456 h 609"/>
              <a:gd name="T118" fmla="*/ 578 w 912"/>
              <a:gd name="T119" fmla="*/ 456 h 609"/>
              <a:gd name="T120" fmla="*/ 578 w 912"/>
              <a:gd name="T121" fmla="*/ 274 h 609"/>
              <a:gd name="T122" fmla="*/ 852 w 912"/>
              <a:gd name="T123" fmla="*/ 274 h 609"/>
              <a:gd name="T124" fmla="*/ 852 w 912"/>
              <a:gd name="T125" fmla="*/ 456 h 6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2" h="609">
                <a:moveTo>
                  <a:pt x="761" y="91"/>
                </a:moveTo>
                <a:lnTo>
                  <a:pt x="761" y="61"/>
                </a:lnTo>
                <a:lnTo>
                  <a:pt x="912" y="61"/>
                </a:lnTo>
                <a:lnTo>
                  <a:pt x="912" y="30"/>
                </a:lnTo>
                <a:lnTo>
                  <a:pt x="761" y="30"/>
                </a:lnTo>
                <a:lnTo>
                  <a:pt x="761" y="0"/>
                </a:lnTo>
                <a:lnTo>
                  <a:pt x="670" y="0"/>
                </a:lnTo>
                <a:lnTo>
                  <a:pt x="670" y="30"/>
                </a:lnTo>
                <a:lnTo>
                  <a:pt x="244" y="30"/>
                </a:lnTo>
                <a:lnTo>
                  <a:pt x="244" y="0"/>
                </a:lnTo>
                <a:lnTo>
                  <a:pt x="152" y="0"/>
                </a:lnTo>
                <a:lnTo>
                  <a:pt x="152" y="30"/>
                </a:lnTo>
                <a:lnTo>
                  <a:pt x="0" y="30"/>
                </a:lnTo>
                <a:lnTo>
                  <a:pt x="0" y="61"/>
                </a:lnTo>
                <a:lnTo>
                  <a:pt x="152" y="61"/>
                </a:lnTo>
                <a:lnTo>
                  <a:pt x="152" y="91"/>
                </a:lnTo>
                <a:lnTo>
                  <a:pt x="182" y="91"/>
                </a:lnTo>
                <a:lnTo>
                  <a:pt x="182" y="214"/>
                </a:lnTo>
                <a:lnTo>
                  <a:pt x="0" y="214"/>
                </a:lnTo>
                <a:lnTo>
                  <a:pt x="0" y="518"/>
                </a:lnTo>
                <a:lnTo>
                  <a:pt x="152" y="518"/>
                </a:lnTo>
                <a:lnTo>
                  <a:pt x="152" y="579"/>
                </a:lnTo>
                <a:lnTo>
                  <a:pt x="91" y="579"/>
                </a:lnTo>
                <a:lnTo>
                  <a:pt x="91" y="609"/>
                </a:lnTo>
                <a:lnTo>
                  <a:pt x="304" y="609"/>
                </a:lnTo>
                <a:lnTo>
                  <a:pt x="304" y="579"/>
                </a:lnTo>
                <a:lnTo>
                  <a:pt x="244" y="579"/>
                </a:lnTo>
                <a:lnTo>
                  <a:pt x="244" y="518"/>
                </a:lnTo>
                <a:lnTo>
                  <a:pt x="396" y="518"/>
                </a:lnTo>
                <a:lnTo>
                  <a:pt x="396" y="214"/>
                </a:lnTo>
                <a:lnTo>
                  <a:pt x="212" y="214"/>
                </a:lnTo>
                <a:lnTo>
                  <a:pt x="212" y="91"/>
                </a:lnTo>
                <a:lnTo>
                  <a:pt x="244" y="91"/>
                </a:lnTo>
                <a:lnTo>
                  <a:pt x="244" y="61"/>
                </a:lnTo>
                <a:lnTo>
                  <a:pt x="670" y="61"/>
                </a:lnTo>
                <a:lnTo>
                  <a:pt x="670" y="91"/>
                </a:lnTo>
                <a:lnTo>
                  <a:pt x="700" y="91"/>
                </a:lnTo>
                <a:lnTo>
                  <a:pt x="700" y="214"/>
                </a:lnTo>
                <a:lnTo>
                  <a:pt x="517" y="214"/>
                </a:lnTo>
                <a:lnTo>
                  <a:pt x="517" y="518"/>
                </a:lnTo>
                <a:lnTo>
                  <a:pt x="670" y="518"/>
                </a:lnTo>
                <a:lnTo>
                  <a:pt x="670" y="579"/>
                </a:lnTo>
                <a:lnTo>
                  <a:pt x="608" y="579"/>
                </a:lnTo>
                <a:lnTo>
                  <a:pt x="608" y="609"/>
                </a:lnTo>
                <a:lnTo>
                  <a:pt x="821" y="609"/>
                </a:lnTo>
                <a:lnTo>
                  <a:pt x="821" y="579"/>
                </a:lnTo>
                <a:lnTo>
                  <a:pt x="761" y="579"/>
                </a:lnTo>
                <a:lnTo>
                  <a:pt x="761" y="518"/>
                </a:lnTo>
                <a:lnTo>
                  <a:pt x="912" y="518"/>
                </a:lnTo>
                <a:lnTo>
                  <a:pt x="912" y="214"/>
                </a:lnTo>
                <a:lnTo>
                  <a:pt x="730" y="214"/>
                </a:lnTo>
                <a:lnTo>
                  <a:pt x="730" y="91"/>
                </a:lnTo>
                <a:lnTo>
                  <a:pt x="761" y="91"/>
                </a:lnTo>
                <a:close/>
                <a:moveTo>
                  <a:pt x="335" y="456"/>
                </a:moveTo>
                <a:lnTo>
                  <a:pt x="61" y="456"/>
                </a:lnTo>
                <a:lnTo>
                  <a:pt x="61" y="274"/>
                </a:lnTo>
                <a:lnTo>
                  <a:pt x="335" y="274"/>
                </a:lnTo>
                <a:lnTo>
                  <a:pt x="335" y="456"/>
                </a:lnTo>
                <a:close/>
                <a:moveTo>
                  <a:pt x="852" y="456"/>
                </a:moveTo>
                <a:lnTo>
                  <a:pt x="578" y="456"/>
                </a:lnTo>
                <a:lnTo>
                  <a:pt x="578" y="274"/>
                </a:lnTo>
                <a:lnTo>
                  <a:pt x="852" y="274"/>
                </a:lnTo>
                <a:lnTo>
                  <a:pt x="852" y="45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cxnSp>
        <p:nvCxnSpPr>
          <p:cNvPr id="1009" name="Прямая со стрелкой 1008"/>
          <p:cNvCxnSpPr/>
          <p:nvPr/>
        </p:nvCxnSpPr>
        <p:spPr>
          <a:xfrm flipH="1">
            <a:off x="2751027" y="3889719"/>
            <a:ext cx="659561" cy="0"/>
          </a:xfrm>
          <a:prstGeom prst="straightConnector1">
            <a:avLst/>
          </a:prstGeom>
          <a:ln w="9525">
            <a:solidFill>
              <a:srgbClr val="FF9933"/>
            </a:solidFill>
            <a:prstDash val="lg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4" name="Прямая соединительная линия 138"/>
          <p:cNvCxnSpPr/>
          <p:nvPr/>
        </p:nvCxnSpPr>
        <p:spPr>
          <a:xfrm>
            <a:off x="1946838" y="1672101"/>
            <a:ext cx="157566" cy="245914"/>
          </a:xfrm>
          <a:prstGeom prst="bentConnector2">
            <a:avLst/>
          </a:prstGeom>
          <a:ln w="9525">
            <a:solidFill>
              <a:schemeClr val="accent6"/>
            </a:solidFill>
            <a:prstDash val="lgDash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7" name="Picture 2" descr="\\gazprom-neft.local\dfs\Газпром нефть\Папки пользователей\Личные папки\Driker.AA\Desktop\Инфографика\С заливкой\Транспорт\ж_д_цистерна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3561" y="1189419"/>
            <a:ext cx="354921" cy="2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8" name="Picture 2" descr="\\gazprom-neft.local\dfs\Газпром нефть\Папки пользователей\Личные папки\Driker.AA\Desktop\Инфографика\С заливкой\Транспорт\ж_д_цистерна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8824" y="1189419"/>
            <a:ext cx="354921" cy="2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9" name="Picture 2" descr="\\gazprom-neft.local\dfs\Газпром нефть\Папки пользователей\Личные папки\Driker.AA\Desktop\Инфографика\С заливкой\Транспорт\ж_д_цистерна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2402" y="1189419"/>
            <a:ext cx="354921" cy="2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80" name="knot_z"/>
          <p:cNvGrpSpPr>
            <a:grpSpLocks noChangeAspect="1"/>
          </p:cNvGrpSpPr>
          <p:nvPr/>
        </p:nvGrpSpPr>
        <p:grpSpPr>
          <a:xfrm rot="5400000">
            <a:off x="2294868" y="1620442"/>
            <a:ext cx="168450" cy="118746"/>
            <a:chOff x="5645151" y="4616451"/>
            <a:chExt cx="854075" cy="681038"/>
          </a:xfrm>
        </p:grpSpPr>
        <p:sp>
          <p:nvSpPr>
            <p:cNvPr id="881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2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3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4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5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6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7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8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89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0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1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2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3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4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5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6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7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8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99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0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1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902" name="knot_z"/>
          <p:cNvGrpSpPr>
            <a:grpSpLocks noChangeAspect="1"/>
          </p:cNvGrpSpPr>
          <p:nvPr/>
        </p:nvGrpSpPr>
        <p:grpSpPr>
          <a:xfrm rot="5400000">
            <a:off x="2740934" y="1631271"/>
            <a:ext cx="168450" cy="118746"/>
            <a:chOff x="5645151" y="4616451"/>
            <a:chExt cx="854075" cy="681038"/>
          </a:xfrm>
        </p:grpSpPr>
        <p:sp>
          <p:nvSpPr>
            <p:cNvPr id="903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4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5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6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7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8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09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0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1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2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3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4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5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6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7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8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19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0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1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2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3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924" name="knot_z"/>
          <p:cNvGrpSpPr>
            <a:grpSpLocks noChangeAspect="1"/>
          </p:cNvGrpSpPr>
          <p:nvPr/>
        </p:nvGrpSpPr>
        <p:grpSpPr>
          <a:xfrm rot="5400000">
            <a:off x="3205206" y="1620285"/>
            <a:ext cx="168450" cy="118746"/>
            <a:chOff x="5645151" y="4616451"/>
            <a:chExt cx="854075" cy="681038"/>
          </a:xfrm>
        </p:grpSpPr>
        <p:sp>
          <p:nvSpPr>
            <p:cNvPr id="925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6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7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8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29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0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1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2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3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4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5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6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7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8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39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0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1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2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3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4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45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946" name="Прямая соединительная линия 138"/>
          <p:cNvCxnSpPr/>
          <p:nvPr/>
        </p:nvCxnSpPr>
        <p:spPr>
          <a:xfrm rot="16200000" flipH="1">
            <a:off x="2851366" y="1728548"/>
            <a:ext cx="234346" cy="173031"/>
          </a:xfrm>
          <a:prstGeom prst="bentConnector3">
            <a:avLst>
              <a:gd name="adj1" fmla="val -1803"/>
            </a:avLst>
          </a:prstGeom>
          <a:ln w="9525">
            <a:solidFill>
              <a:schemeClr val="accent6"/>
            </a:solidFill>
            <a:prstDash val="lgDash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7" name="knot_z"/>
          <p:cNvGrpSpPr>
            <a:grpSpLocks noChangeAspect="1"/>
          </p:cNvGrpSpPr>
          <p:nvPr/>
        </p:nvGrpSpPr>
        <p:grpSpPr>
          <a:xfrm>
            <a:off x="2131360" y="1755144"/>
            <a:ext cx="433091" cy="140057"/>
            <a:chOff x="5658028" y="5019676"/>
            <a:chExt cx="836436" cy="273050"/>
          </a:xfrm>
        </p:grpSpPr>
        <p:sp>
          <p:nvSpPr>
            <p:cNvPr id="948" name="Rectangle 231"/>
            <p:cNvSpPr>
              <a:spLocks noChangeArrowheads="1"/>
            </p:cNvSpPr>
            <p:nvPr/>
          </p:nvSpPr>
          <p:spPr bwMode="auto">
            <a:xfrm>
              <a:off x="5686424" y="5089527"/>
              <a:ext cx="771526" cy="126614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ru-RU" sz="300" dirty="0"/>
                <a:t>АИ </a:t>
              </a:r>
              <a:r>
                <a:rPr lang="en-US" sz="300" dirty="0"/>
                <a:t>9</a:t>
              </a:r>
              <a:r>
                <a:rPr lang="ru-RU" sz="300" dirty="0"/>
                <a:t>2</a:t>
              </a:r>
              <a:r>
                <a:rPr lang="ru-RU" sz="300" dirty="0">
                  <a:sym typeface="Wingdings" panose="05000000000000000000" pitchFamily="2" charset="2"/>
                </a:rPr>
                <a:t> в РВС</a:t>
              </a:r>
              <a:endParaRPr lang="ru-RU" sz="300" dirty="0"/>
            </a:p>
          </p:txBody>
        </p:sp>
        <p:sp>
          <p:nvSpPr>
            <p:cNvPr id="949" name="Rectangle 234"/>
            <p:cNvSpPr>
              <a:spLocks noChangeArrowheads="1"/>
            </p:cNvSpPr>
            <p:nvPr/>
          </p:nvSpPr>
          <p:spPr bwMode="auto">
            <a:xfrm>
              <a:off x="5658028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50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951" name="knot_z"/>
          <p:cNvGrpSpPr>
            <a:grpSpLocks noChangeAspect="1"/>
          </p:cNvGrpSpPr>
          <p:nvPr/>
        </p:nvGrpSpPr>
        <p:grpSpPr>
          <a:xfrm>
            <a:off x="2620735" y="1755054"/>
            <a:ext cx="404254" cy="140057"/>
            <a:chOff x="5649913" y="5019676"/>
            <a:chExt cx="836436" cy="273050"/>
          </a:xfrm>
        </p:grpSpPr>
        <p:sp>
          <p:nvSpPr>
            <p:cNvPr id="952" name="Rectangle 231"/>
            <p:cNvSpPr>
              <a:spLocks noChangeArrowheads="1"/>
            </p:cNvSpPr>
            <p:nvPr/>
          </p:nvSpPr>
          <p:spPr bwMode="auto">
            <a:xfrm>
              <a:off x="5678311" y="5089527"/>
              <a:ext cx="771526" cy="126615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ru-RU" sz="300" dirty="0"/>
                <a:t>АИ </a:t>
              </a:r>
              <a:r>
                <a:rPr lang="en-US" sz="300" dirty="0"/>
                <a:t>95</a:t>
              </a:r>
              <a:r>
                <a:rPr lang="ru-RU" sz="300" dirty="0">
                  <a:sym typeface="Wingdings" panose="05000000000000000000" pitchFamily="2" charset="2"/>
                </a:rPr>
                <a:t> в РВС</a:t>
              </a:r>
              <a:endParaRPr lang="ru-RU" sz="300" dirty="0"/>
            </a:p>
          </p:txBody>
        </p:sp>
        <p:sp>
          <p:nvSpPr>
            <p:cNvPr id="953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54" name="Rectangle 235"/>
            <p:cNvSpPr>
              <a:spLocks noChangeArrowheads="1"/>
            </p:cNvSpPr>
            <p:nvPr/>
          </p:nvSpPr>
          <p:spPr bwMode="auto">
            <a:xfrm>
              <a:off x="6449836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955" name="Равнобедренный треугольник 954"/>
          <p:cNvSpPr/>
          <p:nvPr/>
        </p:nvSpPr>
        <p:spPr>
          <a:xfrm flipV="1">
            <a:off x="2258538" y="1648976"/>
            <a:ext cx="29550" cy="56700"/>
          </a:xfrm>
          <a:prstGeom prst="triangle">
            <a:avLst/>
          </a:prstGeom>
          <a:solidFill>
            <a:srgbClr val="FFFF0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56" name="Равнобедренный треугольник 955"/>
          <p:cNvSpPr/>
          <p:nvPr/>
        </p:nvSpPr>
        <p:spPr>
          <a:xfrm flipV="1">
            <a:off x="2716561" y="1648976"/>
            <a:ext cx="29550" cy="56700"/>
          </a:xfrm>
          <a:prstGeom prst="triangle">
            <a:avLst/>
          </a:prstGeom>
          <a:solidFill>
            <a:srgbClr val="00B05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57" name="TextBox 956"/>
          <p:cNvSpPr txBox="1"/>
          <p:nvPr/>
        </p:nvSpPr>
        <p:spPr>
          <a:xfrm>
            <a:off x="2269890" y="1221068"/>
            <a:ext cx="185948" cy="17312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525" dirty="0"/>
              <a:t>АИ 92</a:t>
            </a:r>
          </a:p>
        </p:txBody>
      </p:sp>
      <p:sp>
        <p:nvSpPr>
          <p:cNvPr id="958" name="TextBox 957"/>
          <p:cNvSpPr txBox="1"/>
          <p:nvPr/>
        </p:nvSpPr>
        <p:spPr>
          <a:xfrm>
            <a:off x="2723845" y="1221068"/>
            <a:ext cx="185948" cy="17312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525" dirty="0"/>
              <a:t>АИ 95</a:t>
            </a:r>
          </a:p>
        </p:txBody>
      </p:sp>
      <p:sp>
        <p:nvSpPr>
          <p:cNvPr id="959" name="TextBox 958"/>
          <p:cNvSpPr txBox="1"/>
          <p:nvPr/>
        </p:nvSpPr>
        <p:spPr>
          <a:xfrm>
            <a:off x="3109453" y="1221068"/>
            <a:ext cx="315792" cy="17312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525" dirty="0"/>
              <a:t>АИ 98/100</a:t>
            </a:r>
          </a:p>
        </p:txBody>
      </p:sp>
      <p:pic>
        <p:nvPicPr>
          <p:cNvPr id="960" name="Picture 2" descr="\\gazprom-neft.local\dfs\Газпром нефть\Папки пользователей\Личные папки\Driker.AA\Desktop\Инфографика\С заливкой\Транспорт\ж_д_цистерна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414" y="1186001"/>
            <a:ext cx="354921" cy="2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61" name="knot_z"/>
          <p:cNvGrpSpPr>
            <a:grpSpLocks noChangeAspect="1"/>
          </p:cNvGrpSpPr>
          <p:nvPr/>
        </p:nvGrpSpPr>
        <p:grpSpPr>
          <a:xfrm rot="5400000">
            <a:off x="1832724" y="1617025"/>
            <a:ext cx="168450" cy="118746"/>
            <a:chOff x="5645154" y="4616453"/>
            <a:chExt cx="854075" cy="681041"/>
          </a:xfrm>
        </p:grpSpPr>
        <p:sp>
          <p:nvSpPr>
            <p:cNvPr id="962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3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4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5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6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7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8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69" name="Rectangle 231"/>
            <p:cNvSpPr>
              <a:spLocks noChangeArrowheads="1"/>
            </p:cNvSpPr>
            <p:nvPr/>
          </p:nvSpPr>
          <p:spPr bwMode="auto">
            <a:xfrm>
              <a:off x="5919784" y="5089566"/>
              <a:ext cx="304800" cy="133351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0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1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2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3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4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5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6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7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8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79" name="Freeform 241"/>
            <p:cNvSpPr>
              <a:spLocks noEditPoints="1"/>
            </p:cNvSpPr>
            <p:nvPr/>
          </p:nvSpPr>
          <p:spPr bwMode="auto">
            <a:xfrm>
              <a:off x="5645154" y="4616453"/>
              <a:ext cx="854075" cy="681041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80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81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82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983" name="knot_z"/>
          <p:cNvGrpSpPr>
            <a:grpSpLocks noChangeAspect="1"/>
          </p:cNvGrpSpPr>
          <p:nvPr/>
        </p:nvGrpSpPr>
        <p:grpSpPr>
          <a:xfrm>
            <a:off x="1652669" y="1754919"/>
            <a:ext cx="421978" cy="140280"/>
            <a:chOff x="5563868" y="5019241"/>
            <a:chExt cx="930596" cy="273485"/>
          </a:xfrm>
        </p:grpSpPr>
        <p:sp>
          <p:nvSpPr>
            <p:cNvPr id="984" name="Rectangle 231"/>
            <p:cNvSpPr>
              <a:spLocks noChangeArrowheads="1"/>
            </p:cNvSpPr>
            <p:nvPr/>
          </p:nvSpPr>
          <p:spPr bwMode="auto">
            <a:xfrm>
              <a:off x="5591229" y="5090909"/>
              <a:ext cx="874618" cy="12661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300" dirty="0">
                  <a:solidFill>
                    <a:schemeClr val="bg1"/>
                  </a:solidFill>
                </a:rPr>
                <a:t>ДТ</a:t>
              </a:r>
              <a:r>
                <a:rPr lang="ru-RU" sz="300" dirty="0">
                  <a:solidFill>
                    <a:schemeClr val="bg1"/>
                  </a:solidFill>
                  <a:sym typeface="Wingdings" panose="05000000000000000000" pitchFamily="2" charset="2"/>
                </a:rPr>
                <a:t> в РВС</a:t>
              </a:r>
              <a:endParaRPr lang="ru-RU" sz="300" dirty="0">
                <a:solidFill>
                  <a:schemeClr val="bg1"/>
                </a:solidFill>
              </a:endParaRPr>
            </a:p>
          </p:txBody>
        </p:sp>
        <p:sp>
          <p:nvSpPr>
            <p:cNvPr id="985" name="Rectangle 234"/>
            <p:cNvSpPr>
              <a:spLocks noChangeArrowheads="1"/>
            </p:cNvSpPr>
            <p:nvPr/>
          </p:nvSpPr>
          <p:spPr bwMode="auto">
            <a:xfrm>
              <a:off x="5563868" y="5019241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86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987" name="Равнобедренный треугольник 986"/>
          <p:cNvSpPr/>
          <p:nvPr/>
        </p:nvSpPr>
        <p:spPr>
          <a:xfrm flipV="1">
            <a:off x="1802539" y="1777047"/>
            <a:ext cx="29550" cy="56700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88" name="TextBox 987"/>
          <p:cNvSpPr txBox="1"/>
          <p:nvPr/>
        </p:nvSpPr>
        <p:spPr>
          <a:xfrm>
            <a:off x="1853877" y="1217650"/>
            <a:ext cx="86562" cy="17312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525" dirty="0"/>
              <a:t>ДТ</a:t>
            </a:r>
          </a:p>
        </p:txBody>
      </p:sp>
      <p:cxnSp>
        <p:nvCxnSpPr>
          <p:cNvPr id="989" name="Прямая соединительная линия 138"/>
          <p:cNvCxnSpPr>
            <a:stCxn id="896" idx="0"/>
          </p:cNvCxnSpPr>
          <p:nvPr/>
        </p:nvCxnSpPr>
        <p:spPr>
          <a:xfrm>
            <a:off x="2432930" y="1679816"/>
            <a:ext cx="157566" cy="245914"/>
          </a:xfrm>
          <a:prstGeom prst="bentConnector2">
            <a:avLst/>
          </a:prstGeom>
          <a:ln w="9525">
            <a:solidFill>
              <a:schemeClr val="accent6"/>
            </a:solidFill>
            <a:prstDash val="lgDash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0" name="knot_z"/>
          <p:cNvGrpSpPr>
            <a:grpSpLocks noChangeAspect="1"/>
          </p:cNvGrpSpPr>
          <p:nvPr/>
        </p:nvGrpSpPr>
        <p:grpSpPr>
          <a:xfrm>
            <a:off x="3089126" y="1756681"/>
            <a:ext cx="404254" cy="140057"/>
            <a:chOff x="5649913" y="5019676"/>
            <a:chExt cx="836436" cy="273050"/>
          </a:xfrm>
        </p:grpSpPr>
        <p:sp>
          <p:nvSpPr>
            <p:cNvPr id="991" name="Rectangle 231"/>
            <p:cNvSpPr>
              <a:spLocks noChangeArrowheads="1"/>
            </p:cNvSpPr>
            <p:nvPr/>
          </p:nvSpPr>
          <p:spPr bwMode="auto">
            <a:xfrm>
              <a:off x="5678311" y="5089527"/>
              <a:ext cx="771526" cy="126615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ru-RU" sz="300" dirty="0"/>
                <a:t>АИ </a:t>
              </a:r>
              <a:r>
                <a:rPr lang="en-US" sz="300" dirty="0"/>
                <a:t>9</a:t>
              </a:r>
              <a:r>
                <a:rPr lang="ru-RU" sz="300" dirty="0"/>
                <a:t>8</a:t>
              </a:r>
              <a:r>
                <a:rPr lang="ru-RU" sz="300" dirty="0">
                  <a:sym typeface="Wingdings" panose="05000000000000000000" pitchFamily="2" charset="2"/>
                </a:rPr>
                <a:t> в РВС</a:t>
              </a:r>
              <a:endParaRPr lang="ru-RU" sz="300" dirty="0"/>
            </a:p>
          </p:txBody>
        </p:sp>
        <p:sp>
          <p:nvSpPr>
            <p:cNvPr id="992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993" name="Rectangle 235"/>
            <p:cNvSpPr>
              <a:spLocks noChangeArrowheads="1"/>
            </p:cNvSpPr>
            <p:nvPr/>
          </p:nvSpPr>
          <p:spPr bwMode="auto">
            <a:xfrm>
              <a:off x="6449836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994" name="Равнобедренный треугольник 993"/>
          <p:cNvSpPr/>
          <p:nvPr/>
        </p:nvSpPr>
        <p:spPr>
          <a:xfrm flipV="1">
            <a:off x="3157828" y="1654154"/>
            <a:ext cx="29550" cy="56700"/>
          </a:xfrm>
          <a:prstGeom prst="triangle">
            <a:avLst/>
          </a:prstGeom>
          <a:solidFill>
            <a:schemeClr val="accent6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95" name="Picture85"/>
          <p:cNvSpPr>
            <a:spLocks noChangeAspect="1" noEditPoints="1"/>
          </p:cNvSpPr>
          <p:nvPr/>
        </p:nvSpPr>
        <p:spPr bwMode="auto">
          <a:xfrm>
            <a:off x="3835377" y="1333435"/>
            <a:ext cx="211744" cy="141245"/>
          </a:xfrm>
          <a:custGeom>
            <a:avLst/>
            <a:gdLst>
              <a:gd name="T0" fmla="*/ 1190 w 1700"/>
              <a:gd name="T1" fmla="*/ 0 h 1134"/>
              <a:gd name="T2" fmla="*/ 1190 w 1700"/>
              <a:gd name="T3" fmla="*/ 1134 h 1134"/>
              <a:gd name="T4" fmla="*/ 1700 w 1700"/>
              <a:gd name="T5" fmla="*/ 1134 h 1134"/>
              <a:gd name="T6" fmla="*/ 1700 w 1700"/>
              <a:gd name="T7" fmla="*/ 0 h 1134"/>
              <a:gd name="T8" fmla="*/ 1190 w 1700"/>
              <a:gd name="T9" fmla="*/ 0 h 1134"/>
              <a:gd name="T10" fmla="*/ 1644 w 1700"/>
              <a:gd name="T11" fmla="*/ 738 h 1134"/>
              <a:gd name="T12" fmla="*/ 1588 w 1700"/>
              <a:gd name="T13" fmla="*/ 738 h 1134"/>
              <a:gd name="T14" fmla="*/ 1588 w 1700"/>
              <a:gd name="T15" fmla="*/ 680 h 1134"/>
              <a:gd name="T16" fmla="*/ 1644 w 1700"/>
              <a:gd name="T17" fmla="*/ 680 h 1134"/>
              <a:gd name="T18" fmla="*/ 1644 w 1700"/>
              <a:gd name="T19" fmla="*/ 738 h 1134"/>
              <a:gd name="T20" fmla="*/ 1644 w 1700"/>
              <a:gd name="T21" fmla="*/ 510 h 1134"/>
              <a:gd name="T22" fmla="*/ 1248 w 1700"/>
              <a:gd name="T23" fmla="*/ 510 h 1134"/>
              <a:gd name="T24" fmla="*/ 1248 w 1700"/>
              <a:gd name="T25" fmla="*/ 454 h 1134"/>
              <a:gd name="T26" fmla="*/ 1644 w 1700"/>
              <a:gd name="T27" fmla="*/ 454 h 1134"/>
              <a:gd name="T28" fmla="*/ 1644 w 1700"/>
              <a:gd name="T29" fmla="*/ 510 h 1134"/>
              <a:gd name="T30" fmla="*/ 1644 w 1700"/>
              <a:gd name="T31" fmla="*/ 340 h 1134"/>
              <a:gd name="T32" fmla="*/ 1248 w 1700"/>
              <a:gd name="T33" fmla="*/ 340 h 1134"/>
              <a:gd name="T34" fmla="*/ 1248 w 1700"/>
              <a:gd name="T35" fmla="*/ 284 h 1134"/>
              <a:gd name="T36" fmla="*/ 1644 w 1700"/>
              <a:gd name="T37" fmla="*/ 284 h 1134"/>
              <a:gd name="T38" fmla="*/ 1644 w 1700"/>
              <a:gd name="T39" fmla="*/ 340 h 1134"/>
              <a:gd name="T40" fmla="*/ 1644 w 1700"/>
              <a:gd name="T41" fmla="*/ 170 h 1134"/>
              <a:gd name="T42" fmla="*/ 1248 w 1700"/>
              <a:gd name="T43" fmla="*/ 170 h 1134"/>
              <a:gd name="T44" fmla="*/ 1248 w 1700"/>
              <a:gd name="T45" fmla="*/ 114 h 1134"/>
              <a:gd name="T46" fmla="*/ 1644 w 1700"/>
              <a:gd name="T47" fmla="*/ 114 h 1134"/>
              <a:gd name="T48" fmla="*/ 1644 w 1700"/>
              <a:gd name="T49" fmla="*/ 170 h 1134"/>
              <a:gd name="T50" fmla="*/ 0 w 1700"/>
              <a:gd name="T51" fmla="*/ 964 h 1134"/>
              <a:gd name="T52" fmla="*/ 396 w 1700"/>
              <a:gd name="T53" fmla="*/ 964 h 1134"/>
              <a:gd name="T54" fmla="*/ 396 w 1700"/>
              <a:gd name="T55" fmla="*/ 1078 h 1134"/>
              <a:gd name="T56" fmla="*/ 284 w 1700"/>
              <a:gd name="T57" fmla="*/ 1078 h 1134"/>
              <a:gd name="T58" fmla="*/ 284 w 1700"/>
              <a:gd name="T59" fmla="*/ 1134 h 1134"/>
              <a:gd name="T60" fmla="*/ 794 w 1700"/>
              <a:gd name="T61" fmla="*/ 1134 h 1134"/>
              <a:gd name="T62" fmla="*/ 794 w 1700"/>
              <a:gd name="T63" fmla="*/ 1078 h 1134"/>
              <a:gd name="T64" fmla="*/ 680 w 1700"/>
              <a:gd name="T65" fmla="*/ 1078 h 1134"/>
              <a:gd name="T66" fmla="*/ 680 w 1700"/>
              <a:gd name="T67" fmla="*/ 964 h 1134"/>
              <a:gd name="T68" fmla="*/ 1078 w 1700"/>
              <a:gd name="T69" fmla="*/ 964 h 1134"/>
              <a:gd name="T70" fmla="*/ 1078 w 1700"/>
              <a:gd name="T71" fmla="*/ 170 h 1134"/>
              <a:gd name="T72" fmla="*/ 0 w 1700"/>
              <a:gd name="T73" fmla="*/ 170 h 1134"/>
              <a:gd name="T74" fmla="*/ 0 w 1700"/>
              <a:gd name="T75" fmla="*/ 964 h 1134"/>
              <a:gd name="T76" fmla="*/ 964 w 1700"/>
              <a:gd name="T77" fmla="*/ 908 h 1134"/>
              <a:gd name="T78" fmla="*/ 908 w 1700"/>
              <a:gd name="T79" fmla="*/ 908 h 1134"/>
              <a:gd name="T80" fmla="*/ 908 w 1700"/>
              <a:gd name="T81" fmla="*/ 850 h 1134"/>
              <a:gd name="T82" fmla="*/ 964 w 1700"/>
              <a:gd name="T83" fmla="*/ 850 h 1134"/>
              <a:gd name="T84" fmla="*/ 964 w 1700"/>
              <a:gd name="T85" fmla="*/ 908 h 1134"/>
              <a:gd name="T86" fmla="*/ 114 w 1700"/>
              <a:gd name="T87" fmla="*/ 284 h 1134"/>
              <a:gd name="T88" fmla="*/ 964 w 1700"/>
              <a:gd name="T89" fmla="*/ 284 h 1134"/>
              <a:gd name="T90" fmla="*/ 964 w 1700"/>
              <a:gd name="T91" fmla="*/ 794 h 1134"/>
              <a:gd name="T92" fmla="*/ 114 w 1700"/>
              <a:gd name="T93" fmla="*/ 794 h 1134"/>
              <a:gd name="T94" fmla="*/ 114 w 1700"/>
              <a:gd name="T95" fmla="*/ 284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00" h="1134">
                <a:moveTo>
                  <a:pt x="1190" y="0"/>
                </a:moveTo>
                <a:lnTo>
                  <a:pt x="1190" y="1134"/>
                </a:lnTo>
                <a:lnTo>
                  <a:pt x="1700" y="1134"/>
                </a:lnTo>
                <a:lnTo>
                  <a:pt x="1700" y="0"/>
                </a:lnTo>
                <a:lnTo>
                  <a:pt x="1190" y="0"/>
                </a:lnTo>
                <a:close/>
                <a:moveTo>
                  <a:pt x="1644" y="738"/>
                </a:moveTo>
                <a:lnTo>
                  <a:pt x="1588" y="738"/>
                </a:lnTo>
                <a:lnTo>
                  <a:pt x="1588" y="680"/>
                </a:lnTo>
                <a:lnTo>
                  <a:pt x="1644" y="680"/>
                </a:lnTo>
                <a:lnTo>
                  <a:pt x="1644" y="738"/>
                </a:lnTo>
                <a:close/>
                <a:moveTo>
                  <a:pt x="1644" y="510"/>
                </a:moveTo>
                <a:lnTo>
                  <a:pt x="1248" y="510"/>
                </a:lnTo>
                <a:lnTo>
                  <a:pt x="1248" y="454"/>
                </a:lnTo>
                <a:lnTo>
                  <a:pt x="1644" y="454"/>
                </a:lnTo>
                <a:lnTo>
                  <a:pt x="1644" y="510"/>
                </a:lnTo>
                <a:close/>
                <a:moveTo>
                  <a:pt x="1644" y="340"/>
                </a:moveTo>
                <a:lnTo>
                  <a:pt x="1248" y="340"/>
                </a:lnTo>
                <a:lnTo>
                  <a:pt x="1248" y="284"/>
                </a:lnTo>
                <a:lnTo>
                  <a:pt x="1644" y="284"/>
                </a:lnTo>
                <a:lnTo>
                  <a:pt x="1644" y="340"/>
                </a:lnTo>
                <a:close/>
                <a:moveTo>
                  <a:pt x="1644" y="170"/>
                </a:moveTo>
                <a:lnTo>
                  <a:pt x="1248" y="170"/>
                </a:lnTo>
                <a:lnTo>
                  <a:pt x="1248" y="114"/>
                </a:lnTo>
                <a:lnTo>
                  <a:pt x="1644" y="114"/>
                </a:lnTo>
                <a:lnTo>
                  <a:pt x="1644" y="170"/>
                </a:lnTo>
                <a:close/>
                <a:moveTo>
                  <a:pt x="0" y="964"/>
                </a:moveTo>
                <a:lnTo>
                  <a:pt x="396" y="964"/>
                </a:lnTo>
                <a:lnTo>
                  <a:pt x="396" y="1078"/>
                </a:lnTo>
                <a:lnTo>
                  <a:pt x="284" y="1078"/>
                </a:lnTo>
                <a:lnTo>
                  <a:pt x="284" y="1134"/>
                </a:lnTo>
                <a:lnTo>
                  <a:pt x="794" y="1134"/>
                </a:lnTo>
                <a:lnTo>
                  <a:pt x="794" y="1078"/>
                </a:lnTo>
                <a:lnTo>
                  <a:pt x="680" y="1078"/>
                </a:lnTo>
                <a:lnTo>
                  <a:pt x="680" y="964"/>
                </a:lnTo>
                <a:lnTo>
                  <a:pt x="1078" y="964"/>
                </a:lnTo>
                <a:lnTo>
                  <a:pt x="1078" y="170"/>
                </a:lnTo>
                <a:lnTo>
                  <a:pt x="0" y="170"/>
                </a:lnTo>
                <a:lnTo>
                  <a:pt x="0" y="964"/>
                </a:lnTo>
                <a:close/>
                <a:moveTo>
                  <a:pt x="964" y="908"/>
                </a:moveTo>
                <a:lnTo>
                  <a:pt x="908" y="908"/>
                </a:lnTo>
                <a:lnTo>
                  <a:pt x="908" y="850"/>
                </a:lnTo>
                <a:lnTo>
                  <a:pt x="964" y="850"/>
                </a:lnTo>
                <a:lnTo>
                  <a:pt x="964" y="908"/>
                </a:lnTo>
                <a:close/>
                <a:moveTo>
                  <a:pt x="114" y="284"/>
                </a:moveTo>
                <a:lnTo>
                  <a:pt x="964" y="284"/>
                </a:lnTo>
                <a:lnTo>
                  <a:pt x="964" y="794"/>
                </a:lnTo>
                <a:lnTo>
                  <a:pt x="114" y="794"/>
                </a:lnTo>
                <a:lnTo>
                  <a:pt x="114" y="2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sp>
        <p:nvSpPr>
          <p:cNvPr id="996" name="Прямоугольник 995"/>
          <p:cNvSpPr/>
          <p:nvPr/>
        </p:nvSpPr>
        <p:spPr>
          <a:xfrm>
            <a:off x="3624809" y="1490763"/>
            <a:ext cx="659159" cy="276999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600" dirty="0">
                <a:solidFill>
                  <a:schemeClr val="accent3"/>
                </a:solidFill>
              </a:rPr>
              <a:t>Локальная </a:t>
            </a:r>
            <a:r>
              <a:rPr lang="ru-RU" sz="600" dirty="0" smtClean="0">
                <a:solidFill>
                  <a:schemeClr val="accent3"/>
                </a:solidFill>
              </a:rPr>
              <a:t>АСУТП</a:t>
            </a:r>
            <a:endParaRPr lang="ru-RU" sz="600" dirty="0">
              <a:solidFill>
                <a:schemeClr val="accent3"/>
              </a:solidFill>
            </a:endParaRPr>
          </a:p>
        </p:txBody>
      </p:sp>
      <p:cxnSp>
        <p:nvCxnSpPr>
          <p:cNvPr id="997" name="Прямая соединительная линия 996"/>
          <p:cNvCxnSpPr/>
          <p:nvPr/>
        </p:nvCxnSpPr>
        <p:spPr>
          <a:xfrm>
            <a:off x="1698456" y="1426143"/>
            <a:ext cx="17999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8" name="arrow2_3_line"/>
          <p:cNvSpPr>
            <a:spLocks noChangeShapeType="1"/>
          </p:cNvSpPr>
          <p:nvPr/>
        </p:nvSpPr>
        <p:spPr bwMode="auto">
          <a:xfrm rot="5400000">
            <a:off x="1789470" y="1488523"/>
            <a:ext cx="18900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anchor="ctr"/>
          <a:lstStyle/>
          <a:p>
            <a:endParaRPr lang="ru-RU" sz="1350" dirty="0">
              <a:latin typeface="Arial" pitchFamily="34" charset="0"/>
            </a:endParaRPr>
          </a:p>
        </p:txBody>
      </p:sp>
      <p:sp>
        <p:nvSpPr>
          <p:cNvPr id="999" name="arrow2_3_line"/>
          <p:cNvSpPr>
            <a:spLocks noChangeShapeType="1"/>
          </p:cNvSpPr>
          <p:nvPr/>
        </p:nvSpPr>
        <p:spPr bwMode="auto">
          <a:xfrm rot="5400000">
            <a:off x="2249855" y="1488805"/>
            <a:ext cx="18900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anchor="ctr"/>
          <a:lstStyle/>
          <a:p>
            <a:endParaRPr lang="ru-RU" sz="1350" dirty="0">
              <a:latin typeface="Arial" pitchFamily="34" charset="0"/>
            </a:endParaRPr>
          </a:p>
        </p:txBody>
      </p:sp>
      <p:sp>
        <p:nvSpPr>
          <p:cNvPr id="1000" name="arrow2_3_line"/>
          <p:cNvSpPr>
            <a:spLocks noChangeShapeType="1"/>
          </p:cNvSpPr>
          <p:nvPr/>
        </p:nvSpPr>
        <p:spPr bwMode="auto">
          <a:xfrm rot="5400000">
            <a:off x="2694418" y="1498725"/>
            <a:ext cx="18900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anchor="ctr"/>
          <a:lstStyle/>
          <a:p>
            <a:endParaRPr lang="ru-RU" sz="1350" dirty="0">
              <a:latin typeface="Arial" pitchFamily="34" charset="0"/>
            </a:endParaRPr>
          </a:p>
        </p:txBody>
      </p:sp>
      <p:sp>
        <p:nvSpPr>
          <p:cNvPr id="1001" name="arrow2_3_line"/>
          <p:cNvSpPr>
            <a:spLocks noChangeShapeType="1"/>
          </p:cNvSpPr>
          <p:nvPr/>
        </p:nvSpPr>
        <p:spPr bwMode="auto">
          <a:xfrm rot="5400000">
            <a:off x="3160335" y="1491941"/>
            <a:ext cx="18900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anchor="ctr"/>
          <a:lstStyle/>
          <a:p>
            <a:endParaRPr lang="ru-RU" sz="1350" dirty="0">
              <a:latin typeface="Arial" pitchFamily="34" charset="0"/>
            </a:endParaRPr>
          </a:p>
        </p:txBody>
      </p:sp>
      <p:cxnSp>
        <p:nvCxnSpPr>
          <p:cNvPr id="1020" name="Прямая соединительная линия 138"/>
          <p:cNvCxnSpPr/>
          <p:nvPr/>
        </p:nvCxnSpPr>
        <p:spPr>
          <a:xfrm rot="16200000" flipH="1">
            <a:off x="3321125" y="1713855"/>
            <a:ext cx="234346" cy="173031"/>
          </a:xfrm>
          <a:prstGeom prst="bentConnector3">
            <a:avLst>
              <a:gd name="adj1" fmla="val -1803"/>
            </a:avLst>
          </a:prstGeom>
          <a:ln w="9525">
            <a:solidFill>
              <a:schemeClr val="accent6"/>
            </a:solidFill>
            <a:prstDash val="lgDash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3" name="knot_z"/>
          <p:cNvGrpSpPr>
            <a:grpSpLocks noChangeAspect="1"/>
          </p:cNvGrpSpPr>
          <p:nvPr/>
        </p:nvGrpSpPr>
        <p:grpSpPr>
          <a:xfrm>
            <a:off x="1756988" y="3357751"/>
            <a:ext cx="146293" cy="125129"/>
            <a:chOff x="5645151" y="4616451"/>
            <a:chExt cx="854075" cy="681038"/>
          </a:xfrm>
        </p:grpSpPr>
        <p:sp>
          <p:nvSpPr>
            <p:cNvPr id="774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5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6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7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8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79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0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1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2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3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4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5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6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7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8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89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0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1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2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3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794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795" name="Блок-схема: ручное управление 794"/>
          <p:cNvSpPr/>
          <p:nvPr/>
        </p:nvSpPr>
        <p:spPr>
          <a:xfrm>
            <a:off x="2182196" y="3171508"/>
            <a:ext cx="46202" cy="33926"/>
          </a:xfrm>
          <a:prstGeom prst="flowChartManualOperation">
            <a:avLst/>
          </a:prstGeom>
          <a:solidFill>
            <a:srgbClr val="1595D3"/>
          </a:solidFill>
          <a:ln w="444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796" name="Прямая соединительная линия 795"/>
          <p:cNvCxnSpPr/>
          <p:nvPr/>
        </p:nvCxnSpPr>
        <p:spPr>
          <a:xfrm>
            <a:off x="2204994" y="3203535"/>
            <a:ext cx="0" cy="190351"/>
          </a:xfrm>
          <a:prstGeom prst="line">
            <a:avLst/>
          </a:prstGeom>
          <a:ln w="38100" cmpd="tri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7" name="Прямоугольник 796"/>
          <p:cNvSpPr/>
          <p:nvPr/>
        </p:nvSpPr>
        <p:spPr>
          <a:xfrm>
            <a:off x="1903280" y="3444886"/>
            <a:ext cx="120746" cy="23264"/>
          </a:xfrm>
          <a:prstGeom prst="rect">
            <a:avLst/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798" name="Прямоугольник 797"/>
          <p:cNvSpPr/>
          <p:nvPr/>
        </p:nvSpPr>
        <p:spPr>
          <a:xfrm rot="16200000">
            <a:off x="1869448" y="3222560"/>
            <a:ext cx="372631" cy="22236"/>
          </a:xfrm>
          <a:prstGeom prst="rect">
            <a:avLst/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799" name="Арка 798"/>
          <p:cNvSpPr/>
          <p:nvPr/>
        </p:nvSpPr>
        <p:spPr>
          <a:xfrm rot="5400000">
            <a:off x="1973083" y="3374738"/>
            <a:ext cx="97085" cy="90510"/>
          </a:xfrm>
          <a:prstGeom prst="blockArc">
            <a:avLst>
              <a:gd name="adj1" fmla="val 16168735"/>
              <a:gd name="adj2" fmla="val 0"/>
              <a:gd name="adj3" fmla="val 25000"/>
            </a:avLst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0" name="Арка 799"/>
          <p:cNvSpPr/>
          <p:nvPr/>
        </p:nvSpPr>
        <p:spPr>
          <a:xfrm rot="16200000">
            <a:off x="2041358" y="3004127"/>
            <a:ext cx="97085" cy="90510"/>
          </a:xfrm>
          <a:prstGeom prst="blockArc">
            <a:avLst>
              <a:gd name="adj1" fmla="val 16168735"/>
              <a:gd name="adj2" fmla="val 2814629"/>
              <a:gd name="adj3" fmla="val 24365"/>
            </a:avLst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1" name="Прямоугольник 800"/>
          <p:cNvSpPr/>
          <p:nvPr/>
        </p:nvSpPr>
        <p:spPr>
          <a:xfrm rot="13740000">
            <a:off x="2089624" y="3061503"/>
            <a:ext cx="133540" cy="21688"/>
          </a:xfrm>
          <a:prstGeom prst="rect">
            <a:avLst/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2" name="Арка 801"/>
          <p:cNvSpPr/>
          <p:nvPr/>
        </p:nvSpPr>
        <p:spPr>
          <a:xfrm rot="2923074">
            <a:off x="2122080" y="3101687"/>
            <a:ext cx="97085" cy="90510"/>
          </a:xfrm>
          <a:prstGeom prst="blockArc">
            <a:avLst>
              <a:gd name="adj1" fmla="val 16168735"/>
              <a:gd name="adj2" fmla="val 18847471"/>
              <a:gd name="adj3" fmla="val 23490"/>
            </a:avLst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3" name="Прямоугольник 802"/>
          <p:cNvSpPr/>
          <p:nvPr/>
        </p:nvSpPr>
        <p:spPr>
          <a:xfrm rot="16200000">
            <a:off x="2193626" y="3148715"/>
            <a:ext cx="23264" cy="21688"/>
          </a:xfrm>
          <a:prstGeom prst="rect">
            <a:avLst/>
          </a:prstGeom>
          <a:solidFill>
            <a:srgbClr val="FFFF00"/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05" name="Равнобедренный треугольник 804"/>
          <p:cNvSpPr/>
          <p:nvPr/>
        </p:nvSpPr>
        <p:spPr>
          <a:xfrm rot="16200000" flipV="1">
            <a:off x="1943262" y="3352732"/>
            <a:ext cx="31138" cy="49241"/>
          </a:xfrm>
          <a:prstGeom prst="triangle">
            <a:avLst/>
          </a:prstGeom>
          <a:solidFill>
            <a:srgbClr val="FFFF0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pic>
        <p:nvPicPr>
          <p:cNvPr id="806" name="Picture 11" descr="C:\Users\Driker.AA\Desktop\Инфографика\С заливкой\Транспорт\бензовоз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9057" y="3236690"/>
            <a:ext cx="258603" cy="281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7" name="Прямая соединительная линия 806"/>
          <p:cNvCxnSpPr/>
          <p:nvPr/>
        </p:nvCxnSpPr>
        <p:spPr>
          <a:xfrm>
            <a:off x="1716535" y="3516741"/>
            <a:ext cx="20804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8" name="Группа 807"/>
          <p:cNvGrpSpPr/>
          <p:nvPr/>
        </p:nvGrpSpPr>
        <p:grpSpPr>
          <a:xfrm flipH="1">
            <a:off x="3079884" y="3142028"/>
            <a:ext cx="680466" cy="376016"/>
            <a:chOff x="6338861" y="4426809"/>
            <a:chExt cx="1434460" cy="738976"/>
          </a:xfrm>
        </p:grpSpPr>
        <p:grpSp>
          <p:nvGrpSpPr>
            <p:cNvPr id="809" name="knot_z"/>
            <p:cNvGrpSpPr>
              <a:grpSpLocks noChangeAspect="1"/>
            </p:cNvGrpSpPr>
            <p:nvPr/>
          </p:nvGrpSpPr>
          <p:grpSpPr>
            <a:xfrm flipH="1">
              <a:off x="7398701" y="4850764"/>
              <a:ext cx="308393" cy="245913"/>
              <a:chOff x="5645151" y="4616451"/>
              <a:chExt cx="854075" cy="681038"/>
            </a:xfrm>
          </p:grpSpPr>
          <p:sp>
            <p:nvSpPr>
              <p:cNvPr id="820" name="Freeform 224"/>
              <p:cNvSpPr>
                <a:spLocks/>
              </p:cNvSpPr>
              <p:nvPr/>
            </p:nvSpPr>
            <p:spPr bwMode="auto">
              <a:xfrm>
                <a:off x="6373813" y="5005388"/>
                <a:ext cx="25400" cy="84138"/>
              </a:xfrm>
              <a:custGeom>
                <a:avLst/>
                <a:gdLst>
                  <a:gd name="T0" fmla="*/ 62 w 62"/>
                  <a:gd name="T1" fmla="*/ 213 h 213"/>
                  <a:gd name="T2" fmla="*/ 0 w 62"/>
                  <a:gd name="T3" fmla="*/ 213 h 213"/>
                  <a:gd name="T4" fmla="*/ 0 w 62"/>
                  <a:gd name="T5" fmla="*/ 0 h 213"/>
                  <a:gd name="T6" fmla="*/ 9 w 62"/>
                  <a:gd name="T7" fmla="*/ 3 h 213"/>
                  <a:gd name="T8" fmla="*/ 17 w 62"/>
                  <a:gd name="T9" fmla="*/ 6 h 213"/>
                  <a:gd name="T10" fmla="*/ 26 w 62"/>
                  <a:gd name="T11" fmla="*/ 6 h 213"/>
                  <a:gd name="T12" fmla="*/ 34 w 62"/>
                  <a:gd name="T13" fmla="*/ 7 h 213"/>
                  <a:gd name="T14" fmla="*/ 41 w 62"/>
                  <a:gd name="T15" fmla="*/ 6 h 213"/>
                  <a:gd name="T16" fmla="*/ 48 w 62"/>
                  <a:gd name="T17" fmla="*/ 4 h 213"/>
                  <a:gd name="T18" fmla="*/ 55 w 62"/>
                  <a:gd name="T19" fmla="*/ 3 h 213"/>
                  <a:gd name="T20" fmla="*/ 62 w 62"/>
                  <a:gd name="T21" fmla="*/ 0 h 213"/>
                  <a:gd name="T22" fmla="*/ 62 w 62"/>
                  <a:gd name="T23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213">
                    <a:moveTo>
                      <a:pt x="62" y="213"/>
                    </a:moveTo>
                    <a:lnTo>
                      <a:pt x="0" y="213"/>
                    </a:lnTo>
                    <a:lnTo>
                      <a:pt x="0" y="0"/>
                    </a:lnTo>
                    <a:lnTo>
                      <a:pt x="9" y="3"/>
                    </a:lnTo>
                    <a:lnTo>
                      <a:pt x="17" y="6"/>
                    </a:lnTo>
                    <a:lnTo>
                      <a:pt x="26" y="6"/>
                    </a:lnTo>
                    <a:lnTo>
                      <a:pt x="34" y="7"/>
                    </a:lnTo>
                    <a:lnTo>
                      <a:pt x="41" y="6"/>
                    </a:lnTo>
                    <a:lnTo>
                      <a:pt x="48" y="4"/>
                    </a:lnTo>
                    <a:lnTo>
                      <a:pt x="55" y="3"/>
                    </a:lnTo>
                    <a:lnTo>
                      <a:pt x="62" y="0"/>
                    </a:lnTo>
                    <a:lnTo>
                      <a:pt x="62" y="213"/>
                    </a:lnTo>
                    <a:close/>
                  </a:path>
                </a:pathLst>
              </a:cu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1" name="Freeform 225"/>
              <p:cNvSpPr>
                <a:spLocks/>
              </p:cNvSpPr>
              <p:nvPr/>
            </p:nvSpPr>
            <p:spPr bwMode="auto">
              <a:xfrm>
                <a:off x="6337301" y="4884738"/>
                <a:ext cx="100013" cy="101600"/>
              </a:xfrm>
              <a:custGeom>
                <a:avLst/>
                <a:gdLst>
                  <a:gd name="T0" fmla="*/ 114 w 253"/>
                  <a:gd name="T1" fmla="*/ 255 h 255"/>
                  <a:gd name="T2" fmla="*/ 89 w 253"/>
                  <a:gd name="T3" fmla="*/ 249 h 255"/>
                  <a:gd name="T4" fmla="*/ 65 w 253"/>
                  <a:gd name="T5" fmla="*/ 239 h 255"/>
                  <a:gd name="T6" fmla="*/ 45 w 253"/>
                  <a:gd name="T7" fmla="*/ 225 h 255"/>
                  <a:gd name="T8" fmla="*/ 28 w 253"/>
                  <a:gd name="T9" fmla="*/ 209 h 255"/>
                  <a:gd name="T10" fmla="*/ 15 w 253"/>
                  <a:gd name="T11" fmla="*/ 188 h 255"/>
                  <a:gd name="T12" fmla="*/ 4 w 253"/>
                  <a:gd name="T13" fmla="*/ 165 h 255"/>
                  <a:gd name="T14" fmla="*/ 0 w 253"/>
                  <a:gd name="T15" fmla="*/ 141 h 255"/>
                  <a:gd name="T16" fmla="*/ 0 w 253"/>
                  <a:gd name="T17" fmla="*/ 115 h 255"/>
                  <a:gd name="T18" fmla="*/ 4 w 253"/>
                  <a:gd name="T19" fmla="*/ 89 h 255"/>
                  <a:gd name="T20" fmla="*/ 15 w 253"/>
                  <a:gd name="T21" fmla="*/ 67 h 255"/>
                  <a:gd name="T22" fmla="*/ 28 w 253"/>
                  <a:gd name="T23" fmla="*/ 47 h 255"/>
                  <a:gd name="T24" fmla="*/ 45 w 253"/>
                  <a:gd name="T25" fmla="*/ 29 h 255"/>
                  <a:gd name="T26" fmla="*/ 65 w 253"/>
                  <a:gd name="T27" fmla="*/ 15 h 255"/>
                  <a:gd name="T28" fmla="*/ 89 w 253"/>
                  <a:gd name="T29" fmla="*/ 6 h 255"/>
                  <a:gd name="T30" fmla="*/ 114 w 253"/>
                  <a:gd name="T31" fmla="*/ 1 h 255"/>
                  <a:gd name="T32" fmla="*/ 139 w 253"/>
                  <a:gd name="T33" fmla="*/ 1 h 255"/>
                  <a:gd name="T34" fmla="*/ 164 w 253"/>
                  <a:gd name="T35" fmla="*/ 6 h 255"/>
                  <a:gd name="T36" fmla="*/ 188 w 253"/>
                  <a:gd name="T37" fmla="*/ 15 h 255"/>
                  <a:gd name="T38" fmla="*/ 208 w 253"/>
                  <a:gd name="T39" fmla="*/ 29 h 255"/>
                  <a:gd name="T40" fmla="*/ 225 w 253"/>
                  <a:gd name="T41" fmla="*/ 47 h 255"/>
                  <a:gd name="T42" fmla="*/ 238 w 253"/>
                  <a:gd name="T43" fmla="*/ 67 h 255"/>
                  <a:gd name="T44" fmla="*/ 247 w 253"/>
                  <a:gd name="T45" fmla="*/ 89 h 255"/>
                  <a:gd name="T46" fmla="*/ 253 w 253"/>
                  <a:gd name="T47" fmla="*/ 115 h 255"/>
                  <a:gd name="T48" fmla="*/ 253 w 253"/>
                  <a:gd name="T49" fmla="*/ 141 h 255"/>
                  <a:gd name="T50" fmla="*/ 247 w 253"/>
                  <a:gd name="T51" fmla="*/ 165 h 255"/>
                  <a:gd name="T52" fmla="*/ 238 w 253"/>
                  <a:gd name="T53" fmla="*/ 188 h 255"/>
                  <a:gd name="T54" fmla="*/ 225 w 253"/>
                  <a:gd name="T55" fmla="*/ 209 h 255"/>
                  <a:gd name="T56" fmla="*/ 208 w 253"/>
                  <a:gd name="T57" fmla="*/ 225 h 255"/>
                  <a:gd name="T58" fmla="*/ 188 w 253"/>
                  <a:gd name="T59" fmla="*/ 239 h 255"/>
                  <a:gd name="T60" fmla="*/ 164 w 253"/>
                  <a:gd name="T61" fmla="*/ 249 h 255"/>
                  <a:gd name="T62" fmla="*/ 139 w 253"/>
                  <a:gd name="T63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3" h="255">
                    <a:moveTo>
                      <a:pt x="127" y="255"/>
                    </a:moveTo>
                    <a:lnTo>
                      <a:pt x="114" y="255"/>
                    </a:lnTo>
                    <a:lnTo>
                      <a:pt x="101" y="252"/>
                    </a:lnTo>
                    <a:lnTo>
                      <a:pt x="89" y="249"/>
                    </a:lnTo>
                    <a:lnTo>
                      <a:pt x="77" y="245"/>
                    </a:lnTo>
                    <a:lnTo>
                      <a:pt x="65" y="239"/>
                    </a:lnTo>
                    <a:lnTo>
                      <a:pt x="55" y="234"/>
                    </a:lnTo>
                    <a:lnTo>
                      <a:pt x="45" y="225"/>
                    </a:lnTo>
                    <a:lnTo>
                      <a:pt x="36" y="217"/>
                    </a:lnTo>
                    <a:lnTo>
                      <a:pt x="28" y="209"/>
                    </a:lnTo>
                    <a:lnTo>
                      <a:pt x="21" y="198"/>
                    </a:lnTo>
                    <a:lnTo>
                      <a:pt x="15" y="188"/>
                    </a:lnTo>
                    <a:lnTo>
                      <a:pt x="9" y="177"/>
                    </a:lnTo>
                    <a:lnTo>
                      <a:pt x="4" y="165"/>
                    </a:lnTo>
                    <a:lnTo>
                      <a:pt x="2" y="153"/>
                    </a:lnTo>
                    <a:lnTo>
                      <a:pt x="0" y="141"/>
                    </a:lnTo>
                    <a:lnTo>
                      <a:pt x="0" y="128"/>
                    </a:lnTo>
                    <a:lnTo>
                      <a:pt x="0" y="115"/>
                    </a:lnTo>
                    <a:lnTo>
                      <a:pt x="2" y="102"/>
                    </a:lnTo>
                    <a:lnTo>
                      <a:pt x="4" y="89"/>
                    </a:lnTo>
                    <a:lnTo>
                      <a:pt x="9" y="77"/>
                    </a:lnTo>
                    <a:lnTo>
                      <a:pt x="15" y="67"/>
                    </a:lnTo>
                    <a:lnTo>
                      <a:pt x="21" y="56"/>
                    </a:lnTo>
                    <a:lnTo>
                      <a:pt x="28" y="47"/>
                    </a:lnTo>
                    <a:lnTo>
                      <a:pt x="36" y="37"/>
                    </a:lnTo>
                    <a:lnTo>
                      <a:pt x="45" y="29"/>
                    </a:lnTo>
                    <a:lnTo>
                      <a:pt x="55" y="22"/>
                    </a:lnTo>
                    <a:lnTo>
                      <a:pt x="65" y="15"/>
                    </a:lnTo>
                    <a:lnTo>
                      <a:pt x="77" y="10"/>
                    </a:lnTo>
                    <a:lnTo>
                      <a:pt x="89" y="6"/>
                    </a:lnTo>
                    <a:lnTo>
                      <a:pt x="101" y="2"/>
                    </a:lnTo>
                    <a:lnTo>
                      <a:pt x="114" y="1"/>
                    </a:lnTo>
                    <a:lnTo>
                      <a:pt x="127" y="0"/>
                    </a:lnTo>
                    <a:lnTo>
                      <a:pt x="139" y="1"/>
                    </a:lnTo>
                    <a:lnTo>
                      <a:pt x="152" y="2"/>
                    </a:lnTo>
                    <a:lnTo>
                      <a:pt x="164" y="6"/>
                    </a:lnTo>
                    <a:lnTo>
                      <a:pt x="176" y="10"/>
                    </a:lnTo>
                    <a:lnTo>
                      <a:pt x="188" y="15"/>
                    </a:lnTo>
                    <a:lnTo>
                      <a:pt x="198" y="22"/>
                    </a:lnTo>
                    <a:lnTo>
                      <a:pt x="208" y="29"/>
                    </a:lnTo>
                    <a:lnTo>
                      <a:pt x="217" y="37"/>
                    </a:lnTo>
                    <a:lnTo>
                      <a:pt x="225" y="47"/>
                    </a:lnTo>
                    <a:lnTo>
                      <a:pt x="232" y="56"/>
                    </a:lnTo>
                    <a:lnTo>
                      <a:pt x="238" y="67"/>
                    </a:lnTo>
                    <a:lnTo>
                      <a:pt x="244" y="77"/>
                    </a:lnTo>
                    <a:lnTo>
                      <a:pt x="247" y="89"/>
                    </a:lnTo>
                    <a:lnTo>
                      <a:pt x="251" y="102"/>
                    </a:lnTo>
                    <a:lnTo>
                      <a:pt x="253" y="115"/>
                    </a:lnTo>
                    <a:lnTo>
                      <a:pt x="253" y="128"/>
                    </a:lnTo>
                    <a:lnTo>
                      <a:pt x="253" y="141"/>
                    </a:lnTo>
                    <a:lnTo>
                      <a:pt x="251" y="153"/>
                    </a:lnTo>
                    <a:lnTo>
                      <a:pt x="247" y="165"/>
                    </a:lnTo>
                    <a:lnTo>
                      <a:pt x="244" y="177"/>
                    </a:lnTo>
                    <a:lnTo>
                      <a:pt x="238" y="188"/>
                    </a:lnTo>
                    <a:lnTo>
                      <a:pt x="232" y="198"/>
                    </a:lnTo>
                    <a:lnTo>
                      <a:pt x="225" y="209"/>
                    </a:lnTo>
                    <a:lnTo>
                      <a:pt x="217" y="217"/>
                    </a:lnTo>
                    <a:lnTo>
                      <a:pt x="208" y="225"/>
                    </a:lnTo>
                    <a:lnTo>
                      <a:pt x="198" y="234"/>
                    </a:lnTo>
                    <a:lnTo>
                      <a:pt x="188" y="239"/>
                    </a:lnTo>
                    <a:lnTo>
                      <a:pt x="176" y="245"/>
                    </a:lnTo>
                    <a:lnTo>
                      <a:pt x="164" y="249"/>
                    </a:lnTo>
                    <a:lnTo>
                      <a:pt x="152" y="252"/>
                    </a:lnTo>
                    <a:lnTo>
                      <a:pt x="139" y="255"/>
                    </a:lnTo>
                    <a:lnTo>
                      <a:pt x="127" y="255"/>
                    </a:lnTo>
                    <a:close/>
                  </a:path>
                </a:pathLst>
              </a:cu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2" name="Freeform 226"/>
              <p:cNvSpPr>
                <a:spLocks noEditPoints="1"/>
              </p:cNvSpPr>
              <p:nvPr/>
            </p:nvSpPr>
            <p:spPr bwMode="auto">
              <a:xfrm>
                <a:off x="6316663" y="4865688"/>
                <a:ext cx="141288" cy="141288"/>
              </a:xfrm>
              <a:custGeom>
                <a:avLst/>
                <a:gdLst>
                  <a:gd name="T0" fmla="*/ 152 w 355"/>
                  <a:gd name="T1" fmla="*/ 303 h 356"/>
                  <a:gd name="T2" fmla="*/ 116 w 355"/>
                  <a:gd name="T3" fmla="*/ 290 h 356"/>
                  <a:gd name="T4" fmla="*/ 87 w 355"/>
                  <a:gd name="T5" fmla="*/ 268 h 356"/>
                  <a:gd name="T6" fmla="*/ 66 w 355"/>
                  <a:gd name="T7" fmla="*/ 239 h 356"/>
                  <a:gd name="T8" fmla="*/ 53 w 355"/>
                  <a:gd name="T9" fmla="*/ 204 h 356"/>
                  <a:gd name="T10" fmla="*/ 51 w 355"/>
                  <a:gd name="T11" fmla="*/ 166 h 356"/>
                  <a:gd name="T12" fmla="*/ 60 w 355"/>
                  <a:gd name="T13" fmla="*/ 128 h 356"/>
                  <a:gd name="T14" fmla="*/ 79 w 355"/>
                  <a:gd name="T15" fmla="*/ 98 h 356"/>
                  <a:gd name="T16" fmla="*/ 106 w 355"/>
                  <a:gd name="T17" fmla="*/ 73 h 356"/>
                  <a:gd name="T18" fmla="*/ 140 w 355"/>
                  <a:gd name="T19" fmla="*/ 57 h 356"/>
                  <a:gd name="T20" fmla="*/ 178 w 355"/>
                  <a:gd name="T21" fmla="*/ 51 h 356"/>
                  <a:gd name="T22" fmla="*/ 215 w 355"/>
                  <a:gd name="T23" fmla="*/ 57 h 356"/>
                  <a:gd name="T24" fmla="*/ 249 w 355"/>
                  <a:gd name="T25" fmla="*/ 73 h 356"/>
                  <a:gd name="T26" fmla="*/ 276 w 355"/>
                  <a:gd name="T27" fmla="*/ 98 h 356"/>
                  <a:gd name="T28" fmla="*/ 295 w 355"/>
                  <a:gd name="T29" fmla="*/ 128 h 356"/>
                  <a:gd name="T30" fmla="*/ 304 w 355"/>
                  <a:gd name="T31" fmla="*/ 166 h 356"/>
                  <a:gd name="T32" fmla="*/ 302 w 355"/>
                  <a:gd name="T33" fmla="*/ 204 h 356"/>
                  <a:gd name="T34" fmla="*/ 289 w 355"/>
                  <a:gd name="T35" fmla="*/ 239 h 356"/>
                  <a:gd name="T36" fmla="*/ 268 w 355"/>
                  <a:gd name="T37" fmla="*/ 268 h 356"/>
                  <a:gd name="T38" fmla="*/ 239 w 355"/>
                  <a:gd name="T39" fmla="*/ 290 h 356"/>
                  <a:gd name="T40" fmla="*/ 203 w 355"/>
                  <a:gd name="T41" fmla="*/ 303 h 356"/>
                  <a:gd name="T42" fmla="*/ 178 w 355"/>
                  <a:gd name="T43" fmla="*/ 0 h 356"/>
                  <a:gd name="T44" fmla="*/ 125 w 355"/>
                  <a:gd name="T45" fmla="*/ 9 h 356"/>
                  <a:gd name="T46" fmla="*/ 78 w 355"/>
                  <a:gd name="T47" fmla="*/ 31 h 356"/>
                  <a:gd name="T48" fmla="*/ 40 w 355"/>
                  <a:gd name="T49" fmla="*/ 65 h 356"/>
                  <a:gd name="T50" fmla="*/ 14 w 355"/>
                  <a:gd name="T51" fmla="*/ 110 h 356"/>
                  <a:gd name="T52" fmla="*/ 0 w 355"/>
                  <a:gd name="T53" fmla="*/ 160 h 356"/>
                  <a:gd name="T54" fmla="*/ 4 w 355"/>
                  <a:gd name="T55" fmla="*/ 214 h 356"/>
                  <a:gd name="T56" fmla="*/ 21 w 355"/>
                  <a:gd name="T57" fmla="*/ 263 h 356"/>
                  <a:gd name="T58" fmla="*/ 52 w 355"/>
                  <a:gd name="T59" fmla="*/ 303 h 356"/>
                  <a:gd name="T60" fmla="*/ 93 w 355"/>
                  <a:gd name="T61" fmla="*/ 335 h 356"/>
                  <a:gd name="T62" fmla="*/ 141 w 355"/>
                  <a:gd name="T63" fmla="*/ 353 h 356"/>
                  <a:gd name="T64" fmla="*/ 195 w 355"/>
                  <a:gd name="T65" fmla="*/ 355 h 356"/>
                  <a:gd name="T66" fmla="*/ 247 w 355"/>
                  <a:gd name="T67" fmla="*/ 342 h 356"/>
                  <a:gd name="T68" fmla="*/ 290 w 355"/>
                  <a:gd name="T69" fmla="*/ 315 h 356"/>
                  <a:gd name="T70" fmla="*/ 324 w 355"/>
                  <a:gd name="T71" fmla="*/ 278 h 356"/>
                  <a:gd name="T72" fmla="*/ 347 w 355"/>
                  <a:gd name="T73" fmla="*/ 232 h 356"/>
                  <a:gd name="T74" fmla="*/ 355 w 355"/>
                  <a:gd name="T75" fmla="*/ 179 h 356"/>
                  <a:gd name="T76" fmla="*/ 347 w 355"/>
                  <a:gd name="T77" fmla="*/ 126 h 356"/>
                  <a:gd name="T78" fmla="*/ 324 w 355"/>
                  <a:gd name="T79" fmla="*/ 79 h 356"/>
                  <a:gd name="T80" fmla="*/ 290 w 355"/>
                  <a:gd name="T81" fmla="*/ 41 h 356"/>
                  <a:gd name="T82" fmla="*/ 247 w 355"/>
                  <a:gd name="T83" fmla="*/ 14 h 356"/>
                  <a:gd name="T84" fmla="*/ 195 w 355"/>
                  <a:gd name="T85" fmla="*/ 1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55" h="356">
                    <a:moveTo>
                      <a:pt x="178" y="306"/>
                    </a:moveTo>
                    <a:lnTo>
                      <a:pt x="165" y="306"/>
                    </a:lnTo>
                    <a:lnTo>
                      <a:pt x="152" y="303"/>
                    </a:lnTo>
                    <a:lnTo>
                      <a:pt x="140" y="300"/>
                    </a:lnTo>
                    <a:lnTo>
                      <a:pt x="128" y="296"/>
                    </a:lnTo>
                    <a:lnTo>
                      <a:pt x="116" y="290"/>
                    </a:lnTo>
                    <a:lnTo>
                      <a:pt x="106" y="285"/>
                    </a:lnTo>
                    <a:lnTo>
                      <a:pt x="96" y="276"/>
                    </a:lnTo>
                    <a:lnTo>
                      <a:pt x="87" y="268"/>
                    </a:lnTo>
                    <a:lnTo>
                      <a:pt x="79" y="260"/>
                    </a:lnTo>
                    <a:lnTo>
                      <a:pt x="72" y="249"/>
                    </a:lnTo>
                    <a:lnTo>
                      <a:pt x="66" y="239"/>
                    </a:lnTo>
                    <a:lnTo>
                      <a:pt x="60" y="228"/>
                    </a:lnTo>
                    <a:lnTo>
                      <a:pt x="55" y="216"/>
                    </a:lnTo>
                    <a:lnTo>
                      <a:pt x="53" y="204"/>
                    </a:lnTo>
                    <a:lnTo>
                      <a:pt x="51" y="192"/>
                    </a:lnTo>
                    <a:lnTo>
                      <a:pt x="51" y="179"/>
                    </a:lnTo>
                    <a:lnTo>
                      <a:pt x="51" y="166"/>
                    </a:lnTo>
                    <a:lnTo>
                      <a:pt x="53" y="153"/>
                    </a:lnTo>
                    <a:lnTo>
                      <a:pt x="55" y="140"/>
                    </a:lnTo>
                    <a:lnTo>
                      <a:pt x="60" y="128"/>
                    </a:lnTo>
                    <a:lnTo>
                      <a:pt x="66" y="118"/>
                    </a:lnTo>
                    <a:lnTo>
                      <a:pt x="72" y="107"/>
                    </a:lnTo>
                    <a:lnTo>
                      <a:pt x="79" y="98"/>
                    </a:lnTo>
                    <a:lnTo>
                      <a:pt x="87" y="88"/>
                    </a:lnTo>
                    <a:lnTo>
                      <a:pt x="96" y="80"/>
                    </a:lnTo>
                    <a:lnTo>
                      <a:pt x="106" y="73"/>
                    </a:lnTo>
                    <a:lnTo>
                      <a:pt x="116" y="66"/>
                    </a:lnTo>
                    <a:lnTo>
                      <a:pt x="128" y="61"/>
                    </a:lnTo>
                    <a:lnTo>
                      <a:pt x="140" y="57"/>
                    </a:lnTo>
                    <a:lnTo>
                      <a:pt x="152" y="53"/>
                    </a:lnTo>
                    <a:lnTo>
                      <a:pt x="165" y="52"/>
                    </a:lnTo>
                    <a:lnTo>
                      <a:pt x="178" y="51"/>
                    </a:lnTo>
                    <a:lnTo>
                      <a:pt x="190" y="52"/>
                    </a:lnTo>
                    <a:lnTo>
                      <a:pt x="203" y="53"/>
                    </a:lnTo>
                    <a:lnTo>
                      <a:pt x="215" y="57"/>
                    </a:lnTo>
                    <a:lnTo>
                      <a:pt x="227" y="61"/>
                    </a:lnTo>
                    <a:lnTo>
                      <a:pt x="239" y="66"/>
                    </a:lnTo>
                    <a:lnTo>
                      <a:pt x="249" y="73"/>
                    </a:lnTo>
                    <a:lnTo>
                      <a:pt x="259" y="80"/>
                    </a:lnTo>
                    <a:lnTo>
                      <a:pt x="268" y="88"/>
                    </a:lnTo>
                    <a:lnTo>
                      <a:pt x="276" y="98"/>
                    </a:lnTo>
                    <a:lnTo>
                      <a:pt x="283" y="107"/>
                    </a:lnTo>
                    <a:lnTo>
                      <a:pt x="289" y="118"/>
                    </a:lnTo>
                    <a:lnTo>
                      <a:pt x="295" y="128"/>
                    </a:lnTo>
                    <a:lnTo>
                      <a:pt x="298" y="140"/>
                    </a:lnTo>
                    <a:lnTo>
                      <a:pt x="302" y="153"/>
                    </a:lnTo>
                    <a:lnTo>
                      <a:pt x="304" y="166"/>
                    </a:lnTo>
                    <a:lnTo>
                      <a:pt x="304" y="179"/>
                    </a:lnTo>
                    <a:lnTo>
                      <a:pt x="304" y="192"/>
                    </a:lnTo>
                    <a:lnTo>
                      <a:pt x="302" y="204"/>
                    </a:lnTo>
                    <a:lnTo>
                      <a:pt x="298" y="216"/>
                    </a:lnTo>
                    <a:lnTo>
                      <a:pt x="295" y="228"/>
                    </a:lnTo>
                    <a:lnTo>
                      <a:pt x="289" y="239"/>
                    </a:lnTo>
                    <a:lnTo>
                      <a:pt x="283" y="249"/>
                    </a:lnTo>
                    <a:lnTo>
                      <a:pt x="276" y="260"/>
                    </a:lnTo>
                    <a:lnTo>
                      <a:pt x="268" y="268"/>
                    </a:lnTo>
                    <a:lnTo>
                      <a:pt x="259" y="276"/>
                    </a:lnTo>
                    <a:lnTo>
                      <a:pt x="249" y="285"/>
                    </a:lnTo>
                    <a:lnTo>
                      <a:pt x="239" y="290"/>
                    </a:lnTo>
                    <a:lnTo>
                      <a:pt x="227" y="296"/>
                    </a:lnTo>
                    <a:lnTo>
                      <a:pt x="215" y="300"/>
                    </a:lnTo>
                    <a:lnTo>
                      <a:pt x="203" y="303"/>
                    </a:lnTo>
                    <a:lnTo>
                      <a:pt x="190" y="306"/>
                    </a:lnTo>
                    <a:lnTo>
                      <a:pt x="178" y="306"/>
                    </a:lnTo>
                    <a:close/>
                    <a:moveTo>
                      <a:pt x="178" y="0"/>
                    </a:moveTo>
                    <a:lnTo>
                      <a:pt x="159" y="1"/>
                    </a:lnTo>
                    <a:lnTo>
                      <a:pt x="141" y="4"/>
                    </a:lnTo>
                    <a:lnTo>
                      <a:pt x="125" y="9"/>
                    </a:lnTo>
                    <a:lnTo>
                      <a:pt x="108" y="14"/>
                    </a:lnTo>
                    <a:lnTo>
                      <a:pt x="93" y="23"/>
                    </a:lnTo>
                    <a:lnTo>
                      <a:pt x="78" y="31"/>
                    </a:lnTo>
                    <a:lnTo>
                      <a:pt x="65" y="41"/>
                    </a:lnTo>
                    <a:lnTo>
                      <a:pt x="52" y="53"/>
                    </a:lnTo>
                    <a:lnTo>
                      <a:pt x="40" y="65"/>
                    </a:lnTo>
                    <a:lnTo>
                      <a:pt x="30" y="79"/>
                    </a:lnTo>
                    <a:lnTo>
                      <a:pt x="21" y="94"/>
                    </a:lnTo>
                    <a:lnTo>
                      <a:pt x="14" y="110"/>
                    </a:lnTo>
                    <a:lnTo>
                      <a:pt x="7" y="126"/>
                    </a:lnTo>
                    <a:lnTo>
                      <a:pt x="4" y="142"/>
                    </a:lnTo>
                    <a:lnTo>
                      <a:pt x="0" y="160"/>
                    </a:lnTo>
                    <a:lnTo>
                      <a:pt x="0" y="179"/>
                    </a:lnTo>
                    <a:lnTo>
                      <a:pt x="0" y="196"/>
                    </a:lnTo>
                    <a:lnTo>
                      <a:pt x="4" y="214"/>
                    </a:lnTo>
                    <a:lnTo>
                      <a:pt x="7" y="232"/>
                    </a:lnTo>
                    <a:lnTo>
                      <a:pt x="14" y="247"/>
                    </a:lnTo>
                    <a:lnTo>
                      <a:pt x="21" y="263"/>
                    </a:lnTo>
                    <a:lnTo>
                      <a:pt x="30" y="278"/>
                    </a:lnTo>
                    <a:lnTo>
                      <a:pt x="40" y="292"/>
                    </a:lnTo>
                    <a:lnTo>
                      <a:pt x="52" y="303"/>
                    </a:lnTo>
                    <a:lnTo>
                      <a:pt x="65" y="315"/>
                    </a:lnTo>
                    <a:lnTo>
                      <a:pt x="78" y="326"/>
                    </a:lnTo>
                    <a:lnTo>
                      <a:pt x="93" y="335"/>
                    </a:lnTo>
                    <a:lnTo>
                      <a:pt x="108" y="342"/>
                    </a:lnTo>
                    <a:lnTo>
                      <a:pt x="125" y="348"/>
                    </a:lnTo>
                    <a:lnTo>
                      <a:pt x="141" y="353"/>
                    </a:lnTo>
                    <a:lnTo>
                      <a:pt x="159" y="355"/>
                    </a:lnTo>
                    <a:lnTo>
                      <a:pt x="178" y="356"/>
                    </a:lnTo>
                    <a:lnTo>
                      <a:pt x="195" y="355"/>
                    </a:lnTo>
                    <a:lnTo>
                      <a:pt x="213" y="353"/>
                    </a:lnTo>
                    <a:lnTo>
                      <a:pt x="230" y="348"/>
                    </a:lnTo>
                    <a:lnTo>
                      <a:pt x="247" y="342"/>
                    </a:lnTo>
                    <a:lnTo>
                      <a:pt x="262" y="335"/>
                    </a:lnTo>
                    <a:lnTo>
                      <a:pt x="276" y="326"/>
                    </a:lnTo>
                    <a:lnTo>
                      <a:pt x="290" y="315"/>
                    </a:lnTo>
                    <a:lnTo>
                      <a:pt x="303" y="303"/>
                    </a:lnTo>
                    <a:lnTo>
                      <a:pt x="315" y="292"/>
                    </a:lnTo>
                    <a:lnTo>
                      <a:pt x="324" y="278"/>
                    </a:lnTo>
                    <a:lnTo>
                      <a:pt x="334" y="263"/>
                    </a:lnTo>
                    <a:lnTo>
                      <a:pt x="341" y="247"/>
                    </a:lnTo>
                    <a:lnTo>
                      <a:pt x="347" y="232"/>
                    </a:lnTo>
                    <a:lnTo>
                      <a:pt x="351" y="214"/>
                    </a:lnTo>
                    <a:lnTo>
                      <a:pt x="354" y="196"/>
                    </a:lnTo>
                    <a:lnTo>
                      <a:pt x="355" y="179"/>
                    </a:lnTo>
                    <a:lnTo>
                      <a:pt x="354" y="160"/>
                    </a:lnTo>
                    <a:lnTo>
                      <a:pt x="351" y="142"/>
                    </a:lnTo>
                    <a:lnTo>
                      <a:pt x="347" y="126"/>
                    </a:lnTo>
                    <a:lnTo>
                      <a:pt x="341" y="110"/>
                    </a:lnTo>
                    <a:lnTo>
                      <a:pt x="334" y="94"/>
                    </a:lnTo>
                    <a:lnTo>
                      <a:pt x="324" y="79"/>
                    </a:lnTo>
                    <a:lnTo>
                      <a:pt x="315" y="65"/>
                    </a:lnTo>
                    <a:lnTo>
                      <a:pt x="303" y="53"/>
                    </a:lnTo>
                    <a:lnTo>
                      <a:pt x="290" y="41"/>
                    </a:lnTo>
                    <a:lnTo>
                      <a:pt x="276" y="31"/>
                    </a:lnTo>
                    <a:lnTo>
                      <a:pt x="262" y="23"/>
                    </a:lnTo>
                    <a:lnTo>
                      <a:pt x="247" y="14"/>
                    </a:lnTo>
                    <a:lnTo>
                      <a:pt x="230" y="9"/>
                    </a:lnTo>
                    <a:lnTo>
                      <a:pt x="213" y="4"/>
                    </a:lnTo>
                    <a:lnTo>
                      <a:pt x="195" y="1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3" name="Freeform 227"/>
              <p:cNvSpPr>
                <a:spLocks noEditPoints="1"/>
              </p:cNvSpPr>
              <p:nvPr/>
            </p:nvSpPr>
            <p:spPr bwMode="auto">
              <a:xfrm>
                <a:off x="6330951" y="4879976"/>
                <a:ext cx="111125" cy="111125"/>
              </a:xfrm>
              <a:custGeom>
                <a:avLst/>
                <a:gdLst>
                  <a:gd name="T0" fmla="*/ 116 w 279"/>
                  <a:gd name="T1" fmla="*/ 253 h 278"/>
                  <a:gd name="T2" fmla="*/ 84 w 279"/>
                  <a:gd name="T3" fmla="*/ 241 h 278"/>
                  <a:gd name="T4" fmla="*/ 57 w 279"/>
                  <a:gd name="T5" fmla="*/ 221 h 278"/>
                  <a:gd name="T6" fmla="*/ 37 w 279"/>
                  <a:gd name="T7" fmla="*/ 194 h 278"/>
                  <a:gd name="T8" fmla="*/ 27 w 279"/>
                  <a:gd name="T9" fmla="*/ 162 h 278"/>
                  <a:gd name="T10" fmla="*/ 24 w 279"/>
                  <a:gd name="T11" fmla="*/ 128 h 278"/>
                  <a:gd name="T12" fmla="*/ 33 w 279"/>
                  <a:gd name="T13" fmla="*/ 94 h 278"/>
                  <a:gd name="T14" fmla="*/ 50 w 279"/>
                  <a:gd name="T15" fmla="*/ 66 h 278"/>
                  <a:gd name="T16" fmla="*/ 75 w 279"/>
                  <a:gd name="T17" fmla="*/ 44 h 278"/>
                  <a:gd name="T18" fmla="*/ 105 w 279"/>
                  <a:gd name="T19" fmla="*/ 29 h 278"/>
                  <a:gd name="T20" fmla="*/ 140 w 279"/>
                  <a:gd name="T21" fmla="*/ 24 h 278"/>
                  <a:gd name="T22" fmla="*/ 174 w 279"/>
                  <a:gd name="T23" fmla="*/ 29 h 278"/>
                  <a:gd name="T24" fmla="*/ 204 w 279"/>
                  <a:gd name="T25" fmla="*/ 44 h 278"/>
                  <a:gd name="T26" fmla="*/ 229 w 279"/>
                  <a:gd name="T27" fmla="*/ 66 h 278"/>
                  <a:gd name="T28" fmla="*/ 246 w 279"/>
                  <a:gd name="T29" fmla="*/ 94 h 278"/>
                  <a:gd name="T30" fmla="*/ 255 w 279"/>
                  <a:gd name="T31" fmla="*/ 128 h 278"/>
                  <a:gd name="T32" fmla="*/ 252 w 279"/>
                  <a:gd name="T33" fmla="*/ 162 h 278"/>
                  <a:gd name="T34" fmla="*/ 241 w 279"/>
                  <a:gd name="T35" fmla="*/ 194 h 278"/>
                  <a:gd name="T36" fmla="*/ 221 w 279"/>
                  <a:gd name="T37" fmla="*/ 221 h 278"/>
                  <a:gd name="T38" fmla="*/ 195 w 279"/>
                  <a:gd name="T39" fmla="*/ 241 h 278"/>
                  <a:gd name="T40" fmla="*/ 163 w 279"/>
                  <a:gd name="T41" fmla="*/ 253 h 278"/>
                  <a:gd name="T42" fmla="*/ 140 w 279"/>
                  <a:gd name="T43" fmla="*/ 0 h 278"/>
                  <a:gd name="T44" fmla="*/ 98 w 279"/>
                  <a:gd name="T45" fmla="*/ 6 h 278"/>
                  <a:gd name="T46" fmla="*/ 62 w 279"/>
                  <a:gd name="T47" fmla="*/ 24 h 278"/>
                  <a:gd name="T48" fmla="*/ 31 w 279"/>
                  <a:gd name="T49" fmla="*/ 51 h 278"/>
                  <a:gd name="T50" fmla="*/ 11 w 279"/>
                  <a:gd name="T51" fmla="*/ 85 h 278"/>
                  <a:gd name="T52" fmla="*/ 1 w 279"/>
                  <a:gd name="T53" fmla="*/ 125 h 278"/>
                  <a:gd name="T54" fmla="*/ 3 w 279"/>
                  <a:gd name="T55" fmla="*/ 167 h 278"/>
                  <a:gd name="T56" fmla="*/ 17 w 279"/>
                  <a:gd name="T57" fmla="*/ 206 h 278"/>
                  <a:gd name="T58" fmla="*/ 41 w 279"/>
                  <a:gd name="T59" fmla="*/ 237 h 278"/>
                  <a:gd name="T60" fmla="*/ 73 w 279"/>
                  <a:gd name="T61" fmla="*/ 262 h 278"/>
                  <a:gd name="T62" fmla="*/ 111 w 279"/>
                  <a:gd name="T63" fmla="*/ 276 h 278"/>
                  <a:gd name="T64" fmla="*/ 154 w 279"/>
                  <a:gd name="T65" fmla="*/ 278 h 278"/>
                  <a:gd name="T66" fmla="*/ 194 w 279"/>
                  <a:gd name="T67" fmla="*/ 268 h 278"/>
                  <a:gd name="T68" fmla="*/ 228 w 279"/>
                  <a:gd name="T69" fmla="*/ 247 h 278"/>
                  <a:gd name="T70" fmla="*/ 255 w 279"/>
                  <a:gd name="T71" fmla="*/ 217 h 278"/>
                  <a:gd name="T72" fmla="*/ 272 w 279"/>
                  <a:gd name="T73" fmla="*/ 181 h 278"/>
                  <a:gd name="T74" fmla="*/ 279 w 279"/>
                  <a:gd name="T75" fmla="*/ 140 h 278"/>
                  <a:gd name="T76" fmla="*/ 272 w 279"/>
                  <a:gd name="T77" fmla="*/ 98 h 278"/>
                  <a:gd name="T78" fmla="*/ 255 w 279"/>
                  <a:gd name="T79" fmla="*/ 61 h 278"/>
                  <a:gd name="T80" fmla="*/ 228 w 279"/>
                  <a:gd name="T81" fmla="*/ 32 h 278"/>
                  <a:gd name="T82" fmla="*/ 194 w 279"/>
                  <a:gd name="T83" fmla="*/ 11 h 278"/>
                  <a:gd name="T84" fmla="*/ 154 w 279"/>
                  <a:gd name="T85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9" h="278">
                    <a:moveTo>
                      <a:pt x="140" y="255"/>
                    </a:moveTo>
                    <a:lnTo>
                      <a:pt x="128" y="254"/>
                    </a:lnTo>
                    <a:lnTo>
                      <a:pt x="116" y="253"/>
                    </a:lnTo>
                    <a:lnTo>
                      <a:pt x="105" y="249"/>
                    </a:lnTo>
                    <a:lnTo>
                      <a:pt x="95" y="246"/>
                    </a:lnTo>
                    <a:lnTo>
                      <a:pt x="84" y="241"/>
                    </a:lnTo>
                    <a:lnTo>
                      <a:pt x="75" y="235"/>
                    </a:lnTo>
                    <a:lnTo>
                      <a:pt x="66" y="228"/>
                    </a:lnTo>
                    <a:lnTo>
                      <a:pt x="57" y="221"/>
                    </a:lnTo>
                    <a:lnTo>
                      <a:pt x="50" y="213"/>
                    </a:lnTo>
                    <a:lnTo>
                      <a:pt x="43" y="203"/>
                    </a:lnTo>
                    <a:lnTo>
                      <a:pt x="37" y="194"/>
                    </a:lnTo>
                    <a:lnTo>
                      <a:pt x="33" y="184"/>
                    </a:lnTo>
                    <a:lnTo>
                      <a:pt x="29" y="174"/>
                    </a:lnTo>
                    <a:lnTo>
                      <a:pt x="27" y="162"/>
                    </a:lnTo>
                    <a:lnTo>
                      <a:pt x="24" y="152"/>
                    </a:lnTo>
                    <a:lnTo>
                      <a:pt x="24" y="140"/>
                    </a:lnTo>
                    <a:lnTo>
                      <a:pt x="24" y="128"/>
                    </a:lnTo>
                    <a:lnTo>
                      <a:pt x="27" y="116"/>
                    </a:lnTo>
                    <a:lnTo>
                      <a:pt x="29" y="105"/>
                    </a:lnTo>
                    <a:lnTo>
                      <a:pt x="33" y="94"/>
                    </a:lnTo>
                    <a:lnTo>
                      <a:pt x="37" y="85"/>
                    </a:lnTo>
                    <a:lnTo>
                      <a:pt x="43" y="75"/>
                    </a:lnTo>
                    <a:lnTo>
                      <a:pt x="50" y="66"/>
                    </a:lnTo>
                    <a:lnTo>
                      <a:pt x="57" y="58"/>
                    </a:lnTo>
                    <a:lnTo>
                      <a:pt x="66" y="51"/>
                    </a:lnTo>
                    <a:lnTo>
                      <a:pt x="75" y="44"/>
                    </a:lnTo>
                    <a:lnTo>
                      <a:pt x="84" y="38"/>
                    </a:lnTo>
                    <a:lnTo>
                      <a:pt x="95" y="33"/>
                    </a:lnTo>
                    <a:lnTo>
                      <a:pt x="105" y="29"/>
                    </a:lnTo>
                    <a:lnTo>
                      <a:pt x="116" y="26"/>
                    </a:lnTo>
                    <a:lnTo>
                      <a:pt x="128" y="25"/>
                    </a:lnTo>
                    <a:lnTo>
                      <a:pt x="140" y="24"/>
                    </a:lnTo>
                    <a:lnTo>
                      <a:pt x="151" y="25"/>
                    </a:lnTo>
                    <a:lnTo>
                      <a:pt x="163" y="26"/>
                    </a:lnTo>
                    <a:lnTo>
                      <a:pt x="174" y="29"/>
                    </a:lnTo>
                    <a:lnTo>
                      <a:pt x="184" y="33"/>
                    </a:lnTo>
                    <a:lnTo>
                      <a:pt x="195" y="38"/>
                    </a:lnTo>
                    <a:lnTo>
                      <a:pt x="204" y="44"/>
                    </a:lnTo>
                    <a:lnTo>
                      <a:pt x="212" y="51"/>
                    </a:lnTo>
                    <a:lnTo>
                      <a:pt x="221" y="58"/>
                    </a:lnTo>
                    <a:lnTo>
                      <a:pt x="229" y="66"/>
                    </a:lnTo>
                    <a:lnTo>
                      <a:pt x="235" y="75"/>
                    </a:lnTo>
                    <a:lnTo>
                      <a:pt x="241" y="85"/>
                    </a:lnTo>
                    <a:lnTo>
                      <a:pt x="246" y="94"/>
                    </a:lnTo>
                    <a:lnTo>
                      <a:pt x="250" y="105"/>
                    </a:lnTo>
                    <a:lnTo>
                      <a:pt x="252" y="116"/>
                    </a:lnTo>
                    <a:lnTo>
                      <a:pt x="255" y="128"/>
                    </a:lnTo>
                    <a:lnTo>
                      <a:pt x="255" y="140"/>
                    </a:lnTo>
                    <a:lnTo>
                      <a:pt x="255" y="152"/>
                    </a:lnTo>
                    <a:lnTo>
                      <a:pt x="252" y="162"/>
                    </a:lnTo>
                    <a:lnTo>
                      <a:pt x="250" y="174"/>
                    </a:lnTo>
                    <a:lnTo>
                      <a:pt x="246" y="184"/>
                    </a:lnTo>
                    <a:lnTo>
                      <a:pt x="241" y="194"/>
                    </a:lnTo>
                    <a:lnTo>
                      <a:pt x="235" y="203"/>
                    </a:lnTo>
                    <a:lnTo>
                      <a:pt x="229" y="213"/>
                    </a:lnTo>
                    <a:lnTo>
                      <a:pt x="221" y="221"/>
                    </a:lnTo>
                    <a:lnTo>
                      <a:pt x="212" y="228"/>
                    </a:lnTo>
                    <a:lnTo>
                      <a:pt x="204" y="235"/>
                    </a:lnTo>
                    <a:lnTo>
                      <a:pt x="195" y="241"/>
                    </a:lnTo>
                    <a:lnTo>
                      <a:pt x="184" y="246"/>
                    </a:lnTo>
                    <a:lnTo>
                      <a:pt x="174" y="249"/>
                    </a:lnTo>
                    <a:lnTo>
                      <a:pt x="163" y="253"/>
                    </a:lnTo>
                    <a:lnTo>
                      <a:pt x="151" y="254"/>
                    </a:lnTo>
                    <a:lnTo>
                      <a:pt x="140" y="255"/>
                    </a:lnTo>
                    <a:close/>
                    <a:moveTo>
                      <a:pt x="140" y="0"/>
                    </a:moveTo>
                    <a:lnTo>
                      <a:pt x="125" y="0"/>
                    </a:lnTo>
                    <a:lnTo>
                      <a:pt x="111" y="2"/>
                    </a:lnTo>
                    <a:lnTo>
                      <a:pt x="98" y="6"/>
                    </a:lnTo>
                    <a:lnTo>
                      <a:pt x="85" y="11"/>
                    </a:lnTo>
                    <a:lnTo>
                      <a:pt x="73" y="17"/>
                    </a:lnTo>
                    <a:lnTo>
                      <a:pt x="62" y="24"/>
                    </a:lnTo>
                    <a:lnTo>
                      <a:pt x="50" y="32"/>
                    </a:lnTo>
                    <a:lnTo>
                      <a:pt x="41" y="41"/>
                    </a:lnTo>
                    <a:lnTo>
                      <a:pt x="31" y="51"/>
                    </a:lnTo>
                    <a:lnTo>
                      <a:pt x="24" y="61"/>
                    </a:lnTo>
                    <a:lnTo>
                      <a:pt x="17" y="73"/>
                    </a:lnTo>
                    <a:lnTo>
                      <a:pt x="11" y="85"/>
                    </a:lnTo>
                    <a:lnTo>
                      <a:pt x="7" y="98"/>
                    </a:lnTo>
                    <a:lnTo>
                      <a:pt x="3" y="112"/>
                    </a:lnTo>
                    <a:lnTo>
                      <a:pt x="1" y="125"/>
                    </a:lnTo>
                    <a:lnTo>
                      <a:pt x="0" y="140"/>
                    </a:lnTo>
                    <a:lnTo>
                      <a:pt x="1" y="154"/>
                    </a:lnTo>
                    <a:lnTo>
                      <a:pt x="3" y="167"/>
                    </a:lnTo>
                    <a:lnTo>
                      <a:pt x="7" y="181"/>
                    </a:lnTo>
                    <a:lnTo>
                      <a:pt x="11" y="194"/>
                    </a:lnTo>
                    <a:lnTo>
                      <a:pt x="17" y="206"/>
                    </a:lnTo>
                    <a:lnTo>
                      <a:pt x="24" y="217"/>
                    </a:lnTo>
                    <a:lnTo>
                      <a:pt x="31" y="228"/>
                    </a:lnTo>
                    <a:lnTo>
                      <a:pt x="41" y="237"/>
                    </a:lnTo>
                    <a:lnTo>
                      <a:pt x="50" y="247"/>
                    </a:lnTo>
                    <a:lnTo>
                      <a:pt x="62" y="255"/>
                    </a:lnTo>
                    <a:lnTo>
                      <a:pt x="73" y="262"/>
                    </a:lnTo>
                    <a:lnTo>
                      <a:pt x="85" y="268"/>
                    </a:lnTo>
                    <a:lnTo>
                      <a:pt x="98" y="273"/>
                    </a:lnTo>
                    <a:lnTo>
                      <a:pt x="111" y="276"/>
                    </a:lnTo>
                    <a:lnTo>
                      <a:pt x="125" y="278"/>
                    </a:lnTo>
                    <a:lnTo>
                      <a:pt x="140" y="278"/>
                    </a:lnTo>
                    <a:lnTo>
                      <a:pt x="154" y="278"/>
                    </a:lnTo>
                    <a:lnTo>
                      <a:pt x="168" y="276"/>
                    </a:lnTo>
                    <a:lnTo>
                      <a:pt x="181" y="273"/>
                    </a:lnTo>
                    <a:lnTo>
                      <a:pt x="194" y="268"/>
                    </a:lnTo>
                    <a:lnTo>
                      <a:pt x="205" y="262"/>
                    </a:lnTo>
                    <a:lnTo>
                      <a:pt x="217" y="255"/>
                    </a:lnTo>
                    <a:lnTo>
                      <a:pt x="228" y="247"/>
                    </a:lnTo>
                    <a:lnTo>
                      <a:pt x="238" y="237"/>
                    </a:lnTo>
                    <a:lnTo>
                      <a:pt x="246" y="228"/>
                    </a:lnTo>
                    <a:lnTo>
                      <a:pt x="255" y="217"/>
                    </a:lnTo>
                    <a:lnTo>
                      <a:pt x="262" y="206"/>
                    </a:lnTo>
                    <a:lnTo>
                      <a:pt x="268" y="194"/>
                    </a:lnTo>
                    <a:lnTo>
                      <a:pt x="272" y="181"/>
                    </a:lnTo>
                    <a:lnTo>
                      <a:pt x="276" y="167"/>
                    </a:lnTo>
                    <a:lnTo>
                      <a:pt x="278" y="154"/>
                    </a:lnTo>
                    <a:lnTo>
                      <a:pt x="279" y="140"/>
                    </a:lnTo>
                    <a:lnTo>
                      <a:pt x="278" y="125"/>
                    </a:lnTo>
                    <a:lnTo>
                      <a:pt x="276" y="112"/>
                    </a:lnTo>
                    <a:lnTo>
                      <a:pt x="272" y="98"/>
                    </a:lnTo>
                    <a:lnTo>
                      <a:pt x="268" y="85"/>
                    </a:lnTo>
                    <a:lnTo>
                      <a:pt x="262" y="73"/>
                    </a:lnTo>
                    <a:lnTo>
                      <a:pt x="255" y="61"/>
                    </a:lnTo>
                    <a:lnTo>
                      <a:pt x="246" y="51"/>
                    </a:lnTo>
                    <a:lnTo>
                      <a:pt x="238" y="41"/>
                    </a:lnTo>
                    <a:lnTo>
                      <a:pt x="228" y="32"/>
                    </a:lnTo>
                    <a:lnTo>
                      <a:pt x="217" y="24"/>
                    </a:lnTo>
                    <a:lnTo>
                      <a:pt x="205" y="17"/>
                    </a:lnTo>
                    <a:lnTo>
                      <a:pt x="194" y="11"/>
                    </a:lnTo>
                    <a:lnTo>
                      <a:pt x="181" y="6"/>
                    </a:lnTo>
                    <a:lnTo>
                      <a:pt x="168" y="2"/>
                    </a:lnTo>
                    <a:lnTo>
                      <a:pt x="154" y="0"/>
                    </a:lnTo>
                    <a:lnTo>
                      <a:pt x="140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4" name="Freeform 228"/>
              <p:cNvSpPr>
                <a:spLocks noEditPoints="1"/>
              </p:cNvSpPr>
              <p:nvPr/>
            </p:nvSpPr>
            <p:spPr bwMode="auto">
              <a:xfrm>
                <a:off x="6311901" y="4860926"/>
                <a:ext cx="150813" cy="233363"/>
              </a:xfrm>
              <a:custGeom>
                <a:avLst/>
                <a:gdLst>
                  <a:gd name="T0" fmla="*/ 158 w 380"/>
                  <a:gd name="T1" fmla="*/ 352 h 590"/>
                  <a:gd name="T2" fmla="*/ 112 w 380"/>
                  <a:gd name="T3" fmla="*/ 334 h 590"/>
                  <a:gd name="T4" fmla="*/ 73 w 380"/>
                  <a:gd name="T5" fmla="*/ 306 h 590"/>
                  <a:gd name="T6" fmla="*/ 45 w 380"/>
                  <a:gd name="T7" fmla="*/ 269 h 590"/>
                  <a:gd name="T8" fmla="*/ 28 w 380"/>
                  <a:gd name="T9" fmla="*/ 223 h 590"/>
                  <a:gd name="T10" fmla="*/ 25 w 380"/>
                  <a:gd name="T11" fmla="*/ 172 h 590"/>
                  <a:gd name="T12" fmla="*/ 38 w 380"/>
                  <a:gd name="T13" fmla="*/ 125 h 590"/>
                  <a:gd name="T14" fmla="*/ 62 w 380"/>
                  <a:gd name="T15" fmla="*/ 84 h 590"/>
                  <a:gd name="T16" fmla="*/ 98 w 380"/>
                  <a:gd name="T17" fmla="*/ 52 h 590"/>
                  <a:gd name="T18" fmla="*/ 141 w 380"/>
                  <a:gd name="T19" fmla="*/ 31 h 590"/>
                  <a:gd name="T20" fmla="*/ 191 w 380"/>
                  <a:gd name="T21" fmla="*/ 24 h 590"/>
                  <a:gd name="T22" fmla="*/ 240 w 380"/>
                  <a:gd name="T23" fmla="*/ 31 h 590"/>
                  <a:gd name="T24" fmla="*/ 283 w 380"/>
                  <a:gd name="T25" fmla="*/ 52 h 590"/>
                  <a:gd name="T26" fmla="*/ 319 w 380"/>
                  <a:gd name="T27" fmla="*/ 84 h 590"/>
                  <a:gd name="T28" fmla="*/ 343 w 380"/>
                  <a:gd name="T29" fmla="*/ 125 h 590"/>
                  <a:gd name="T30" fmla="*/ 355 w 380"/>
                  <a:gd name="T31" fmla="*/ 172 h 590"/>
                  <a:gd name="T32" fmla="*/ 353 w 380"/>
                  <a:gd name="T33" fmla="*/ 223 h 590"/>
                  <a:gd name="T34" fmla="*/ 336 w 380"/>
                  <a:gd name="T35" fmla="*/ 269 h 590"/>
                  <a:gd name="T36" fmla="*/ 307 w 380"/>
                  <a:gd name="T37" fmla="*/ 306 h 590"/>
                  <a:gd name="T38" fmla="*/ 269 w 380"/>
                  <a:gd name="T39" fmla="*/ 334 h 590"/>
                  <a:gd name="T40" fmla="*/ 223 w 380"/>
                  <a:gd name="T41" fmla="*/ 352 h 590"/>
                  <a:gd name="T42" fmla="*/ 380 w 380"/>
                  <a:gd name="T43" fmla="*/ 190 h 590"/>
                  <a:gd name="T44" fmla="*/ 371 w 380"/>
                  <a:gd name="T45" fmla="*/ 133 h 590"/>
                  <a:gd name="T46" fmla="*/ 347 w 380"/>
                  <a:gd name="T47" fmla="*/ 83 h 590"/>
                  <a:gd name="T48" fmla="*/ 310 w 380"/>
                  <a:gd name="T49" fmla="*/ 43 h 590"/>
                  <a:gd name="T50" fmla="*/ 264 w 380"/>
                  <a:gd name="T51" fmla="*/ 15 h 590"/>
                  <a:gd name="T52" fmla="*/ 209 w 380"/>
                  <a:gd name="T53" fmla="*/ 1 h 590"/>
                  <a:gd name="T54" fmla="*/ 152 w 380"/>
                  <a:gd name="T55" fmla="*/ 3 h 590"/>
                  <a:gd name="T56" fmla="*/ 100 w 380"/>
                  <a:gd name="T57" fmla="*/ 23 h 590"/>
                  <a:gd name="T58" fmla="*/ 57 w 380"/>
                  <a:gd name="T59" fmla="*/ 56 h 590"/>
                  <a:gd name="T60" fmla="*/ 24 w 380"/>
                  <a:gd name="T61" fmla="*/ 99 h 590"/>
                  <a:gd name="T62" fmla="*/ 5 w 380"/>
                  <a:gd name="T63" fmla="*/ 151 h 590"/>
                  <a:gd name="T64" fmla="*/ 1 w 380"/>
                  <a:gd name="T65" fmla="*/ 206 h 590"/>
                  <a:gd name="T66" fmla="*/ 12 w 380"/>
                  <a:gd name="T67" fmla="*/ 253 h 590"/>
                  <a:gd name="T68" fmla="*/ 33 w 380"/>
                  <a:gd name="T69" fmla="*/ 296 h 590"/>
                  <a:gd name="T70" fmla="*/ 64 w 380"/>
                  <a:gd name="T71" fmla="*/ 331 h 590"/>
                  <a:gd name="T72" fmla="*/ 102 w 380"/>
                  <a:gd name="T73" fmla="*/ 358 h 590"/>
                  <a:gd name="T74" fmla="*/ 147 w 380"/>
                  <a:gd name="T75" fmla="*/ 374 h 590"/>
                  <a:gd name="T76" fmla="*/ 151 w 380"/>
                  <a:gd name="T77" fmla="*/ 587 h 590"/>
                  <a:gd name="T78" fmla="*/ 165 w 380"/>
                  <a:gd name="T79" fmla="*/ 589 h 590"/>
                  <a:gd name="T80" fmla="*/ 172 w 380"/>
                  <a:gd name="T81" fmla="*/ 577 h 590"/>
                  <a:gd name="T82" fmla="*/ 191 w 380"/>
                  <a:gd name="T83" fmla="*/ 379 h 590"/>
                  <a:gd name="T84" fmla="*/ 209 w 380"/>
                  <a:gd name="T85" fmla="*/ 577 h 590"/>
                  <a:gd name="T86" fmla="*/ 216 w 380"/>
                  <a:gd name="T87" fmla="*/ 589 h 590"/>
                  <a:gd name="T88" fmla="*/ 229 w 380"/>
                  <a:gd name="T89" fmla="*/ 587 h 590"/>
                  <a:gd name="T90" fmla="*/ 233 w 380"/>
                  <a:gd name="T91" fmla="*/ 374 h 590"/>
                  <a:gd name="T92" fmla="*/ 277 w 380"/>
                  <a:gd name="T93" fmla="*/ 358 h 590"/>
                  <a:gd name="T94" fmla="*/ 316 w 380"/>
                  <a:gd name="T95" fmla="*/ 331 h 590"/>
                  <a:gd name="T96" fmla="*/ 347 w 380"/>
                  <a:gd name="T97" fmla="*/ 296 h 590"/>
                  <a:gd name="T98" fmla="*/ 369 w 380"/>
                  <a:gd name="T99" fmla="*/ 253 h 590"/>
                  <a:gd name="T100" fmla="*/ 380 w 380"/>
                  <a:gd name="T101" fmla="*/ 206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80" h="590">
                    <a:moveTo>
                      <a:pt x="191" y="354"/>
                    </a:moveTo>
                    <a:lnTo>
                      <a:pt x="174" y="354"/>
                    </a:lnTo>
                    <a:lnTo>
                      <a:pt x="158" y="352"/>
                    </a:lnTo>
                    <a:lnTo>
                      <a:pt x="141" y="347"/>
                    </a:lnTo>
                    <a:lnTo>
                      <a:pt x="126" y="341"/>
                    </a:lnTo>
                    <a:lnTo>
                      <a:pt x="112" y="334"/>
                    </a:lnTo>
                    <a:lnTo>
                      <a:pt x="98" y="326"/>
                    </a:lnTo>
                    <a:lnTo>
                      <a:pt x="85" y="317"/>
                    </a:lnTo>
                    <a:lnTo>
                      <a:pt x="73" y="306"/>
                    </a:lnTo>
                    <a:lnTo>
                      <a:pt x="62" y="294"/>
                    </a:lnTo>
                    <a:lnTo>
                      <a:pt x="53" y="281"/>
                    </a:lnTo>
                    <a:lnTo>
                      <a:pt x="45" y="269"/>
                    </a:lnTo>
                    <a:lnTo>
                      <a:pt x="38" y="253"/>
                    </a:lnTo>
                    <a:lnTo>
                      <a:pt x="32" y="238"/>
                    </a:lnTo>
                    <a:lnTo>
                      <a:pt x="28" y="223"/>
                    </a:lnTo>
                    <a:lnTo>
                      <a:pt x="25" y="206"/>
                    </a:lnTo>
                    <a:lnTo>
                      <a:pt x="25" y="190"/>
                    </a:lnTo>
                    <a:lnTo>
                      <a:pt x="25" y="172"/>
                    </a:lnTo>
                    <a:lnTo>
                      <a:pt x="28" y="156"/>
                    </a:lnTo>
                    <a:lnTo>
                      <a:pt x="32" y="141"/>
                    </a:lnTo>
                    <a:lnTo>
                      <a:pt x="38" y="125"/>
                    </a:lnTo>
                    <a:lnTo>
                      <a:pt x="45" y="110"/>
                    </a:lnTo>
                    <a:lnTo>
                      <a:pt x="53" y="97"/>
                    </a:lnTo>
                    <a:lnTo>
                      <a:pt x="62" y="84"/>
                    </a:lnTo>
                    <a:lnTo>
                      <a:pt x="73" y="72"/>
                    </a:lnTo>
                    <a:lnTo>
                      <a:pt x="85" y="62"/>
                    </a:lnTo>
                    <a:lnTo>
                      <a:pt x="98" y="52"/>
                    </a:lnTo>
                    <a:lnTo>
                      <a:pt x="112" y="44"/>
                    </a:lnTo>
                    <a:lnTo>
                      <a:pt x="126" y="37"/>
                    </a:lnTo>
                    <a:lnTo>
                      <a:pt x="141" y="31"/>
                    </a:lnTo>
                    <a:lnTo>
                      <a:pt x="158" y="28"/>
                    </a:lnTo>
                    <a:lnTo>
                      <a:pt x="174" y="24"/>
                    </a:lnTo>
                    <a:lnTo>
                      <a:pt x="191" y="24"/>
                    </a:lnTo>
                    <a:lnTo>
                      <a:pt x="207" y="24"/>
                    </a:lnTo>
                    <a:lnTo>
                      <a:pt x="223" y="28"/>
                    </a:lnTo>
                    <a:lnTo>
                      <a:pt x="240" y="31"/>
                    </a:lnTo>
                    <a:lnTo>
                      <a:pt x="255" y="37"/>
                    </a:lnTo>
                    <a:lnTo>
                      <a:pt x="269" y="44"/>
                    </a:lnTo>
                    <a:lnTo>
                      <a:pt x="283" y="52"/>
                    </a:lnTo>
                    <a:lnTo>
                      <a:pt x="295" y="62"/>
                    </a:lnTo>
                    <a:lnTo>
                      <a:pt x="307" y="72"/>
                    </a:lnTo>
                    <a:lnTo>
                      <a:pt x="319" y="84"/>
                    </a:lnTo>
                    <a:lnTo>
                      <a:pt x="328" y="97"/>
                    </a:lnTo>
                    <a:lnTo>
                      <a:pt x="336" y="110"/>
                    </a:lnTo>
                    <a:lnTo>
                      <a:pt x="343" y="125"/>
                    </a:lnTo>
                    <a:lnTo>
                      <a:pt x="348" y="141"/>
                    </a:lnTo>
                    <a:lnTo>
                      <a:pt x="353" y="156"/>
                    </a:lnTo>
                    <a:lnTo>
                      <a:pt x="355" y="172"/>
                    </a:lnTo>
                    <a:lnTo>
                      <a:pt x="356" y="190"/>
                    </a:lnTo>
                    <a:lnTo>
                      <a:pt x="355" y="206"/>
                    </a:lnTo>
                    <a:lnTo>
                      <a:pt x="353" y="223"/>
                    </a:lnTo>
                    <a:lnTo>
                      <a:pt x="348" y="238"/>
                    </a:lnTo>
                    <a:lnTo>
                      <a:pt x="343" y="253"/>
                    </a:lnTo>
                    <a:lnTo>
                      <a:pt x="336" y="269"/>
                    </a:lnTo>
                    <a:lnTo>
                      <a:pt x="328" y="281"/>
                    </a:lnTo>
                    <a:lnTo>
                      <a:pt x="319" y="294"/>
                    </a:lnTo>
                    <a:lnTo>
                      <a:pt x="307" y="306"/>
                    </a:lnTo>
                    <a:lnTo>
                      <a:pt x="295" y="317"/>
                    </a:lnTo>
                    <a:lnTo>
                      <a:pt x="283" y="326"/>
                    </a:lnTo>
                    <a:lnTo>
                      <a:pt x="269" y="334"/>
                    </a:lnTo>
                    <a:lnTo>
                      <a:pt x="255" y="341"/>
                    </a:lnTo>
                    <a:lnTo>
                      <a:pt x="240" y="347"/>
                    </a:lnTo>
                    <a:lnTo>
                      <a:pt x="223" y="352"/>
                    </a:lnTo>
                    <a:lnTo>
                      <a:pt x="207" y="354"/>
                    </a:lnTo>
                    <a:lnTo>
                      <a:pt x="191" y="354"/>
                    </a:lnTo>
                    <a:close/>
                    <a:moveTo>
                      <a:pt x="380" y="190"/>
                    </a:moveTo>
                    <a:lnTo>
                      <a:pt x="378" y="170"/>
                    </a:lnTo>
                    <a:lnTo>
                      <a:pt x="376" y="151"/>
                    </a:lnTo>
                    <a:lnTo>
                      <a:pt x="371" y="133"/>
                    </a:lnTo>
                    <a:lnTo>
                      <a:pt x="364" y="116"/>
                    </a:lnTo>
                    <a:lnTo>
                      <a:pt x="357" y="99"/>
                    </a:lnTo>
                    <a:lnTo>
                      <a:pt x="347" y="83"/>
                    </a:lnTo>
                    <a:lnTo>
                      <a:pt x="336" y="69"/>
                    </a:lnTo>
                    <a:lnTo>
                      <a:pt x="324" y="56"/>
                    </a:lnTo>
                    <a:lnTo>
                      <a:pt x="310" y="43"/>
                    </a:lnTo>
                    <a:lnTo>
                      <a:pt x="296" y="32"/>
                    </a:lnTo>
                    <a:lnTo>
                      <a:pt x="281" y="23"/>
                    </a:lnTo>
                    <a:lnTo>
                      <a:pt x="264" y="15"/>
                    </a:lnTo>
                    <a:lnTo>
                      <a:pt x="247" y="8"/>
                    </a:lnTo>
                    <a:lnTo>
                      <a:pt x="228" y="3"/>
                    </a:lnTo>
                    <a:lnTo>
                      <a:pt x="209" y="1"/>
                    </a:lnTo>
                    <a:lnTo>
                      <a:pt x="191" y="0"/>
                    </a:lnTo>
                    <a:lnTo>
                      <a:pt x="171" y="1"/>
                    </a:lnTo>
                    <a:lnTo>
                      <a:pt x="152" y="3"/>
                    </a:lnTo>
                    <a:lnTo>
                      <a:pt x="134" y="8"/>
                    </a:lnTo>
                    <a:lnTo>
                      <a:pt x="117" y="15"/>
                    </a:lnTo>
                    <a:lnTo>
                      <a:pt x="100" y="23"/>
                    </a:lnTo>
                    <a:lnTo>
                      <a:pt x="85" y="32"/>
                    </a:lnTo>
                    <a:lnTo>
                      <a:pt x="70" y="43"/>
                    </a:lnTo>
                    <a:lnTo>
                      <a:pt x="57" y="56"/>
                    </a:lnTo>
                    <a:lnTo>
                      <a:pt x="44" y="69"/>
                    </a:lnTo>
                    <a:lnTo>
                      <a:pt x="33" y="83"/>
                    </a:lnTo>
                    <a:lnTo>
                      <a:pt x="24" y="99"/>
                    </a:lnTo>
                    <a:lnTo>
                      <a:pt x="16" y="116"/>
                    </a:lnTo>
                    <a:lnTo>
                      <a:pt x="10" y="133"/>
                    </a:lnTo>
                    <a:lnTo>
                      <a:pt x="5" y="151"/>
                    </a:lnTo>
                    <a:lnTo>
                      <a:pt x="1" y="170"/>
                    </a:lnTo>
                    <a:lnTo>
                      <a:pt x="0" y="190"/>
                    </a:lnTo>
                    <a:lnTo>
                      <a:pt x="1" y="206"/>
                    </a:lnTo>
                    <a:lnTo>
                      <a:pt x="4" y="223"/>
                    </a:lnTo>
                    <a:lnTo>
                      <a:pt x="7" y="238"/>
                    </a:lnTo>
                    <a:lnTo>
                      <a:pt x="12" y="253"/>
                    </a:lnTo>
                    <a:lnTo>
                      <a:pt x="18" y="269"/>
                    </a:lnTo>
                    <a:lnTo>
                      <a:pt x="25" y="281"/>
                    </a:lnTo>
                    <a:lnTo>
                      <a:pt x="33" y="296"/>
                    </a:lnTo>
                    <a:lnTo>
                      <a:pt x="43" y="308"/>
                    </a:lnTo>
                    <a:lnTo>
                      <a:pt x="53" y="320"/>
                    </a:lnTo>
                    <a:lnTo>
                      <a:pt x="64" y="331"/>
                    </a:lnTo>
                    <a:lnTo>
                      <a:pt x="77" y="340"/>
                    </a:lnTo>
                    <a:lnTo>
                      <a:pt x="89" y="350"/>
                    </a:lnTo>
                    <a:lnTo>
                      <a:pt x="102" y="358"/>
                    </a:lnTo>
                    <a:lnTo>
                      <a:pt x="118" y="364"/>
                    </a:lnTo>
                    <a:lnTo>
                      <a:pt x="132" y="370"/>
                    </a:lnTo>
                    <a:lnTo>
                      <a:pt x="147" y="374"/>
                    </a:lnTo>
                    <a:lnTo>
                      <a:pt x="147" y="577"/>
                    </a:lnTo>
                    <a:lnTo>
                      <a:pt x="148" y="582"/>
                    </a:lnTo>
                    <a:lnTo>
                      <a:pt x="151" y="587"/>
                    </a:lnTo>
                    <a:lnTo>
                      <a:pt x="155" y="589"/>
                    </a:lnTo>
                    <a:lnTo>
                      <a:pt x="159" y="590"/>
                    </a:lnTo>
                    <a:lnTo>
                      <a:pt x="165" y="589"/>
                    </a:lnTo>
                    <a:lnTo>
                      <a:pt x="168" y="587"/>
                    </a:lnTo>
                    <a:lnTo>
                      <a:pt x="171" y="582"/>
                    </a:lnTo>
                    <a:lnTo>
                      <a:pt x="172" y="577"/>
                    </a:lnTo>
                    <a:lnTo>
                      <a:pt x="172" y="378"/>
                    </a:lnTo>
                    <a:lnTo>
                      <a:pt x="181" y="379"/>
                    </a:lnTo>
                    <a:lnTo>
                      <a:pt x="191" y="379"/>
                    </a:lnTo>
                    <a:lnTo>
                      <a:pt x="200" y="379"/>
                    </a:lnTo>
                    <a:lnTo>
                      <a:pt x="209" y="378"/>
                    </a:lnTo>
                    <a:lnTo>
                      <a:pt x="209" y="577"/>
                    </a:lnTo>
                    <a:lnTo>
                      <a:pt x="210" y="582"/>
                    </a:lnTo>
                    <a:lnTo>
                      <a:pt x="213" y="587"/>
                    </a:lnTo>
                    <a:lnTo>
                      <a:pt x="216" y="589"/>
                    </a:lnTo>
                    <a:lnTo>
                      <a:pt x="221" y="590"/>
                    </a:lnTo>
                    <a:lnTo>
                      <a:pt x="226" y="589"/>
                    </a:lnTo>
                    <a:lnTo>
                      <a:pt x="229" y="587"/>
                    </a:lnTo>
                    <a:lnTo>
                      <a:pt x="233" y="582"/>
                    </a:lnTo>
                    <a:lnTo>
                      <a:pt x="233" y="577"/>
                    </a:lnTo>
                    <a:lnTo>
                      <a:pt x="233" y="374"/>
                    </a:lnTo>
                    <a:lnTo>
                      <a:pt x="249" y="370"/>
                    </a:lnTo>
                    <a:lnTo>
                      <a:pt x="263" y="364"/>
                    </a:lnTo>
                    <a:lnTo>
                      <a:pt x="277" y="358"/>
                    </a:lnTo>
                    <a:lnTo>
                      <a:pt x="292" y="350"/>
                    </a:lnTo>
                    <a:lnTo>
                      <a:pt x="304" y="340"/>
                    </a:lnTo>
                    <a:lnTo>
                      <a:pt x="316" y="331"/>
                    </a:lnTo>
                    <a:lnTo>
                      <a:pt x="328" y="320"/>
                    </a:lnTo>
                    <a:lnTo>
                      <a:pt x="338" y="308"/>
                    </a:lnTo>
                    <a:lnTo>
                      <a:pt x="347" y="296"/>
                    </a:lnTo>
                    <a:lnTo>
                      <a:pt x="356" y="281"/>
                    </a:lnTo>
                    <a:lnTo>
                      <a:pt x="363" y="269"/>
                    </a:lnTo>
                    <a:lnTo>
                      <a:pt x="369" y="253"/>
                    </a:lnTo>
                    <a:lnTo>
                      <a:pt x="374" y="238"/>
                    </a:lnTo>
                    <a:lnTo>
                      <a:pt x="377" y="223"/>
                    </a:lnTo>
                    <a:lnTo>
                      <a:pt x="380" y="206"/>
                    </a:lnTo>
                    <a:lnTo>
                      <a:pt x="380" y="19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5" name="Freeform 229"/>
              <p:cNvSpPr>
                <a:spLocks/>
              </p:cNvSpPr>
              <p:nvPr/>
            </p:nvSpPr>
            <p:spPr bwMode="auto">
              <a:xfrm>
                <a:off x="6381751" y="4906963"/>
                <a:ext cx="33338" cy="33338"/>
              </a:xfrm>
              <a:custGeom>
                <a:avLst/>
                <a:gdLst>
                  <a:gd name="T0" fmla="*/ 61 w 82"/>
                  <a:gd name="T1" fmla="*/ 4 h 85"/>
                  <a:gd name="T2" fmla="*/ 2 w 82"/>
                  <a:gd name="T3" fmla="*/ 63 h 85"/>
                  <a:gd name="T4" fmla="*/ 0 w 82"/>
                  <a:gd name="T5" fmla="*/ 68 h 85"/>
                  <a:gd name="T6" fmla="*/ 0 w 82"/>
                  <a:gd name="T7" fmla="*/ 73 h 85"/>
                  <a:gd name="T8" fmla="*/ 0 w 82"/>
                  <a:gd name="T9" fmla="*/ 78 h 85"/>
                  <a:gd name="T10" fmla="*/ 3 w 82"/>
                  <a:gd name="T11" fmla="*/ 81 h 85"/>
                  <a:gd name="T12" fmla="*/ 7 w 82"/>
                  <a:gd name="T13" fmla="*/ 83 h 85"/>
                  <a:gd name="T14" fmla="*/ 12 w 82"/>
                  <a:gd name="T15" fmla="*/ 85 h 85"/>
                  <a:gd name="T16" fmla="*/ 16 w 82"/>
                  <a:gd name="T17" fmla="*/ 83 h 85"/>
                  <a:gd name="T18" fmla="*/ 20 w 82"/>
                  <a:gd name="T19" fmla="*/ 81 h 85"/>
                  <a:gd name="T20" fmla="*/ 78 w 82"/>
                  <a:gd name="T21" fmla="*/ 20 h 85"/>
                  <a:gd name="T22" fmla="*/ 81 w 82"/>
                  <a:gd name="T23" fmla="*/ 16 h 85"/>
                  <a:gd name="T24" fmla="*/ 82 w 82"/>
                  <a:gd name="T25" fmla="*/ 12 h 85"/>
                  <a:gd name="T26" fmla="*/ 81 w 82"/>
                  <a:gd name="T27" fmla="*/ 7 h 85"/>
                  <a:gd name="T28" fmla="*/ 78 w 82"/>
                  <a:gd name="T29" fmla="*/ 4 h 85"/>
                  <a:gd name="T30" fmla="*/ 75 w 82"/>
                  <a:gd name="T31" fmla="*/ 0 h 85"/>
                  <a:gd name="T32" fmla="*/ 70 w 82"/>
                  <a:gd name="T33" fmla="*/ 0 h 85"/>
                  <a:gd name="T34" fmla="*/ 66 w 82"/>
                  <a:gd name="T35" fmla="*/ 1 h 85"/>
                  <a:gd name="T36" fmla="*/ 61 w 82"/>
                  <a:gd name="T37" fmla="*/ 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2" h="85">
                    <a:moveTo>
                      <a:pt x="61" y="4"/>
                    </a:moveTo>
                    <a:lnTo>
                      <a:pt x="2" y="63"/>
                    </a:lnTo>
                    <a:lnTo>
                      <a:pt x="0" y="68"/>
                    </a:lnTo>
                    <a:lnTo>
                      <a:pt x="0" y="73"/>
                    </a:lnTo>
                    <a:lnTo>
                      <a:pt x="0" y="78"/>
                    </a:lnTo>
                    <a:lnTo>
                      <a:pt x="3" y="81"/>
                    </a:lnTo>
                    <a:lnTo>
                      <a:pt x="7" y="83"/>
                    </a:lnTo>
                    <a:lnTo>
                      <a:pt x="12" y="85"/>
                    </a:lnTo>
                    <a:lnTo>
                      <a:pt x="16" y="83"/>
                    </a:lnTo>
                    <a:lnTo>
                      <a:pt x="20" y="81"/>
                    </a:lnTo>
                    <a:lnTo>
                      <a:pt x="78" y="20"/>
                    </a:lnTo>
                    <a:lnTo>
                      <a:pt x="81" y="16"/>
                    </a:lnTo>
                    <a:lnTo>
                      <a:pt x="82" y="12"/>
                    </a:lnTo>
                    <a:lnTo>
                      <a:pt x="81" y="7"/>
                    </a:lnTo>
                    <a:lnTo>
                      <a:pt x="78" y="4"/>
                    </a:lnTo>
                    <a:lnTo>
                      <a:pt x="75" y="0"/>
                    </a:lnTo>
                    <a:lnTo>
                      <a:pt x="70" y="0"/>
                    </a:lnTo>
                    <a:lnTo>
                      <a:pt x="66" y="1"/>
                    </a:lnTo>
                    <a:lnTo>
                      <a:pt x="61" y="4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6" name="Rectangle 230"/>
              <p:cNvSpPr>
                <a:spLocks noChangeArrowheads="1"/>
              </p:cNvSpPr>
              <p:nvPr/>
            </p:nvSpPr>
            <p:spPr bwMode="auto">
              <a:xfrm>
                <a:off x="6030913" y="4935538"/>
                <a:ext cx="80963" cy="2540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7" name="Rectangle 231"/>
              <p:cNvSpPr>
                <a:spLocks noChangeArrowheads="1"/>
              </p:cNvSpPr>
              <p:nvPr/>
            </p:nvSpPr>
            <p:spPr bwMode="auto">
              <a:xfrm>
                <a:off x="5919788" y="5089526"/>
                <a:ext cx="304800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8" name="Rectangle 232"/>
              <p:cNvSpPr>
                <a:spLocks noChangeArrowheads="1"/>
              </p:cNvSpPr>
              <p:nvPr/>
            </p:nvSpPr>
            <p:spPr bwMode="auto">
              <a:xfrm>
                <a:off x="5686426" y="5089526"/>
                <a:ext cx="141288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29" name="Rectangle 233"/>
              <p:cNvSpPr>
                <a:spLocks noChangeArrowheads="1"/>
              </p:cNvSpPr>
              <p:nvPr/>
            </p:nvSpPr>
            <p:spPr bwMode="auto">
              <a:xfrm>
                <a:off x="6316663" y="5089526"/>
                <a:ext cx="141288" cy="1333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0" name="Rectangle 234"/>
              <p:cNvSpPr>
                <a:spLocks noChangeArrowheads="1"/>
              </p:cNvSpPr>
              <p:nvPr/>
            </p:nvSpPr>
            <p:spPr bwMode="auto">
              <a:xfrm>
                <a:off x="5649913" y="5019676"/>
                <a:ext cx="36513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1" name="Rectangle 235"/>
              <p:cNvSpPr>
                <a:spLocks noChangeArrowheads="1"/>
              </p:cNvSpPr>
              <p:nvPr/>
            </p:nvSpPr>
            <p:spPr bwMode="auto">
              <a:xfrm>
                <a:off x="6457951" y="5019676"/>
                <a:ext cx="36513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2" name="Rectangle 236"/>
              <p:cNvSpPr>
                <a:spLocks noChangeArrowheads="1"/>
              </p:cNvSpPr>
              <p:nvPr/>
            </p:nvSpPr>
            <p:spPr bwMode="auto">
              <a:xfrm>
                <a:off x="5827713" y="5019676"/>
                <a:ext cx="92075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3" name="Rectangle 237"/>
              <p:cNvSpPr>
                <a:spLocks noChangeArrowheads="1"/>
              </p:cNvSpPr>
              <p:nvPr/>
            </p:nvSpPr>
            <p:spPr bwMode="auto">
              <a:xfrm>
                <a:off x="6224588" y="5019676"/>
                <a:ext cx="92075" cy="273050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4" name="Rectangle 238"/>
              <p:cNvSpPr>
                <a:spLocks noChangeArrowheads="1"/>
              </p:cNvSpPr>
              <p:nvPr/>
            </p:nvSpPr>
            <p:spPr bwMode="auto">
              <a:xfrm>
                <a:off x="5994401" y="4960938"/>
                <a:ext cx="155575" cy="128588"/>
              </a:xfrm>
              <a:prstGeom prst="rect">
                <a:avLst/>
              </a:pr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5" name="Rectangle 239"/>
              <p:cNvSpPr>
                <a:spLocks noChangeArrowheads="1"/>
              </p:cNvSpPr>
              <p:nvPr/>
            </p:nvSpPr>
            <p:spPr bwMode="auto">
              <a:xfrm>
                <a:off x="5943601" y="4648201"/>
                <a:ext cx="257175" cy="260350"/>
              </a:xfrm>
              <a:prstGeom prst="rect">
                <a:avLst/>
              </a:prstGeom>
              <a:solidFill>
                <a:srgbClr val="2FB2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6" name="Freeform 240"/>
              <p:cNvSpPr>
                <a:spLocks noEditPoints="1"/>
              </p:cNvSpPr>
              <p:nvPr/>
            </p:nvSpPr>
            <p:spPr bwMode="auto">
              <a:xfrm>
                <a:off x="5915026" y="4621213"/>
                <a:ext cx="312738" cy="314325"/>
              </a:xfrm>
              <a:custGeom>
                <a:avLst/>
                <a:gdLst>
                  <a:gd name="T0" fmla="*/ 70 w 788"/>
                  <a:gd name="T1" fmla="*/ 723 h 794"/>
                  <a:gd name="T2" fmla="*/ 719 w 788"/>
                  <a:gd name="T3" fmla="*/ 723 h 794"/>
                  <a:gd name="T4" fmla="*/ 719 w 788"/>
                  <a:gd name="T5" fmla="*/ 70 h 794"/>
                  <a:gd name="T6" fmla="*/ 70 w 788"/>
                  <a:gd name="T7" fmla="*/ 70 h 794"/>
                  <a:gd name="T8" fmla="*/ 70 w 788"/>
                  <a:gd name="T9" fmla="*/ 723 h 794"/>
                  <a:gd name="T10" fmla="*/ 727 w 788"/>
                  <a:gd name="T11" fmla="*/ 794 h 794"/>
                  <a:gd name="T12" fmla="*/ 62 w 788"/>
                  <a:gd name="T13" fmla="*/ 794 h 794"/>
                  <a:gd name="T14" fmla="*/ 56 w 788"/>
                  <a:gd name="T15" fmla="*/ 793 h 794"/>
                  <a:gd name="T16" fmla="*/ 49 w 788"/>
                  <a:gd name="T17" fmla="*/ 793 h 794"/>
                  <a:gd name="T18" fmla="*/ 43 w 788"/>
                  <a:gd name="T19" fmla="*/ 790 h 794"/>
                  <a:gd name="T20" fmla="*/ 37 w 788"/>
                  <a:gd name="T21" fmla="*/ 788 h 794"/>
                  <a:gd name="T22" fmla="*/ 27 w 788"/>
                  <a:gd name="T23" fmla="*/ 783 h 794"/>
                  <a:gd name="T24" fmla="*/ 19 w 788"/>
                  <a:gd name="T25" fmla="*/ 775 h 794"/>
                  <a:gd name="T26" fmla="*/ 10 w 788"/>
                  <a:gd name="T27" fmla="*/ 766 h 794"/>
                  <a:gd name="T28" fmla="*/ 5 w 788"/>
                  <a:gd name="T29" fmla="*/ 755 h 794"/>
                  <a:gd name="T30" fmla="*/ 2 w 788"/>
                  <a:gd name="T31" fmla="*/ 749 h 794"/>
                  <a:gd name="T32" fmla="*/ 1 w 788"/>
                  <a:gd name="T33" fmla="*/ 743 h 794"/>
                  <a:gd name="T34" fmla="*/ 0 w 788"/>
                  <a:gd name="T35" fmla="*/ 737 h 794"/>
                  <a:gd name="T36" fmla="*/ 0 w 788"/>
                  <a:gd name="T37" fmla="*/ 732 h 794"/>
                  <a:gd name="T38" fmla="*/ 0 w 788"/>
                  <a:gd name="T39" fmla="*/ 62 h 794"/>
                  <a:gd name="T40" fmla="*/ 0 w 788"/>
                  <a:gd name="T41" fmla="*/ 55 h 794"/>
                  <a:gd name="T42" fmla="*/ 1 w 788"/>
                  <a:gd name="T43" fmla="*/ 49 h 794"/>
                  <a:gd name="T44" fmla="*/ 2 w 788"/>
                  <a:gd name="T45" fmla="*/ 43 h 794"/>
                  <a:gd name="T46" fmla="*/ 5 w 788"/>
                  <a:gd name="T47" fmla="*/ 37 h 794"/>
                  <a:gd name="T48" fmla="*/ 10 w 788"/>
                  <a:gd name="T49" fmla="*/ 27 h 794"/>
                  <a:gd name="T50" fmla="*/ 19 w 788"/>
                  <a:gd name="T51" fmla="*/ 17 h 794"/>
                  <a:gd name="T52" fmla="*/ 27 w 788"/>
                  <a:gd name="T53" fmla="*/ 10 h 794"/>
                  <a:gd name="T54" fmla="*/ 37 w 788"/>
                  <a:gd name="T55" fmla="*/ 5 h 794"/>
                  <a:gd name="T56" fmla="*/ 43 w 788"/>
                  <a:gd name="T57" fmla="*/ 2 h 794"/>
                  <a:gd name="T58" fmla="*/ 49 w 788"/>
                  <a:gd name="T59" fmla="*/ 1 h 794"/>
                  <a:gd name="T60" fmla="*/ 56 w 788"/>
                  <a:gd name="T61" fmla="*/ 0 h 794"/>
                  <a:gd name="T62" fmla="*/ 62 w 788"/>
                  <a:gd name="T63" fmla="*/ 0 h 794"/>
                  <a:gd name="T64" fmla="*/ 727 w 788"/>
                  <a:gd name="T65" fmla="*/ 0 h 794"/>
                  <a:gd name="T66" fmla="*/ 733 w 788"/>
                  <a:gd name="T67" fmla="*/ 0 h 794"/>
                  <a:gd name="T68" fmla="*/ 739 w 788"/>
                  <a:gd name="T69" fmla="*/ 1 h 794"/>
                  <a:gd name="T70" fmla="*/ 746 w 788"/>
                  <a:gd name="T71" fmla="*/ 2 h 794"/>
                  <a:gd name="T72" fmla="*/ 750 w 788"/>
                  <a:gd name="T73" fmla="*/ 5 h 794"/>
                  <a:gd name="T74" fmla="*/ 761 w 788"/>
                  <a:gd name="T75" fmla="*/ 10 h 794"/>
                  <a:gd name="T76" fmla="*/ 770 w 788"/>
                  <a:gd name="T77" fmla="*/ 17 h 794"/>
                  <a:gd name="T78" fmla="*/ 777 w 788"/>
                  <a:gd name="T79" fmla="*/ 27 h 794"/>
                  <a:gd name="T80" fmla="*/ 783 w 788"/>
                  <a:gd name="T81" fmla="*/ 37 h 794"/>
                  <a:gd name="T82" fmla="*/ 786 w 788"/>
                  <a:gd name="T83" fmla="*/ 43 h 794"/>
                  <a:gd name="T84" fmla="*/ 787 w 788"/>
                  <a:gd name="T85" fmla="*/ 49 h 794"/>
                  <a:gd name="T86" fmla="*/ 788 w 788"/>
                  <a:gd name="T87" fmla="*/ 55 h 794"/>
                  <a:gd name="T88" fmla="*/ 788 w 788"/>
                  <a:gd name="T89" fmla="*/ 62 h 794"/>
                  <a:gd name="T90" fmla="*/ 788 w 788"/>
                  <a:gd name="T91" fmla="*/ 732 h 794"/>
                  <a:gd name="T92" fmla="*/ 788 w 788"/>
                  <a:gd name="T93" fmla="*/ 737 h 794"/>
                  <a:gd name="T94" fmla="*/ 787 w 788"/>
                  <a:gd name="T95" fmla="*/ 743 h 794"/>
                  <a:gd name="T96" fmla="*/ 786 w 788"/>
                  <a:gd name="T97" fmla="*/ 749 h 794"/>
                  <a:gd name="T98" fmla="*/ 783 w 788"/>
                  <a:gd name="T99" fmla="*/ 755 h 794"/>
                  <a:gd name="T100" fmla="*/ 777 w 788"/>
                  <a:gd name="T101" fmla="*/ 766 h 794"/>
                  <a:gd name="T102" fmla="*/ 770 w 788"/>
                  <a:gd name="T103" fmla="*/ 775 h 794"/>
                  <a:gd name="T104" fmla="*/ 761 w 788"/>
                  <a:gd name="T105" fmla="*/ 783 h 794"/>
                  <a:gd name="T106" fmla="*/ 750 w 788"/>
                  <a:gd name="T107" fmla="*/ 788 h 794"/>
                  <a:gd name="T108" fmla="*/ 746 w 788"/>
                  <a:gd name="T109" fmla="*/ 790 h 794"/>
                  <a:gd name="T110" fmla="*/ 739 w 788"/>
                  <a:gd name="T111" fmla="*/ 793 h 794"/>
                  <a:gd name="T112" fmla="*/ 733 w 788"/>
                  <a:gd name="T113" fmla="*/ 793 h 794"/>
                  <a:gd name="T114" fmla="*/ 727 w 788"/>
                  <a:gd name="T115" fmla="*/ 794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8" h="794">
                    <a:moveTo>
                      <a:pt x="70" y="723"/>
                    </a:moveTo>
                    <a:lnTo>
                      <a:pt x="719" y="723"/>
                    </a:lnTo>
                    <a:lnTo>
                      <a:pt x="719" y="70"/>
                    </a:lnTo>
                    <a:lnTo>
                      <a:pt x="70" y="70"/>
                    </a:lnTo>
                    <a:lnTo>
                      <a:pt x="70" y="723"/>
                    </a:lnTo>
                    <a:close/>
                    <a:moveTo>
                      <a:pt x="727" y="794"/>
                    </a:moveTo>
                    <a:lnTo>
                      <a:pt x="62" y="794"/>
                    </a:lnTo>
                    <a:lnTo>
                      <a:pt x="56" y="793"/>
                    </a:lnTo>
                    <a:lnTo>
                      <a:pt x="49" y="793"/>
                    </a:lnTo>
                    <a:lnTo>
                      <a:pt x="43" y="790"/>
                    </a:lnTo>
                    <a:lnTo>
                      <a:pt x="37" y="788"/>
                    </a:lnTo>
                    <a:lnTo>
                      <a:pt x="27" y="783"/>
                    </a:lnTo>
                    <a:lnTo>
                      <a:pt x="19" y="775"/>
                    </a:lnTo>
                    <a:lnTo>
                      <a:pt x="10" y="766"/>
                    </a:lnTo>
                    <a:lnTo>
                      <a:pt x="5" y="755"/>
                    </a:lnTo>
                    <a:lnTo>
                      <a:pt x="2" y="749"/>
                    </a:lnTo>
                    <a:lnTo>
                      <a:pt x="1" y="743"/>
                    </a:lnTo>
                    <a:lnTo>
                      <a:pt x="0" y="737"/>
                    </a:lnTo>
                    <a:lnTo>
                      <a:pt x="0" y="732"/>
                    </a:lnTo>
                    <a:lnTo>
                      <a:pt x="0" y="62"/>
                    </a:lnTo>
                    <a:lnTo>
                      <a:pt x="0" y="55"/>
                    </a:lnTo>
                    <a:lnTo>
                      <a:pt x="1" y="49"/>
                    </a:lnTo>
                    <a:lnTo>
                      <a:pt x="2" y="43"/>
                    </a:lnTo>
                    <a:lnTo>
                      <a:pt x="5" y="37"/>
                    </a:lnTo>
                    <a:lnTo>
                      <a:pt x="10" y="27"/>
                    </a:lnTo>
                    <a:lnTo>
                      <a:pt x="19" y="17"/>
                    </a:lnTo>
                    <a:lnTo>
                      <a:pt x="27" y="10"/>
                    </a:lnTo>
                    <a:lnTo>
                      <a:pt x="37" y="5"/>
                    </a:lnTo>
                    <a:lnTo>
                      <a:pt x="43" y="2"/>
                    </a:lnTo>
                    <a:lnTo>
                      <a:pt x="49" y="1"/>
                    </a:lnTo>
                    <a:lnTo>
                      <a:pt x="56" y="0"/>
                    </a:lnTo>
                    <a:lnTo>
                      <a:pt x="62" y="0"/>
                    </a:lnTo>
                    <a:lnTo>
                      <a:pt x="727" y="0"/>
                    </a:lnTo>
                    <a:lnTo>
                      <a:pt x="733" y="0"/>
                    </a:lnTo>
                    <a:lnTo>
                      <a:pt x="739" y="1"/>
                    </a:lnTo>
                    <a:lnTo>
                      <a:pt x="746" y="2"/>
                    </a:lnTo>
                    <a:lnTo>
                      <a:pt x="750" y="5"/>
                    </a:lnTo>
                    <a:lnTo>
                      <a:pt x="761" y="10"/>
                    </a:lnTo>
                    <a:lnTo>
                      <a:pt x="770" y="17"/>
                    </a:lnTo>
                    <a:lnTo>
                      <a:pt x="777" y="27"/>
                    </a:lnTo>
                    <a:lnTo>
                      <a:pt x="783" y="37"/>
                    </a:lnTo>
                    <a:lnTo>
                      <a:pt x="786" y="43"/>
                    </a:lnTo>
                    <a:lnTo>
                      <a:pt x="787" y="49"/>
                    </a:lnTo>
                    <a:lnTo>
                      <a:pt x="788" y="55"/>
                    </a:lnTo>
                    <a:lnTo>
                      <a:pt x="788" y="62"/>
                    </a:lnTo>
                    <a:lnTo>
                      <a:pt x="788" y="732"/>
                    </a:lnTo>
                    <a:lnTo>
                      <a:pt x="788" y="737"/>
                    </a:lnTo>
                    <a:lnTo>
                      <a:pt x="787" y="743"/>
                    </a:lnTo>
                    <a:lnTo>
                      <a:pt x="786" y="749"/>
                    </a:lnTo>
                    <a:lnTo>
                      <a:pt x="783" y="755"/>
                    </a:lnTo>
                    <a:lnTo>
                      <a:pt x="777" y="766"/>
                    </a:lnTo>
                    <a:lnTo>
                      <a:pt x="770" y="775"/>
                    </a:lnTo>
                    <a:lnTo>
                      <a:pt x="761" y="783"/>
                    </a:lnTo>
                    <a:lnTo>
                      <a:pt x="750" y="788"/>
                    </a:lnTo>
                    <a:lnTo>
                      <a:pt x="746" y="790"/>
                    </a:lnTo>
                    <a:lnTo>
                      <a:pt x="739" y="793"/>
                    </a:lnTo>
                    <a:lnTo>
                      <a:pt x="733" y="793"/>
                    </a:lnTo>
                    <a:lnTo>
                      <a:pt x="727" y="794"/>
                    </a:lnTo>
                    <a:close/>
                  </a:path>
                </a:pathLst>
              </a:custGeom>
              <a:solidFill>
                <a:srgbClr val="0671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7" name="Freeform 241"/>
              <p:cNvSpPr>
                <a:spLocks noEditPoints="1"/>
              </p:cNvSpPr>
              <p:nvPr/>
            </p:nvSpPr>
            <p:spPr bwMode="auto">
              <a:xfrm>
                <a:off x="5645151" y="4616451"/>
                <a:ext cx="854075" cy="681038"/>
              </a:xfrm>
              <a:custGeom>
                <a:avLst/>
                <a:gdLst>
                  <a:gd name="T0" fmla="*/ 2131 w 2155"/>
                  <a:gd name="T1" fmla="*/ 1693 h 1716"/>
                  <a:gd name="T2" fmla="*/ 1704 w 2155"/>
                  <a:gd name="T3" fmla="*/ 1516 h 1716"/>
                  <a:gd name="T4" fmla="*/ 1679 w 2155"/>
                  <a:gd name="T5" fmla="*/ 1693 h 1716"/>
                  <a:gd name="T6" fmla="*/ 705 w 2155"/>
                  <a:gd name="T7" fmla="*/ 1516 h 1716"/>
                  <a:gd name="T8" fmla="*/ 682 w 2155"/>
                  <a:gd name="T9" fmla="*/ 1693 h 1716"/>
                  <a:gd name="T10" fmla="*/ 118 w 2155"/>
                  <a:gd name="T11" fmla="*/ 1516 h 1716"/>
                  <a:gd name="T12" fmla="*/ 93 w 2155"/>
                  <a:gd name="T13" fmla="*/ 1693 h 1716"/>
                  <a:gd name="T14" fmla="*/ 891 w 2155"/>
                  <a:gd name="T15" fmla="*/ 881 h 1716"/>
                  <a:gd name="T16" fmla="*/ 985 w 2155"/>
                  <a:gd name="T17" fmla="*/ 818 h 1716"/>
                  <a:gd name="T18" fmla="*/ 703 w 2155"/>
                  <a:gd name="T19" fmla="*/ 46 h 1716"/>
                  <a:gd name="T20" fmla="*/ 744 w 2155"/>
                  <a:gd name="T21" fmla="*/ 24 h 1716"/>
                  <a:gd name="T22" fmla="*/ 1444 w 2155"/>
                  <a:gd name="T23" fmla="*/ 39 h 1716"/>
                  <a:gd name="T24" fmla="*/ 1458 w 2155"/>
                  <a:gd name="T25" fmla="*/ 744 h 1716"/>
                  <a:gd name="T26" fmla="*/ 1437 w 2155"/>
                  <a:gd name="T27" fmla="*/ 785 h 1716"/>
                  <a:gd name="T28" fmla="*/ 734 w 2155"/>
                  <a:gd name="T29" fmla="*/ 792 h 1716"/>
                  <a:gd name="T30" fmla="*/ 698 w 2155"/>
                  <a:gd name="T31" fmla="*/ 762 h 1716"/>
                  <a:gd name="T32" fmla="*/ 2044 w 2155"/>
                  <a:gd name="T33" fmla="*/ 1007 h 1716"/>
                  <a:gd name="T34" fmla="*/ 1704 w 2155"/>
                  <a:gd name="T35" fmla="*/ 1182 h 1716"/>
                  <a:gd name="T36" fmla="*/ 1692 w 2155"/>
                  <a:gd name="T37" fmla="*/ 1006 h 1716"/>
                  <a:gd name="T38" fmla="*/ 1448 w 2155"/>
                  <a:gd name="T39" fmla="*/ 1018 h 1716"/>
                  <a:gd name="T40" fmla="*/ 1282 w 2155"/>
                  <a:gd name="T41" fmla="*/ 860 h 1716"/>
                  <a:gd name="T42" fmla="*/ 1409 w 2155"/>
                  <a:gd name="T43" fmla="*/ 818 h 1716"/>
                  <a:gd name="T44" fmla="*/ 1444 w 2155"/>
                  <a:gd name="T45" fmla="*/ 808 h 1716"/>
                  <a:gd name="T46" fmla="*/ 1470 w 2155"/>
                  <a:gd name="T47" fmla="*/ 785 h 1716"/>
                  <a:gd name="T48" fmla="*/ 1483 w 2155"/>
                  <a:gd name="T49" fmla="*/ 751 h 1716"/>
                  <a:gd name="T50" fmla="*/ 1479 w 2155"/>
                  <a:gd name="T51" fmla="*/ 52 h 1716"/>
                  <a:gd name="T52" fmla="*/ 1462 w 2155"/>
                  <a:gd name="T53" fmla="*/ 21 h 1716"/>
                  <a:gd name="T54" fmla="*/ 1431 w 2155"/>
                  <a:gd name="T55" fmla="*/ 4 h 1716"/>
                  <a:gd name="T56" fmla="*/ 737 w 2155"/>
                  <a:gd name="T57" fmla="*/ 0 h 1716"/>
                  <a:gd name="T58" fmla="*/ 703 w 2155"/>
                  <a:gd name="T59" fmla="*/ 13 h 1716"/>
                  <a:gd name="T60" fmla="*/ 678 w 2155"/>
                  <a:gd name="T61" fmla="*/ 39 h 1716"/>
                  <a:gd name="T62" fmla="*/ 670 w 2155"/>
                  <a:gd name="T63" fmla="*/ 74 h 1716"/>
                  <a:gd name="T64" fmla="*/ 676 w 2155"/>
                  <a:gd name="T65" fmla="*/ 772 h 1716"/>
                  <a:gd name="T66" fmla="*/ 697 w 2155"/>
                  <a:gd name="T67" fmla="*/ 800 h 1716"/>
                  <a:gd name="T68" fmla="*/ 729 w 2155"/>
                  <a:gd name="T69" fmla="*/ 816 h 1716"/>
                  <a:gd name="T70" fmla="*/ 879 w 2155"/>
                  <a:gd name="T71" fmla="*/ 856 h 1716"/>
                  <a:gd name="T72" fmla="*/ 867 w 2155"/>
                  <a:gd name="T73" fmla="*/ 1182 h 1716"/>
                  <a:gd name="T74" fmla="*/ 698 w 2155"/>
                  <a:gd name="T75" fmla="*/ 1007 h 1716"/>
                  <a:gd name="T76" fmla="*/ 451 w 2155"/>
                  <a:gd name="T77" fmla="*/ 1014 h 1716"/>
                  <a:gd name="T78" fmla="*/ 117 w 2155"/>
                  <a:gd name="T79" fmla="*/ 1014 h 1716"/>
                  <a:gd name="T80" fmla="*/ 7 w 2155"/>
                  <a:gd name="T81" fmla="*/ 1007 h 1716"/>
                  <a:gd name="T82" fmla="*/ 1 w 2155"/>
                  <a:gd name="T83" fmla="*/ 1709 h 1716"/>
                  <a:gd name="T84" fmla="*/ 111 w 2155"/>
                  <a:gd name="T85" fmla="*/ 1716 h 1716"/>
                  <a:gd name="T86" fmla="*/ 449 w 2155"/>
                  <a:gd name="T87" fmla="*/ 1541 h 1716"/>
                  <a:gd name="T88" fmla="*/ 461 w 2155"/>
                  <a:gd name="T89" fmla="*/ 1716 h 1716"/>
                  <a:gd name="T90" fmla="*/ 705 w 2155"/>
                  <a:gd name="T91" fmla="*/ 1704 h 1716"/>
                  <a:gd name="T92" fmla="*/ 1451 w 2155"/>
                  <a:gd name="T93" fmla="*/ 1713 h 1716"/>
                  <a:gd name="T94" fmla="*/ 1700 w 2155"/>
                  <a:gd name="T95" fmla="*/ 1713 h 1716"/>
                  <a:gd name="T96" fmla="*/ 2036 w 2155"/>
                  <a:gd name="T97" fmla="*/ 1704 h 1716"/>
                  <a:gd name="T98" fmla="*/ 2143 w 2155"/>
                  <a:gd name="T99" fmla="*/ 1716 h 1716"/>
                  <a:gd name="T100" fmla="*/ 2155 w 2155"/>
                  <a:gd name="T101" fmla="*/ 1018 h 1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55" h="1716">
                    <a:moveTo>
                      <a:pt x="2131" y="1693"/>
                    </a:moveTo>
                    <a:lnTo>
                      <a:pt x="2061" y="1693"/>
                    </a:lnTo>
                    <a:lnTo>
                      <a:pt x="2061" y="1030"/>
                    </a:lnTo>
                    <a:lnTo>
                      <a:pt x="2131" y="1030"/>
                    </a:lnTo>
                    <a:lnTo>
                      <a:pt x="2131" y="1693"/>
                    </a:lnTo>
                    <a:close/>
                    <a:moveTo>
                      <a:pt x="1704" y="1516"/>
                    </a:moveTo>
                    <a:lnTo>
                      <a:pt x="1704" y="1206"/>
                    </a:lnTo>
                    <a:lnTo>
                      <a:pt x="2036" y="1206"/>
                    </a:lnTo>
                    <a:lnTo>
                      <a:pt x="2036" y="1516"/>
                    </a:lnTo>
                    <a:lnTo>
                      <a:pt x="1704" y="1516"/>
                    </a:lnTo>
                    <a:close/>
                    <a:moveTo>
                      <a:pt x="1679" y="1693"/>
                    </a:moveTo>
                    <a:lnTo>
                      <a:pt x="1471" y="1693"/>
                    </a:lnTo>
                    <a:lnTo>
                      <a:pt x="1471" y="1030"/>
                    </a:lnTo>
                    <a:lnTo>
                      <a:pt x="1679" y="1030"/>
                    </a:lnTo>
                    <a:lnTo>
                      <a:pt x="1679" y="1693"/>
                    </a:lnTo>
                    <a:close/>
                    <a:moveTo>
                      <a:pt x="705" y="1516"/>
                    </a:moveTo>
                    <a:lnTo>
                      <a:pt x="705" y="1206"/>
                    </a:lnTo>
                    <a:lnTo>
                      <a:pt x="1448" y="1206"/>
                    </a:lnTo>
                    <a:lnTo>
                      <a:pt x="1448" y="1516"/>
                    </a:lnTo>
                    <a:lnTo>
                      <a:pt x="705" y="1516"/>
                    </a:lnTo>
                    <a:close/>
                    <a:moveTo>
                      <a:pt x="682" y="1693"/>
                    </a:moveTo>
                    <a:lnTo>
                      <a:pt x="473" y="1693"/>
                    </a:lnTo>
                    <a:lnTo>
                      <a:pt x="473" y="1030"/>
                    </a:lnTo>
                    <a:lnTo>
                      <a:pt x="682" y="1030"/>
                    </a:lnTo>
                    <a:lnTo>
                      <a:pt x="682" y="1693"/>
                    </a:lnTo>
                    <a:close/>
                    <a:moveTo>
                      <a:pt x="118" y="1516"/>
                    </a:moveTo>
                    <a:lnTo>
                      <a:pt x="118" y="1206"/>
                    </a:lnTo>
                    <a:lnTo>
                      <a:pt x="449" y="1206"/>
                    </a:lnTo>
                    <a:lnTo>
                      <a:pt x="449" y="1516"/>
                    </a:lnTo>
                    <a:lnTo>
                      <a:pt x="118" y="1516"/>
                    </a:lnTo>
                    <a:close/>
                    <a:moveTo>
                      <a:pt x="93" y="1693"/>
                    </a:moveTo>
                    <a:lnTo>
                      <a:pt x="24" y="1693"/>
                    </a:lnTo>
                    <a:lnTo>
                      <a:pt x="24" y="1030"/>
                    </a:lnTo>
                    <a:lnTo>
                      <a:pt x="93" y="1030"/>
                    </a:lnTo>
                    <a:lnTo>
                      <a:pt x="93" y="1693"/>
                    </a:lnTo>
                    <a:close/>
                    <a:moveTo>
                      <a:pt x="891" y="881"/>
                    </a:moveTo>
                    <a:lnTo>
                      <a:pt x="1261" y="881"/>
                    </a:lnTo>
                    <a:lnTo>
                      <a:pt x="1261" y="1182"/>
                    </a:lnTo>
                    <a:lnTo>
                      <a:pt x="891" y="1182"/>
                    </a:lnTo>
                    <a:lnTo>
                      <a:pt x="891" y="881"/>
                    </a:lnTo>
                    <a:close/>
                    <a:moveTo>
                      <a:pt x="985" y="818"/>
                    </a:moveTo>
                    <a:lnTo>
                      <a:pt x="1167" y="818"/>
                    </a:lnTo>
                    <a:lnTo>
                      <a:pt x="1167" y="856"/>
                    </a:lnTo>
                    <a:lnTo>
                      <a:pt x="985" y="856"/>
                    </a:lnTo>
                    <a:lnTo>
                      <a:pt x="985" y="818"/>
                    </a:lnTo>
                    <a:close/>
                    <a:moveTo>
                      <a:pt x="694" y="744"/>
                    </a:moveTo>
                    <a:lnTo>
                      <a:pt x="694" y="74"/>
                    </a:lnTo>
                    <a:lnTo>
                      <a:pt x="695" y="64"/>
                    </a:lnTo>
                    <a:lnTo>
                      <a:pt x="698" y="54"/>
                    </a:lnTo>
                    <a:lnTo>
                      <a:pt x="703" y="46"/>
                    </a:lnTo>
                    <a:lnTo>
                      <a:pt x="709" y="39"/>
                    </a:lnTo>
                    <a:lnTo>
                      <a:pt x="716" y="32"/>
                    </a:lnTo>
                    <a:lnTo>
                      <a:pt x="724" y="28"/>
                    </a:lnTo>
                    <a:lnTo>
                      <a:pt x="734" y="25"/>
                    </a:lnTo>
                    <a:lnTo>
                      <a:pt x="744" y="24"/>
                    </a:lnTo>
                    <a:lnTo>
                      <a:pt x="1409" y="24"/>
                    </a:lnTo>
                    <a:lnTo>
                      <a:pt x="1418" y="25"/>
                    </a:lnTo>
                    <a:lnTo>
                      <a:pt x="1428" y="28"/>
                    </a:lnTo>
                    <a:lnTo>
                      <a:pt x="1437" y="32"/>
                    </a:lnTo>
                    <a:lnTo>
                      <a:pt x="1444" y="39"/>
                    </a:lnTo>
                    <a:lnTo>
                      <a:pt x="1450" y="46"/>
                    </a:lnTo>
                    <a:lnTo>
                      <a:pt x="1455" y="54"/>
                    </a:lnTo>
                    <a:lnTo>
                      <a:pt x="1458" y="64"/>
                    </a:lnTo>
                    <a:lnTo>
                      <a:pt x="1458" y="74"/>
                    </a:lnTo>
                    <a:lnTo>
                      <a:pt x="1458" y="744"/>
                    </a:lnTo>
                    <a:lnTo>
                      <a:pt x="1458" y="753"/>
                    </a:lnTo>
                    <a:lnTo>
                      <a:pt x="1455" y="762"/>
                    </a:lnTo>
                    <a:lnTo>
                      <a:pt x="1450" y="771"/>
                    </a:lnTo>
                    <a:lnTo>
                      <a:pt x="1444" y="779"/>
                    </a:lnTo>
                    <a:lnTo>
                      <a:pt x="1437" y="785"/>
                    </a:lnTo>
                    <a:lnTo>
                      <a:pt x="1428" y="789"/>
                    </a:lnTo>
                    <a:lnTo>
                      <a:pt x="1418" y="792"/>
                    </a:lnTo>
                    <a:lnTo>
                      <a:pt x="1409" y="793"/>
                    </a:lnTo>
                    <a:lnTo>
                      <a:pt x="744" y="793"/>
                    </a:lnTo>
                    <a:lnTo>
                      <a:pt x="734" y="792"/>
                    </a:lnTo>
                    <a:lnTo>
                      <a:pt x="724" y="789"/>
                    </a:lnTo>
                    <a:lnTo>
                      <a:pt x="716" y="785"/>
                    </a:lnTo>
                    <a:lnTo>
                      <a:pt x="709" y="779"/>
                    </a:lnTo>
                    <a:lnTo>
                      <a:pt x="703" y="771"/>
                    </a:lnTo>
                    <a:lnTo>
                      <a:pt x="698" y="762"/>
                    </a:lnTo>
                    <a:lnTo>
                      <a:pt x="695" y="753"/>
                    </a:lnTo>
                    <a:lnTo>
                      <a:pt x="694" y="744"/>
                    </a:lnTo>
                    <a:close/>
                    <a:moveTo>
                      <a:pt x="2143" y="1006"/>
                    </a:moveTo>
                    <a:lnTo>
                      <a:pt x="2049" y="1006"/>
                    </a:lnTo>
                    <a:lnTo>
                      <a:pt x="2044" y="1007"/>
                    </a:lnTo>
                    <a:lnTo>
                      <a:pt x="2041" y="1009"/>
                    </a:lnTo>
                    <a:lnTo>
                      <a:pt x="2037" y="1014"/>
                    </a:lnTo>
                    <a:lnTo>
                      <a:pt x="2036" y="1018"/>
                    </a:lnTo>
                    <a:lnTo>
                      <a:pt x="2036" y="1182"/>
                    </a:lnTo>
                    <a:lnTo>
                      <a:pt x="1704" y="1182"/>
                    </a:lnTo>
                    <a:lnTo>
                      <a:pt x="1704" y="1018"/>
                    </a:lnTo>
                    <a:lnTo>
                      <a:pt x="1703" y="1014"/>
                    </a:lnTo>
                    <a:lnTo>
                      <a:pt x="1700" y="1009"/>
                    </a:lnTo>
                    <a:lnTo>
                      <a:pt x="1697" y="1007"/>
                    </a:lnTo>
                    <a:lnTo>
                      <a:pt x="1692" y="1006"/>
                    </a:lnTo>
                    <a:lnTo>
                      <a:pt x="1459" y="1006"/>
                    </a:lnTo>
                    <a:lnTo>
                      <a:pt x="1455" y="1007"/>
                    </a:lnTo>
                    <a:lnTo>
                      <a:pt x="1451" y="1009"/>
                    </a:lnTo>
                    <a:lnTo>
                      <a:pt x="1449" y="1014"/>
                    </a:lnTo>
                    <a:lnTo>
                      <a:pt x="1448" y="1018"/>
                    </a:lnTo>
                    <a:lnTo>
                      <a:pt x="1448" y="1182"/>
                    </a:lnTo>
                    <a:lnTo>
                      <a:pt x="1286" y="1182"/>
                    </a:lnTo>
                    <a:lnTo>
                      <a:pt x="1286" y="869"/>
                    </a:lnTo>
                    <a:lnTo>
                      <a:pt x="1284" y="865"/>
                    </a:lnTo>
                    <a:lnTo>
                      <a:pt x="1282" y="860"/>
                    </a:lnTo>
                    <a:lnTo>
                      <a:pt x="1279" y="858"/>
                    </a:lnTo>
                    <a:lnTo>
                      <a:pt x="1273" y="856"/>
                    </a:lnTo>
                    <a:lnTo>
                      <a:pt x="1192" y="856"/>
                    </a:lnTo>
                    <a:lnTo>
                      <a:pt x="1192" y="818"/>
                    </a:lnTo>
                    <a:lnTo>
                      <a:pt x="1409" y="818"/>
                    </a:lnTo>
                    <a:lnTo>
                      <a:pt x="1416" y="816"/>
                    </a:lnTo>
                    <a:lnTo>
                      <a:pt x="1424" y="816"/>
                    </a:lnTo>
                    <a:lnTo>
                      <a:pt x="1431" y="814"/>
                    </a:lnTo>
                    <a:lnTo>
                      <a:pt x="1437" y="812"/>
                    </a:lnTo>
                    <a:lnTo>
                      <a:pt x="1444" y="808"/>
                    </a:lnTo>
                    <a:lnTo>
                      <a:pt x="1450" y="805"/>
                    </a:lnTo>
                    <a:lnTo>
                      <a:pt x="1456" y="800"/>
                    </a:lnTo>
                    <a:lnTo>
                      <a:pt x="1462" y="795"/>
                    </a:lnTo>
                    <a:lnTo>
                      <a:pt x="1466" y="791"/>
                    </a:lnTo>
                    <a:lnTo>
                      <a:pt x="1470" y="785"/>
                    </a:lnTo>
                    <a:lnTo>
                      <a:pt x="1474" y="779"/>
                    </a:lnTo>
                    <a:lnTo>
                      <a:pt x="1477" y="772"/>
                    </a:lnTo>
                    <a:lnTo>
                      <a:pt x="1479" y="765"/>
                    </a:lnTo>
                    <a:lnTo>
                      <a:pt x="1482" y="758"/>
                    </a:lnTo>
                    <a:lnTo>
                      <a:pt x="1483" y="751"/>
                    </a:lnTo>
                    <a:lnTo>
                      <a:pt x="1483" y="744"/>
                    </a:lnTo>
                    <a:lnTo>
                      <a:pt x="1483" y="74"/>
                    </a:lnTo>
                    <a:lnTo>
                      <a:pt x="1483" y="66"/>
                    </a:lnTo>
                    <a:lnTo>
                      <a:pt x="1482" y="59"/>
                    </a:lnTo>
                    <a:lnTo>
                      <a:pt x="1479" y="52"/>
                    </a:lnTo>
                    <a:lnTo>
                      <a:pt x="1477" y="45"/>
                    </a:lnTo>
                    <a:lnTo>
                      <a:pt x="1474" y="39"/>
                    </a:lnTo>
                    <a:lnTo>
                      <a:pt x="1470" y="33"/>
                    </a:lnTo>
                    <a:lnTo>
                      <a:pt x="1466" y="27"/>
                    </a:lnTo>
                    <a:lnTo>
                      <a:pt x="1462" y="21"/>
                    </a:lnTo>
                    <a:lnTo>
                      <a:pt x="1456" y="17"/>
                    </a:lnTo>
                    <a:lnTo>
                      <a:pt x="1450" y="13"/>
                    </a:lnTo>
                    <a:lnTo>
                      <a:pt x="1444" y="8"/>
                    </a:lnTo>
                    <a:lnTo>
                      <a:pt x="1437" y="6"/>
                    </a:lnTo>
                    <a:lnTo>
                      <a:pt x="1431" y="4"/>
                    </a:lnTo>
                    <a:lnTo>
                      <a:pt x="1424" y="1"/>
                    </a:lnTo>
                    <a:lnTo>
                      <a:pt x="1416" y="0"/>
                    </a:lnTo>
                    <a:lnTo>
                      <a:pt x="1409" y="0"/>
                    </a:lnTo>
                    <a:lnTo>
                      <a:pt x="744" y="0"/>
                    </a:lnTo>
                    <a:lnTo>
                      <a:pt x="737" y="0"/>
                    </a:lnTo>
                    <a:lnTo>
                      <a:pt x="729" y="1"/>
                    </a:lnTo>
                    <a:lnTo>
                      <a:pt x="722" y="4"/>
                    </a:lnTo>
                    <a:lnTo>
                      <a:pt x="715" y="6"/>
                    </a:lnTo>
                    <a:lnTo>
                      <a:pt x="709" y="8"/>
                    </a:lnTo>
                    <a:lnTo>
                      <a:pt x="703" y="13"/>
                    </a:lnTo>
                    <a:lnTo>
                      <a:pt x="697" y="17"/>
                    </a:lnTo>
                    <a:lnTo>
                      <a:pt x="691" y="21"/>
                    </a:lnTo>
                    <a:lnTo>
                      <a:pt x="687" y="27"/>
                    </a:lnTo>
                    <a:lnTo>
                      <a:pt x="683" y="33"/>
                    </a:lnTo>
                    <a:lnTo>
                      <a:pt x="678" y="39"/>
                    </a:lnTo>
                    <a:lnTo>
                      <a:pt x="676" y="45"/>
                    </a:lnTo>
                    <a:lnTo>
                      <a:pt x="674" y="52"/>
                    </a:lnTo>
                    <a:lnTo>
                      <a:pt x="671" y="59"/>
                    </a:lnTo>
                    <a:lnTo>
                      <a:pt x="670" y="66"/>
                    </a:lnTo>
                    <a:lnTo>
                      <a:pt x="670" y="74"/>
                    </a:lnTo>
                    <a:lnTo>
                      <a:pt x="670" y="744"/>
                    </a:lnTo>
                    <a:lnTo>
                      <a:pt x="670" y="751"/>
                    </a:lnTo>
                    <a:lnTo>
                      <a:pt x="671" y="758"/>
                    </a:lnTo>
                    <a:lnTo>
                      <a:pt x="674" y="765"/>
                    </a:lnTo>
                    <a:lnTo>
                      <a:pt x="676" y="772"/>
                    </a:lnTo>
                    <a:lnTo>
                      <a:pt x="678" y="779"/>
                    </a:lnTo>
                    <a:lnTo>
                      <a:pt x="683" y="785"/>
                    </a:lnTo>
                    <a:lnTo>
                      <a:pt x="687" y="791"/>
                    </a:lnTo>
                    <a:lnTo>
                      <a:pt x="691" y="795"/>
                    </a:lnTo>
                    <a:lnTo>
                      <a:pt x="697" y="800"/>
                    </a:lnTo>
                    <a:lnTo>
                      <a:pt x="703" y="805"/>
                    </a:lnTo>
                    <a:lnTo>
                      <a:pt x="709" y="808"/>
                    </a:lnTo>
                    <a:lnTo>
                      <a:pt x="715" y="812"/>
                    </a:lnTo>
                    <a:lnTo>
                      <a:pt x="722" y="814"/>
                    </a:lnTo>
                    <a:lnTo>
                      <a:pt x="729" y="816"/>
                    </a:lnTo>
                    <a:lnTo>
                      <a:pt x="737" y="816"/>
                    </a:lnTo>
                    <a:lnTo>
                      <a:pt x="744" y="818"/>
                    </a:lnTo>
                    <a:lnTo>
                      <a:pt x="961" y="818"/>
                    </a:lnTo>
                    <a:lnTo>
                      <a:pt x="961" y="856"/>
                    </a:lnTo>
                    <a:lnTo>
                      <a:pt x="879" y="856"/>
                    </a:lnTo>
                    <a:lnTo>
                      <a:pt x="875" y="858"/>
                    </a:lnTo>
                    <a:lnTo>
                      <a:pt x="871" y="860"/>
                    </a:lnTo>
                    <a:lnTo>
                      <a:pt x="869" y="865"/>
                    </a:lnTo>
                    <a:lnTo>
                      <a:pt x="867" y="869"/>
                    </a:lnTo>
                    <a:lnTo>
                      <a:pt x="867" y="1182"/>
                    </a:lnTo>
                    <a:lnTo>
                      <a:pt x="705" y="1182"/>
                    </a:lnTo>
                    <a:lnTo>
                      <a:pt x="705" y="1018"/>
                    </a:lnTo>
                    <a:lnTo>
                      <a:pt x="704" y="1014"/>
                    </a:lnTo>
                    <a:lnTo>
                      <a:pt x="702" y="1009"/>
                    </a:lnTo>
                    <a:lnTo>
                      <a:pt x="698" y="1007"/>
                    </a:lnTo>
                    <a:lnTo>
                      <a:pt x="694" y="1006"/>
                    </a:lnTo>
                    <a:lnTo>
                      <a:pt x="461" y="1006"/>
                    </a:lnTo>
                    <a:lnTo>
                      <a:pt x="456" y="1007"/>
                    </a:lnTo>
                    <a:lnTo>
                      <a:pt x="453" y="1009"/>
                    </a:lnTo>
                    <a:lnTo>
                      <a:pt x="451" y="1014"/>
                    </a:lnTo>
                    <a:lnTo>
                      <a:pt x="449" y="1018"/>
                    </a:lnTo>
                    <a:lnTo>
                      <a:pt x="449" y="1182"/>
                    </a:lnTo>
                    <a:lnTo>
                      <a:pt x="118" y="1182"/>
                    </a:lnTo>
                    <a:lnTo>
                      <a:pt x="118" y="1018"/>
                    </a:lnTo>
                    <a:lnTo>
                      <a:pt x="117" y="1014"/>
                    </a:lnTo>
                    <a:lnTo>
                      <a:pt x="115" y="1009"/>
                    </a:lnTo>
                    <a:lnTo>
                      <a:pt x="111" y="1007"/>
                    </a:lnTo>
                    <a:lnTo>
                      <a:pt x="105" y="1006"/>
                    </a:lnTo>
                    <a:lnTo>
                      <a:pt x="11" y="1006"/>
                    </a:lnTo>
                    <a:lnTo>
                      <a:pt x="7" y="1007"/>
                    </a:lnTo>
                    <a:lnTo>
                      <a:pt x="3" y="1009"/>
                    </a:lnTo>
                    <a:lnTo>
                      <a:pt x="1" y="1014"/>
                    </a:lnTo>
                    <a:lnTo>
                      <a:pt x="0" y="1018"/>
                    </a:lnTo>
                    <a:lnTo>
                      <a:pt x="0" y="1704"/>
                    </a:lnTo>
                    <a:lnTo>
                      <a:pt x="1" y="1709"/>
                    </a:lnTo>
                    <a:lnTo>
                      <a:pt x="3" y="1713"/>
                    </a:lnTo>
                    <a:lnTo>
                      <a:pt x="7" y="1716"/>
                    </a:lnTo>
                    <a:lnTo>
                      <a:pt x="11" y="1716"/>
                    </a:lnTo>
                    <a:lnTo>
                      <a:pt x="105" y="1716"/>
                    </a:lnTo>
                    <a:lnTo>
                      <a:pt x="111" y="1716"/>
                    </a:lnTo>
                    <a:lnTo>
                      <a:pt x="115" y="1713"/>
                    </a:lnTo>
                    <a:lnTo>
                      <a:pt x="117" y="1709"/>
                    </a:lnTo>
                    <a:lnTo>
                      <a:pt x="118" y="1704"/>
                    </a:lnTo>
                    <a:lnTo>
                      <a:pt x="118" y="1541"/>
                    </a:lnTo>
                    <a:lnTo>
                      <a:pt x="449" y="1541"/>
                    </a:lnTo>
                    <a:lnTo>
                      <a:pt x="449" y="1704"/>
                    </a:lnTo>
                    <a:lnTo>
                      <a:pt x="451" y="1709"/>
                    </a:lnTo>
                    <a:lnTo>
                      <a:pt x="453" y="1713"/>
                    </a:lnTo>
                    <a:lnTo>
                      <a:pt x="456" y="1716"/>
                    </a:lnTo>
                    <a:lnTo>
                      <a:pt x="461" y="1716"/>
                    </a:lnTo>
                    <a:lnTo>
                      <a:pt x="694" y="1716"/>
                    </a:lnTo>
                    <a:lnTo>
                      <a:pt x="698" y="1716"/>
                    </a:lnTo>
                    <a:lnTo>
                      <a:pt x="702" y="1713"/>
                    </a:lnTo>
                    <a:lnTo>
                      <a:pt x="704" y="1709"/>
                    </a:lnTo>
                    <a:lnTo>
                      <a:pt x="705" y="1704"/>
                    </a:lnTo>
                    <a:lnTo>
                      <a:pt x="705" y="1541"/>
                    </a:lnTo>
                    <a:lnTo>
                      <a:pt x="1448" y="1541"/>
                    </a:lnTo>
                    <a:lnTo>
                      <a:pt x="1448" y="1704"/>
                    </a:lnTo>
                    <a:lnTo>
                      <a:pt x="1449" y="1709"/>
                    </a:lnTo>
                    <a:lnTo>
                      <a:pt x="1451" y="1713"/>
                    </a:lnTo>
                    <a:lnTo>
                      <a:pt x="1455" y="1716"/>
                    </a:lnTo>
                    <a:lnTo>
                      <a:pt x="1459" y="1716"/>
                    </a:lnTo>
                    <a:lnTo>
                      <a:pt x="1692" y="1716"/>
                    </a:lnTo>
                    <a:lnTo>
                      <a:pt x="1697" y="1716"/>
                    </a:lnTo>
                    <a:lnTo>
                      <a:pt x="1700" y="1713"/>
                    </a:lnTo>
                    <a:lnTo>
                      <a:pt x="1703" y="1709"/>
                    </a:lnTo>
                    <a:lnTo>
                      <a:pt x="1704" y="1704"/>
                    </a:lnTo>
                    <a:lnTo>
                      <a:pt x="1704" y="1541"/>
                    </a:lnTo>
                    <a:lnTo>
                      <a:pt x="2036" y="1541"/>
                    </a:lnTo>
                    <a:lnTo>
                      <a:pt x="2036" y="1704"/>
                    </a:lnTo>
                    <a:lnTo>
                      <a:pt x="2037" y="1709"/>
                    </a:lnTo>
                    <a:lnTo>
                      <a:pt x="2041" y="1713"/>
                    </a:lnTo>
                    <a:lnTo>
                      <a:pt x="2044" y="1716"/>
                    </a:lnTo>
                    <a:lnTo>
                      <a:pt x="2049" y="1716"/>
                    </a:lnTo>
                    <a:lnTo>
                      <a:pt x="2143" y="1716"/>
                    </a:lnTo>
                    <a:lnTo>
                      <a:pt x="2148" y="1716"/>
                    </a:lnTo>
                    <a:lnTo>
                      <a:pt x="2151" y="1713"/>
                    </a:lnTo>
                    <a:lnTo>
                      <a:pt x="2154" y="1709"/>
                    </a:lnTo>
                    <a:lnTo>
                      <a:pt x="2155" y="1704"/>
                    </a:lnTo>
                    <a:lnTo>
                      <a:pt x="2155" y="1018"/>
                    </a:lnTo>
                    <a:lnTo>
                      <a:pt x="2154" y="1014"/>
                    </a:lnTo>
                    <a:lnTo>
                      <a:pt x="2151" y="1009"/>
                    </a:lnTo>
                    <a:lnTo>
                      <a:pt x="2148" y="1007"/>
                    </a:lnTo>
                    <a:lnTo>
                      <a:pt x="2143" y="100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8" name="Freeform 242"/>
              <p:cNvSpPr>
                <a:spLocks noEditPoints="1"/>
              </p:cNvSpPr>
              <p:nvPr/>
            </p:nvSpPr>
            <p:spPr bwMode="auto">
              <a:xfrm>
                <a:off x="5938838" y="4643438"/>
                <a:ext cx="266700" cy="269875"/>
              </a:xfrm>
              <a:custGeom>
                <a:avLst/>
                <a:gdLst>
                  <a:gd name="T0" fmla="*/ 650 w 673"/>
                  <a:gd name="T1" fmla="*/ 655 h 678"/>
                  <a:gd name="T2" fmla="*/ 25 w 673"/>
                  <a:gd name="T3" fmla="*/ 655 h 678"/>
                  <a:gd name="T4" fmla="*/ 25 w 673"/>
                  <a:gd name="T5" fmla="*/ 25 h 678"/>
                  <a:gd name="T6" fmla="*/ 650 w 673"/>
                  <a:gd name="T7" fmla="*/ 25 h 678"/>
                  <a:gd name="T8" fmla="*/ 650 w 673"/>
                  <a:gd name="T9" fmla="*/ 655 h 678"/>
                  <a:gd name="T10" fmla="*/ 673 w 673"/>
                  <a:gd name="T11" fmla="*/ 666 h 678"/>
                  <a:gd name="T12" fmla="*/ 673 w 673"/>
                  <a:gd name="T13" fmla="*/ 13 h 678"/>
                  <a:gd name="T14" fmla="*/ 673 w 673"/>
                  <a:gd name="T15" fmla="*/ 9 h 678"/>
                  <a:gd name="T16" fmla="*/ 670 w 673"/>
                  <a:gd name="T17" fmla="*/ 4 h 678"/>
                  <a:gd name="T18" fmla="*/ 666 w 673"/>
                  <a:gd name="T19" fmla="*/ 2 h 678"/>
                  <a:gd name="T20" fmla="*/ 662 w 673"/>
                  <a:gd name="T21" fmla="*/ 0 h 678"/>
                  <a:gd name="T22" fmla="*/ 13 w 673"/>
                  <a:gd name="T23" fmla="*/ 0 h 678"/>
                  <a:gd name="T24" fmla="*/ 9 w 673"/>
                  <a:gd name="T25" fmla="*/ 2 h 678"/>
                  <a:gd name="T26" fmla="*/ 5 w 673"/>
                  <a:gd name="T27" fmla="*/ 4 h 678"/>
                  <a:gd name="T28" fmla="*/ 2 w 673"/>
                  <a:gd name="T29" fmla="*/ 9 h 678"/>
                  <a:gd name="T30" fmla="*/ 0 w 673"/>
                  <a:gd name="T31" fmla="*/ 13 h 678"/>
                  <a:gd name="T32" fmla="*/ 0 w 673"/>
                  <a:gd name="T33" fmla="*/ 666 h 678"/>
                  <a:gd name="T34" fmla="*/ 2 w 673"/>
                  <a:gd name="T35" fmla="*/ 671 h 678"/>
                  <a:gd name="T36" fmla="*/ 5 w 673"/>
                  <a:gd name="T37" fmla="*/ 675 h 678"/>
                  <a:gd name="T38" fmla="*/ 9 w 673"/>
                  <a:gd name="T39" fmla="*/ 677 h 678"/>
                  <a:gd name="T40" fmla="*/ 13 w 673"/>
                  <a:gd name="T41" fmla="*/ 678 h 678"/>
                  <a:gd name="T42" fmla="*/ 662 w 673"/>
                  <a:gd name="T43" fmla="*/ 678 h 678"/>
                  <a:gd name="T44" fmla="*/ 666 w 673"/>
                  <a:gd name="T45" fmla="*/ 677 h 678"/>
                  <a:gd name="T46" fmla="*/ 670 w 673"/>
                  <a:gd name="T47" fmla="*/ 675 h 678"/>
                  <a:gd name="T48" fmla="*/ 673 w 673"/>
                  <a:gd name="T49" fmla="*/ 671 h 678"/>
                  <a:gd name="T50" fmla="*/ 673 w 673"/>
                  <a:gd name="T51" fmla="*/ 666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73" h="678">
                    <a:moveTo>
                      <a:pt x="650" y="655"/>
                    </a:moveTo>
                    <a:lnTo>
                      <a:pt x="25" y="655"/>
                    </a:lnTo>
                    <a:lnTo>
                      <a:pt x="25" y="25"/>
                    </a:lnTo>
                    <a:lnTo>
                      <a:pt x="650" y="25"/>
                    </a:lnTo>
                    <a:lnTo>
                      <a:pt x="650" y="655"/>
                    </a:lnTo>
                    <a:close/>
                    <a:moveTo>
                      <a:pt x="673" y="666"/>
                    </a:moveTo>
                    <a:lnTo>
                      <a:pt x="673" y="13"/>
                    </a:lnTo>
                    <a:lnTo>
                      <a:pt x="673" y="9"/>
                    </a:lnTo>
                    <a:lnTo>
                      <a:pt x="670" y="4"/>
                    </a:lnTo>
                    <a:lnTo>
                      <a:pt x="666" y="2"/>
                    </a:lnTo>
                    <a:lnTo>
                      <a:pt x="662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5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666"/>
                    </a:lnTo>
                    <a:lnTo>
                      <a:pt x="2" y="671"/>
                    </a:lnTo>
                    <a:lnTo>
                      <a:pt x="5" y="675"/>
                    </a:lnTo>
                    <a:lnTo>
                      <a:pt x="9" y="677"/>
                    </a:lnTo>
                    <a:lnTo>
                      <a:pt x="13" y="678"/>
                    </a:lnTo>
                    <a:lnTo>
                      <a:pt x="662" y="678"/>
                    </a:lnTo>
                    <a:lnTo>
                      <a:pt x="666" y="677"/>
                    </a:lnTo>
                    <a:lnTo>
                      <a:pt x="670" y="675"/>
                    </a:lnTo>
                    <a:lnTo>
                      <a:pt x="673" y="671"/>
                    </a:lnTo>
                    <a:lnTo>
                      <a:pt x="673" y="666"/>
                    </a:lnTo>
                    <a:close/>
                  </a:path>
                </a:pathLst>
              </a:custGeom>
              <a:solidFill>
                <a:srgbClr val="0040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39" name="Rectangle 243"/>
              <p:cNvSpPr>
                <a:spLocks noChangeArrowheads="1"/>
              </p:cNvSpPr>
              <p:nvPr/>
            </p:nvSpPr>
            <p:spPr bwMode="auto">
              <a:xfrm>
                <a:off x="5973763" y="4678363"/>
                <a:ext cx="195263" cy="82550"/>
              </a:xfrm>
              <a:prstGeom prst="rect">
                <a:avLst/>
              </a:prstGeom>
              <a:solidFill>
                <a:srgbClr val="1595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  <p:sp>
            <p:nvSpPr>
              <p:cNvPr id="840" name="Freeform 244"/>
              <p:cNvSpPr>
                <a:spLocks noEditPoints="1"/>
              </p:cNvSpPr>
              <p:nvPr/>
            </p:nvSpPr>
            <p:spPr bwMode="auto">
              <a:xfrm>
                <a:off x="5969001" y="4673601"/>
                <a:ext cx="204788" cy="92075"/>
              </a:xfrm>
              <a:custGeom>
                <a:avLst/>
                <a:gdLst>
                  <a:gd name="T0" fmla="*/ 492 w 516"/>
                  <a:gd name="T1" fmla="*/ 210 h 233"/>
                  <a:gd name="T2" fmla="*/ 25 w 516"/>
                  <a:gd name="T3" fmla="*/ 210 h 233"/>
                  <a:gd name="T4" fmla="*/ 25 w 516"/>
                  <a:gd name="T5" fmla="*/ 23 h 233"/>
                  <a:gd name="T6" fmla="*/ 492 w 516"/>
                  <a:gd name="T7" fmla="*/ 23 h 233"/>
                  <a:gd name="T8" fmla="*/ 492 w 516"/>
                  <a:gd name="T9" fmla="*/ 210 h 233"/>
                  <a:gd name="T10" fmla="*/ 504 w 516"/>
                  <a:gd name="T11" fmla="*/ 0 h 233"/>
                  <a:gd name="T12" fmla="*/ 13 w 516"/>
                  <a:gd name="T13" fmla="*/ 0 h 233"/>
                  <a:gd name="T14" fmla="*/ 8 w 516"/>
                  <a:gd name="T15" fmla="*/ 0 h 233"/>
                  <a:gd name="T16" fmla="*/ 4 w 516"/>
                  <a:gd name="T17" fmla="*/ 3 h 233"/>
                  <a:gd name="T18" fmla="*/ 1 w 516"/>
                  <a:gd name="T19" fmla="*/ 7 h 233"/>
                  <a:gd name="T20" fmla="*/ 0 w 516"/>
                  <a:gd name="T21" fmla="*/ 11 h 233"/>
                  <a:gd name="T22" fmla="*/ 0 w 516"/>
                  <a:gd name="T23" fmla="*/ 222 h 233"/>
                  <a:gd name="T24" fmla="*/ 1 w 516"/>
                  <a:gd name="T25" fmla="*/ 226 h 233"/>
                  <a:gd name="T26" fmla="*/ 4 w 516"/>
                  <a:gd name="T27" fmla="*/ 230 h 233"/>
                  <a:gd name="T28" fmla="*/ 8 w 516"/>
                  <a:gd name="T29" fmla="*/ 233 h 233"/>
                  <a:gd name="T30" fmla="*/ 13 w 516"/>
                  <a:gd name="T31" fmla="*/ 233 h 233"/>
                  <a:gd name="T32" fmla="*/ 504 w 516"/>
                  <a:gd name="T33" fmla="*/ 233 h 233"/>
                  <a:gd name="T34" fmla="*/ 509 w 516"/>
                  <a:gd name="T35" fmla="*/ 233 h 233"/>
                  <a:gd name="T36" fmla="*/ 512 w 516"/>
                  <a:gd name="T37" fmla="*/ 230 h 233"/>
                  <a:gd name="T38" fmla="*/ 516 w 516"/>
                  <a:gd name="T39" fmla="*/ 226 h 233"/>
                  <a:gd name="T40" fmla="*/ 516 w 516"/>
                  <a:gd name="T41" fmla="*/ 222 h 233"/>
                  <a:gd name="T42" fmla="*/ 516 w 516"/>
                  <a:gd name="T43" fmla="*/ 11 h 233"/>
                  <a:gd name="T44" fmla="*/ 516 w 516"/>
                  <a:gd name="T45" fmla="*/ 7 h 233"/>
                  <a:gd name="T46" fmla="*/ 512 w 516"/>
                  <a:gd name="T47" fmla="*/ 3 h 233"/>
                  <a:gd name="T48" fmla="*/ 509 w 516"/>
                  <a:gd name="T49" fmla="*/ 0 h 233"/>
                  <a:gd name="T50" fmla="*/ 504 w 516"/>
                  <a:gd name="T51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6" h="233">
                    <a:moveTo>
                      <a:pt x="492" y="210"/>
                    </a:moveTo>
                    <a:lnTo>
                      <a:pt x="25" y="210"/>
                    </a:lnTo>
                    <a:lnTo>
                      <a:pt x="25" y="23"/>
                    </a:lnTo>
                    <a:lnTo>
                      <a:pt x="492" y="23"/>
                    </a:lnTo>
                    <a:lnTo>
                      <a:pt x="492" y="210"/>
                    </a:lnTo>
                    <a:close/>
                    <a:moveTo>
                      <a:pt x="504" y="0"/>
                    </a:moveTo>
                    <a:lnTo>
                      <a:pt x="13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8" y="233"/>
                    </a:lnTo>
                    <a:lnTo>
                      <a:pt x="13" y="233"/>
                    </a:lnTo>
                    <a:lnTo>
                      <a:pt x="504" y="233"/>
                    </a:lnTo>
                    <a:lnTo>
                      <a:pt x="509" y="233"/>
                    </a:lnTo>
                    <a:lnTo>
                      <a:pt x="512" y="230"/>
                    </a:lnTo>
                    <a:lnTo>
                      <a:pt x="516" y="226"/>
                    </a:lnTo>
                    <a:lnTo>
                      <a:pt x="516" y="222"/>
                    </a:lnTo>
                    <a:lnTo>
                      <a:pt x="516" y="11"/>
                    </a:lnTo>
                    <a:lnTo>
                      <a:pt x="516" y="7"/>
                    </a:lnTo>
                    <a:lnTo>
                      <a:pt x="512" y="3"/>
                    </a:lnTo>
                    <a:lnTo>
                      <a:pt x="509" y="0"/>
                    </a:ln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 dirty="0"/>
              </a:p>
            </p:txBody>
          </p:sp>
        </p:grpSp>
        <p:sp>
          <p:nvSpPr>
            <p:cNvPr id="810" name="Прямоугольник 809"/>
            <p:cNvSpPr/>
            <p:nvPr/>
          </p:nvSpPr>
          <p:spPr>
            <a:xfrm flipH="1">
              <a:off x="7144163" y="5022011"/>
              <a:ext cx="254538" cy="45719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1" name="Прямоугольник 810"/>
            <p:cNvSpPr/>
            <p:nvPr/>
          </p:nvSpPr>
          <p:spPr>
            <a:xfrm rot="5400000" flipH="1">
              <a:off x="6853237" y="4725627"/>
              <a:ext cx="448043" cy="46875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2" name="Арка 811"/>
            <p:cNvSpPr/>
            <p:nvPr/>
          </p:nvSpPr>
          <p:spPr>
            <a:xfrm rot="16200000" flipH="1">
              <a:off x="7053824" y="4877688"/>
              <a:ext cx="190800" cy="190800"/>
            </a:xfrm>
            <a:prstGeom prst="blockArc">
              <a:avLst>
                <a:gd name="adj1" fmla="val 16168735"/>
                <a:gd name="adj2" fmla="val 0"/>
                <a:gd name="adj3" fmla="val 25000"/>
              </a:avLst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3" name="Арка 812"/>
            <p:cNvSpPr/>
            <p:nvPr/>
          </p:nvSpPr>
          <p:spPr>
            <a:xfrm rot="5400000" flipH="1">
              <a:off x="6910080" y="4426809"/>
              <a:ext cx="190800" cy="190800"/>
            </a:xfrm>
            <a:prstGeom prst="blockArc">
              <a:avLst>
                <a:gd name="adj1" fmla="val 16168735"/>
                <a:gd name="adj2" fmla="val 5394514"/>
                <a:gd name="adj3" fmla="val 25039"/>
              </a:avLst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4" name="Прямоугольник 813"/>
            <p:cNvSpPr/>
            <p:nvPr/>
          </p:nvSpPr>
          <p:spPr>
            <a:xfrm flipH="1">
              <a:off x="7706737" y="5022011"/>
              <a:ext cx="66584" cy="45719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5" name="Равнобедренный треугольник 814"/>
            <p:cNvSpPr/>
            <p:nvPr/>
          </p:nvSpPr>
          <p:spPr>
            <a:xfrm rot="5400000" flipH="1" flipV="1">
              <a:off x="7235449" y="4852744"/>
              <a:ext cx="61195" cy="103804"/>
            </a:xfrm>
            <a:prstGeom prst="triangle">
              <a:avLst/>
            </a:prstGeom>
            <a:solidFill>
              <a:srgbClr val="00B050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pic>
          <p:nvPicPr>
            <p:cNvPr id="816" name="Picture 11" descr="C:\Users\Driker.AA\Desktop\Инфографика\С заливкой\Транспорт\бензовоз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338861" y="4612847"/>
              <a:ext cx="545150" cy="552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7" name="Прямоугольник 816"/>
            <p:cNvSpPr/>
            <p:nvPr/>
          </p:nvSpPr>
          <p:spPr>
            <a:xfrm rot="5400000" flipH="1">
              <a:off x="6708735" y="4726205"/>
              <a:ext cx="448043" cy="45719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8" name="Арка 817"/>
            <p:cNvSpPr/>
            <p:nvPr/>
          </p:nvSpPr>
          <p:spPr>
            <a:xfrm rot="10800000" flipH="1">
              <a:off x="6764509" y="4877688"/>
              <a:ext cx="190800" cy="190800"/>
            </a:xfrm>
            <a:prstGeom prst="blockArc">
              <a:avLst>
                <a:gd name="adj1" fmla="val 16168735"/>
                <a:gd name="adj2" fmla="val 0"/>
                <a:gd name="adj3" fmla="val 25000"/>
              </a:avLst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819" name="Прямоугольник 818"/>
            <p:cNvSpPr/>
            <p:nvPr/>
          </p:nvSpPr>
          <p:spPr>
            <a:xfrm flipH="1">
              <a:off x="6811640" y="5020842"/>
              <a:ext cx="49532" cy="45719"/>
            </a:xfrm>
            <a:prstGeom prst="rect">
              <a:avLst/>
            </a:prstGeom>
            <a:solidFill>
              <a:srgbClr val="00B050"/>
            </a:solidFill>
            <a:ln w="4445"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41" name="Прямая соединительная линия 840"/>
          <p:cNvCxnSpPr/>
          <p:nvPr/>
        </p:nvCxnSpPr>
        <p:spPr>
          <a:xfrm flipV="1">
            <a:off x="2918953" y="2908292"/>
            <a:ext cx="2067" cy="383538"/>
          </a:xfrm>
          <a:prstGeom prst="line">
            <a:avLst/>
          </a:prstGeom>
          <a:ln w="9525">
            <a:solidFill>
              <a:schemeClr val="accent6"/>
            </a:solidFill>
            <a:prstDash val="lgDash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2" name="Прямая соединительная линия 841"/>
          <p:cNvCxnSpPr/>
          <p:nvPr/>
        </p:nvCxnSpPr>
        <p:spPr>
          <a:xfrm flipV="1">
            <a:off x="3182495" y="2908292"/>
            <a:ext cx="0" cy="443863"/>
          </a:xfrm>
          <a:prstGeom prst="line">
            <a:avLst/>
          </a:prstGeom>
          <a:ln w="9525">
            <a:solidFill>
              <a:schemeClr val="accent6"/>
            </a:solidFill>
            <a:prstDash val="lgDash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3" name="knot_z"/>
          <p:cNvGrpSpPr>
            <a:grpSpLocks noChangeAspect="1"/>
          </p:cNvGrpSpPr>
          <p:nvPr/>
        </p:nvGrpSpPr>
        <p:grpSpPr>
          <a:xfrm flipH="1">
            <a:off x="2863209" y="3358480"/>
            <a:ext cx="146293" cy="125129"/>
            <a:chOff x="5645151" y="4616451"/>
            <a:chExt cx="854075" cy="681038"/>
          </a:xfrm>
        </p:grpSpPr>
        <p:sp>
          <p:nvSpPr>
            <p:cNvPr id="844" name="Freeform 224"/>
            <p:cNvSpPr>
              <a:spLocks/>
            </p:cNvSpPr>
            <p:nvPr/>
          </p:nvSpPr>
          <p:spPr bwMode="auto">
            <a:xfrm>
              <a:off x="6373813" y="5005388"/>
              <a:ext cx="25400" cy="84138"/>
            </a:xfrm>
            <a:custGeom>
              <a:avLst/>
              <a:gdLst>
                <a:gd name="T0" fmla="*/ 62 w 62"/>
                <a:gd name="T1" fmla="*/ 213 h 213"/>
                <a:gd name="T2" fmla="*/ 0 w 62"/>
                <a:gd name="T3" fmla="*/ 213 h 213"/>
                <a:gd name="T4" fmla="*/ 0 w 62"/>
                <a:gd name="T5" fmla="*/ 0 h 213"/>
                <a:gd name="T6" fmla="*/ 9 w 62"/>
                <a:gd name="T7" fmla="*/ 3 h 213"/>
                <a:gd name="T8" fmla="*/ 17 w 62"/>
                <a:gd name="T9" fmla="*/ 6 h 213"/>
                <a:gd name="T10" fmla="*/ 26 w 62"/>
                <a:gd name="T11" fmla="*/ 6 h 213"/>
                <a:gd name="T12" fmla="*/ 34 w 62"/>
                <a:gd name="T13" fmla="*/ 7 h 213"/>
                <a:gd name="T14" fmla="*/ 41 w 62"/>
                <a:gd name="T15" fmla="*/ 6 h 213"/>
                <a:gd name="T16" fmla="*/ 48 w 62"/>
                <a:gd name="T17" fmla="*/ 4 h 213"/>
                <a:gd name="T18" fmla="*/ 55 w 62"/>
                <a:gd name="T19" fmla="*/ 3 h 213"/>
                <a:gd name="T20" fmla="*/ 62 w 62"/>
                <a:gd name="T21" fmla="*/ 0 h 213"/>
                <a:gd name="T22" fmla="*/ 62 w 62"/>
                <a:gd name="T23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" h="213">
                  <a:moveTo>
                    <a:pt x="62" y="213"/>
                  </a:moveTo>
                  <a:lnTo>
                    <a:pt x="0" y="213"/>
                  </a:lnTo>
                  <a:lnTo>
                    <a:pt x="0" y="0"/>
                  </a:lnTo>
                  <a:lnTo>
                    <a:pt x="9" y="3"/>
                  </a:lnTo>
                  <a:lnTo>
                    <a:pt x="17" y="6"/>
                  </a:lnTo>
                  <a:lnTo>
                    <a:pt x="26" y="6"/>
                  </a:lnTo>
                  <a:lnTo>
                    <a:pt x="34" y="7"/>
                  </a:lnTo>
                  <a:lnTo>
                    <a:pt x="41" y="6"/>
                  </a:lnTo>
                  <a:lnTo>
                    <a:pt x="48" y="4"/>
                  </a:lnTo>
                  <a:lnTo>
                    <a:pt x="55" y="3"/>
                  </a:lnTo>
                  <a:lnTo>
                    <a:pt x="62" y="0"/>
                  </a:lnTo>
                  <a:lnTo>
                    <a:pt x="62" y="213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5" name="Freeform 225"/>
            <p:cNvSpPr>
              <a:spLocks/>
            </p:cNvSpPr>
            <p:nvPr/>
          </p:nvSpPr>
          <p:spPr bwMode="auto">
            <a:xfrm>
              <a:off x="6337301" y="4884738"/>
              <a:ext cx="100013" cy="101600"/>
            </a:xfrm>
            <a:custGeom>
              <a:avLst/>
              <a:gdLst>
                <a:gd name="T0" fmla="*/ 114 w 253"/>
                <a:gd name="T1" fmla="*/ 255 h 255"/>
                <a:gd name="T2" fmla="*/ 89 w 253"/>
                <a:gd name="T3" fmla="*/ 249 h 255"/>
                <a:gd name="T4" fmla="*/ 65 w 253"/>
                <a:gd name="T5" fmla="*/ 239 h 255"/>
                <a:gd name="T6" fmla="*/ 45 w 253"/>
                <a:gd name="T7" fmla="*/ 225 h 255"/>
                <a:gd name="T8" fmla="*/ 28 w 253"/>
                <a:gd name="T9" fmla="*/ 209 h 255"/>
                <a:gd name="T10" fmla="*/ 15 w 253"/>
                <a:gd name="T11" fmla="*/ 188 h 255"/>
                <a:gd name="T12" fmla="*/ 4 w 253"/>
                <a:gd name="T13" fmla="*/ 165 h 255"/>
                <a:gd name="T14" fmla="*/ 0 w 253"/>
                <a:gd name="T15" fmla="*/ 141 h 255"/>
                <a:gd name="T16" fmla="*/ 0 w 253"/>
                <a:gd name="T17" fmla="*/ 115 h 255"/>
                <a:gd name="T18" fmla="*/ 4 w 253"/>
                <a:gd name="T19" fmla="*/ 89 h 255"/>
                <a:gd name="T20" fmla="*/ 15 w 253"/>
                <a:gd name="T21" fmla="*/ 67 h 255"/>
                <a:gd name="T22" fmla="*/ 28 w 253"/>
                <a:gd name="T23" fmla="*/ 47 h 255"/>
                <a:gd name="T24" fmla="*/ 45 w 253"/>
                <a:gd name="T25" fmla="*/ 29 h 255"/>
                <a:gd name="T26" fmla="*/ 65 w 253"/>
                <a:gd name="T27" fmla="*/ 15 h 255"/>
                <a:gd name="T28" fmla="*/ 89 w 253"/>
                <a:gd name="T29" fmla="*/ 6 h 255"/>
                <a:gd name="T30" fmla="*/ 114 w 253"/>
                <a:gd name="T31" fmla="*/ 1 h 255"/>
                <a:gd name="T32" fmla="*/ 139 w 253"/>
                <a:gd name="T33" fmla="*/ 1 h 255"/>
                <a:gd name="T34" fmla="*/ 164 w 253"/>
                <a:gd name="T35" fmla="*/ 6 h 255"/>
                <a:gd name="T36" fmla="*/ 188 w 253"/>
                <a:gd name="T37" fmla="*/ 15 h 255"/>
                <a:gd name="T38" fmla="*/ 208 w 253"/>
                <a:gd name="T39" fmla="*/ 29 h 255"/>
                <a:gd name="T40" fmla="*/ 225 w 253"/>
                <a:gd name="T41" fmla="*/ 47 h 255"/>
                <a:gd name="T42" fmla="*/ 238 w 253"/>
                <a:gd name="T43" fmla="*/ 67 h 255"/>
                <a:gd name="T44" fmla="*/ 247 w 253"/>
                <a:gd name="T45" fmla="*/ 89 h 255"/>
                <a:gd name="T46" fmla="*/ 253 w 253"/>
                <a:gd name="T47" fmla="*/ 115 h 255"/>
                <a:gd name="T48" fmla="*/ 253 w 253"/>
                <a:gd name="T49" fmla="*/ 141 h 255"/>
                <a:gd name="T50" fmla="*/ 247 w 253"/>
                <a:gd name="T51" fmla="*/ 165 h 255"/>
                <a:gd name="T52" fmla="*/ 238 w 253"/>
                <a:gd name="T53" fmla="*/ 188 h 255"/>
                <a:gd name="T54" fmla="*/ 225 w 253"/>
                <a:gd name="T55" fmla="*/ 209 h 255"/>
                <a:gd name="T56" fmla="*/ 208 w 253"/>
                <a:gd name="T57" fmla="*/ 225 h 255"/>
                <a:gd name="T58" fmla="*/ 188 w 253"/>
                <a:gd name="T59" fmla="*/ 239 h 255"/>
                <a:gd name="T60" fmla="*/ 164 w 253"/>
                <a:gd name="T61" fmla="*/ 249 h 255"/>
                <a:gd name="T62" fmla="*/ 139 w 253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255">
                  <a:moveTo>
                    <a:pt x="127" y="255"/>
                  </a:moveTo>
                  <a:lnTo>
                    <a:pt x="114" y="255"/>
                  </a:lnTo>
                  <a:lnTo>
                    <a:pt x="101" y="252"/>
                  </a:lnTo>
                  <a:lnTo>
                    <a:pt x="89" y="249"/>
                  </a:lnTo>
                  <a:lnTo>
                    <a:pt x="77" y="245"/>
                  </a:lnTo>
                  <a:lnTo>
                    <a:pt x="65" y="239"/>
                  </a:lnTo>
                  <a:lnTo>
                    <a:pt x="55" y="234"/>
                  </a:lnTo>
                  <a:lnTo>
                    <a:pt x="45" y="225"/>
                  </a:lnTo>
                  <a:lnTo>
                    <a:pt x="36" y="217"/>
                  </a:lnTo>
                  <a:lnTo>
                    <a:pt x="28" y="209"/>
                  </a:lnTo>
                  <a:lnTo>
                    <a:pt x="21" y="198"/>
                  </a:lnTo>
                  <a:lnTo>
                    <a:pt x="15" y="188"/>
                  </a:lnTo>
                  <a:lnTo>
                    <a:pt x="9" y="177"/>
                  </a:lnTo>
                  <a:lnTo>
                    <a:pt x="4" y="165"/>
                  </a:lnTo>
                  <a:lnTo>
                    <a:pt x="2" y="153"/>
                  </a:lnTo>
                  <a:lnTo>
                    <a:pt x="0" y="141"/>
                  </a:lnTo>
                  <a:lnTo>
                    <a:pt x="0" y="128"/>
                  </a:lnTo>
                  <a:lnTo>
                    <a:pt x="0" y="115"/>
                  </a:lnTo>
                  <a:lnTo>
                    <a:pt x="2" y="102"/>
                  </a:lnTo>
                  <a:lnTo>
                    <a:pt x="4" y="89"/>
                  </a:lnTo>
                  <a:lnTo>
                    <a:pt x="9" y="77"/>
                  </a:lnTo>
                  <a:lnTo>
                    <a:pt x="15" y="67"/>
                  </a:lnTo>
                  <a:lnTo>
                    <a:pt x="21" y="56"/>
                  </a:lnTo>
                  <a:lnTo>
                    <a:pt x="28" y="47"/>
                  </a:lnTo>
                  <a:lnTo>
                    <a:pt x="36" y="37"/>
                  </a:lnTo>
                  <a:lnTo>
                    <a:pt x="45" y="29"/>
                  </a:lnTo>
                  <a:lnTo>
                    <a:pt x="55" y="22"/>
                  </a:lnTo>
                  <a:lnTo>
                    <a:pt x="65" y="15"/>
                  </a:lnTo>
                  <a:lnTo>
                    <a:pt x="77" y="10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4" y="1"/>
                  </a:lnTo>
                  <a:lnTo>
                    <a:pt x="127" y="0"/>
                  </a:lnTo>
                  <a:lnTo>
                    <a:pt x="139" y="1"/>
                  </a:lnTo>
                  <a:lnTo>
                    <a:pt x="152" y="2"/>
                  </a:lnTo>
                  <a:lnTo>
                    <a:pt x="164" y="6"/>
                  </a:lnTo>
                  <a:lnTo>
                    <a:pt x="176" y="10"/>
                  </a:lnTo>
                  <a:lnTo>
                    <a:pt x="188" y="15"/>
                  </a:lnTo>
                  <a:lnTo>
                    <a:pt x="198" y="22"/>
                  </a:lnTo>
                  <a:lnTo>
                    <a:pt x="208" y="29"/>
                  </a:lnTo>
                  <a:lnTo>
                    <a:pt x="217" y="37"/>
                  </a:lnTo>
                  <a:lnTo>
                    <a:pt x="225" y="47"/>
                  </a:lnTo>
                  <a:lnTo>
                    <a:pt x="232" y="56"/>
                  </a:lnTo>
                  <a:lnTo>
                    <a:pt x="238" y="67"/>
                  </a:lnTo>
                  <a:lnTo>
                    <a:pt x="244" y="77"/>
                  </a:lnTo>
                  <a:lnTo>
                    <a:pt x="247" y="89"/>
                  </a:lnTo>
                  <a:lnTo>
                    <a:pt x="251" y="102"/>
                  </a:lnTo>
                  <a:lnTo>
                    <a:pt x="253" y="115"/>
                  </a:lnTo>
                  <a:lnTo>
                    <a:pt x="253" y="128"/>
                  </a:lnTo>
                  <a:lnTo>
                    <a:pt x="253" y="141"/>
                  </a:lnTo>
                  <a:lnTo>
                    <a:pt x="251" y="153"/>
                  </a:lnTo>
                  <a:lnTo>
                    <a:pt x="247" y="165"/>
                  </a:lnTo>
                  <a:lnTo>
                    <a:pt x="244" y="177"/>
                  </a:lnTo>
                  <a:lnTo>
                    <a:pt x="238" y="188"/>
                  </a:lnTo>
                  <a:lnTo>
                    <a:pt x="232" y="198"/>
                  </a:lnTo>
                  <a:lnTo>
                    <a:pt x="225" y="209"/>
                  </a:lnTo>
                  <a:lnTo>
                    <a:pt x="217" y="217"/>
                  </a:lnTo>
                  <a:lnTo>
                    <a:pt x="208" y="225"/>
                  </a:lnTo>
                  <a:lnTo>
                    <a:pt x="198" y="234"/>
                  </a:lnTo>
                  <a:lnTo>
                    <a:pt x="188" y="239"/>
                  </a:lnTo>
                  <a:lnTo>
                    <a:pt x="176" y="245"/>
                  </a:lnTo>
                  <a:lnTo>
                    <a:pt x="164" y="249"/>
                  </a:lnTo>
                  <a:lnTo>
                    <a:pt x="152" y="252"/>
                  </a:lnTo>
                  <a:lnTo>
                    <a:pt x="139" y="255"/>
                  </a:lnTo>
                  <a:lnTo>
                    <a:pt x="127" y="255"/>
                  </a:lnTo>
                  <a:close/>
                </a:path>
              </a:pathLst>
            </a:cu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6" name="Freeform 226"/>
            <p:cNvSpPr>
              <a:spLocks noEditPoints="1"/>
            </p:cNvSpPr>
            <p:nvPr/>
          </p:nvSpPr>
          <p:spPr bwMode="auto">
            <a:xfrm>
              <a:off x="6316663" y="4865688"/>
              <a:ext cx="141288" cy="141288"/>
            </a:xfrm>
            <a:custGeom>
              <a:avLst/>
              <a:gdLst>
                <a:gd name="T0" fmla="*/ 152 w 355"/>
                <a:gd name="T1" fmla="*/ 303 h 356"/>
                <a:gd name="T2" fmla="*/ 116 w 355"/>
                <a:gd name="T3" fmla="*/ 290 h 356"/>
                <a:gd name="T4" fmla="*/ 87 w 355"/>
                <a:gd name="T5" fmla="*/ 268 h 356"/>
                <a:gd name="T6" fmla="*/ 66 w 355"/>
                <a:gd name="T7" fmla="*/ 239 h 356"/>
                <a:gd name="T8" fmla="*/ 53 w 355"/>
                <a:gd name="T9" fmla="*/ 204 h 356"/>
                <a:gd name="T10" fmla="*/ 51 w 355"/>
                <a:gd name="T11" fmla="*/ 166 h 356"/>
                <a:gd name="T12" fmla="*/ 60 w 355"/>
                <a:gd name="T13" fmla="*/ 128 h 356"/>
                <a:gd name="T14" fmla="*/ 79 w 355"/>
                <a:gd name="T15" fmla="*/ 98 h 356"/>
                <a:gd name="T16" fmla="*/ 106 w 355"/>
                <a:gd name="T17" fmla="*/ 73 h 356"/>
                <a:gd name="T18" fmla="*/ 140 w 355"/>
                <a:gd name="T19" fmla="*/ 57 h 356"/>
                <a:gd name="T20" fmla="*/ 178 w 355"/>
                <a:gd name="T21" fmla="*/ 51 h 356"/>
                <a:gd name="T22" fmla="*/ 215 w 355"/>
                <a:gd name="T23" fmla="*/ 57 h 356"/>
                <a:gd name="T24" fmla="*/ 249 w 355"/>
                <a:gd name="T25" fmla="*/ 73 h 356"/>
                <a:gd name="T26" fmla="*/ 276 w 355"/>
                <a:gd name="T27" fmla="*/ 98 h 356"/>
                <a:gd name="T28" fmla="*/ 295 w 355"/>
                <a:gd name="T29" fmla="*/ 128 h 356"/>
                <a:gd name="T30" fmla="*/ 304 w 355"/>
                <a:gd name="T31" fmla="*/ 166 h 356"/>
                <a:gd name="T32" fmla="*/ 302 w 355"/>
                <a:gd name="T33" fmla="*/ 204 h 356"/>
                <a:gd name="T34" fmla="*/ 289 w 355"/>
                <a:gd name="T35" fmla="*/ 239 h 356"/>
                <a:gd name="T36" fmla="*/ 268 w 355"/>
                <a:gd name="T37" fmla="*/ 268 h 356"/>
                <a:gd name="T38" fmla="*/ 239 w 355"/>
                <a:gd name="T39" fmla="*/ 290 h 356"/>
                <a:gd name="T40" fmla="*/ 203 w 355"/>
                <a:gd name="T41" fmla="*/ 303 h 356"/>
                <a:gd name="T42" fmla="*/ 178 w 355"/>
                <a:gd name="T43" fmla="*/ 0 h 356"/>
                <a:gd name="T44" fmla="*/ 125 w 355"/>
                <a:gd name="T45" fmla="*/ 9 h 356"/>
                <a:gd name="T46" fmla="*/ 78 w 355"/>
                <a:gd name="T47" fmla="*/ 31 h 356"/>
                <a:gd name="T48" fmla="*/ 40 w 355"/>
                <a:gd name="T49" fmla="*/ 65 h 356"/>
                <a:gd name="T50" fmla="*/ 14 w 355"/>
                <a:gd name="T51" fmla="*/ 110 h 356"/>
                <a:gd name="T52" fmla="*/ 0 w 355"/>
                <a:gd name="T53" fmla="*/ 160 h 356"/>
                <a:gd name="T54" fmla="*/ 4 w 355"/>
                <a:gd name="T55" fmla="*/ 214 h 356"/>
                <a:gd name="T56" fmla="*/ 21 w 355"/>
                <a:gd name="T57" fmla="*/ 263 h 356"/>
                <a:gd name="T58" fmla="*/ 52 w 355"/>
                <a:gd name="T59" fmla="*/ 303 h 356"/>
                <a:gd name="T60" fmla="*/ 93 w 355"/>
                <a:gd name="T61" fmla="*/ 335 h 356"/>
                <a:gd name="T62" fmla="*/ 141 w 355"/>
                <a:gd name="T63" fmla="*/ 353 h 356"/>
                <a:gd name="T64" fmla="*/ 195 w 355"/>
                <a:gd name="T65" fmla="*/ 355 h 356"/>
                <a:gd name="T66" fmla="*/ 247 w 355"/>
                <a:gd name="T67" fmla="*/ 342 h 356"/>
                <a:gd name="T68" fmla="*/ 290 w 355"/>
                <a:gd name="T69" fmla="*/ 315 h 356"/>
                <a:gd name="T70" fmla="*/ 324 w 355"/>
                <a:gd name="T71" fmla="*/ 278 h 356"/>
                <a:gd name="T72" fmla="*/ 347 w 355"/>
                <a:gd name="T73" fmla="*/ 232 h 356"/>
                <a:gd name="T74" fmla="*/ 355 w 355"/>
                <a:gd name="T75" fmla="*/ 179 h 356"/>
                <a:gd name="T76" fmla="*/ 347 w 355"/>
                <a:gd name="T77" fmla="*/ 126 h 356"/>
                <a:gd name="T78" fmla="*/ 324 w 355"/>
                <a:gd name="T79" fmla="*/ 79 h 356"/>
                <a:gd name="T80" fmla="*/ 290 w 355"/>
                <a:gd name="T81" fmla="*/ 41 h 356"/>
                <a:gd name="T82" fmla="*/ 247 w 355"/>
                <a:gd name="T83" fmla="*/ 14 h 356"/>
                <a:gd name="T84" fmla="*/ 195 w 355"/>
                <a:gd name="T85" fmla="*/ 1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5" h="356">
                  <a:moveTo>
                    <a:pt x="178" y="306"/>
                  </a:moveTo>
                  <a:lnTo>
                    <a:pt x="165" y="306"/>
                  </a:lnTo>
                  <a:lnTo>
                    <a:pt x="152" y="303"/>
                  </a:lnTo>
                  <a:lnTo>
                    <a:pt x="140" y="300"/>
                  </a:lnTo>
                  <a:lnTo>
                    <a:pt x="128" y="296"/>
                  </a:lnTo>
                  <a:lnTo>
                    <a:pt x="116" y="290"/>
                  </a:lnTo>
                  <a:lnTo>
                    <a:pt x="106" y="285"/>
                  </a:lnTo>
                  <a:lnTo>
                    <a:pt x="96" y="276"/>
                  </a:lnTo>
                  <a:lnTo>
                    <a:pt x="87" y="268"/>
                  </a:lnTo>
                  <a:lnTo>
                    <a:pt x="79" y="260"/>
                  </a:lnTo>
                  <a:lnTo>
                    <a:pt x="72" y="249"/>
                  </a:lnTo>
                  <a:lnTo>
                    <a:pt x="66" y="239"/>
                  </a:lnTo>
                  <a:lnTo>
                    <a:pt x="60" y="228"/>
                  </a:lnTo>
                  <a:lnTo>
                    <a:pt x="55" y="216"/>
                  </a:lnTo>
                  <a:lnTo>
                    <a:pt x="53" y="204"/>
                  </a:lnTo>
                  <a:lnTo>
                    <a:pt x="51" y="192"/>
                  </a:lnTo>
                  <a:lnTo>
                    <a:pt x="51" y="179"/>
                  </a:lnTo>
                  <a:lnTo>
                    <a:pt x="51" y="166"/>
                  </a:lnTo>
                  <a:lnTo>
                    <a:pt x="53" y="153"/>
                  </a:lnTo>
                  <a:lnTo>
                    <a:pt x="55" y="140"/>
                  </a:lnTo>
                  <a:lnTo>
                    <a:pt x="60" y="128"/>
                  </a:lnTo>
                  <a:lnTo>
                    <a:pt x="66" y="118"/>
                  </a:lnTo>
                  <a:lnTo>
                    <a:pt x="72" y="107"/>
                  </a:lnTo>
                  <a:lnTo>
                    <a:pt x="79" y="98"/>
                  </a:lnTo>
                  <a:lnTo>
                    <a:pt x="87" y="88"/>
                  </a:lnTo>
                  <a:lnTo>
                    <a:pt x="96" y="80"/>
                  </a:lnTo>
                  <a:lnTo>
                    <a:pt x="106" y="73"/>
                  </a:lnTo>
                  <a:lnTo>
                    <a:pt x="116" y="66"/>
                  </a:lnTo>
                  <a:lnTo>
                    <a:pt x="128" y="61"/>
                  </a:lnTo>
                  <a:lnTo>
                    <a:pt x="140" y="57"/>
                  </a:lnTo>
                  <a:lnTo>
                    <a:pt x="152" y="53"/>
                  </a:lnTo>
                  <a:lnTo>
                    <a:pt x="165" y="52"/>
                  </a:lnTo>
                  <a:lnTo>
                    <a:pt x="178" y="51"/>
                  </a:lnTo>
                  <a:lnTo>
                    <a:pt x="190" y="52"/>
                  </a:lnTo>
                  <a:lnTo>
                    <a:pt x="203" y="53"/>
                  </a:lnTo>
                  <a:lnTo>
                    <a:pt x="215" y="57"/>
                  </a:lnTo>
                  <a:lnTo>
                    <a:pt x="227" y="61"/>
                  </a:lnTo>
                  <a:lnTo>
                    <a:pt x="239" y="66"/>
                  </a:lnTo>
                  <a:lnTo>
                    <a:pt x="249" y="73"/>
                  </a:lnTo>
                  <a:lnTo>
                    <a:pt x="259" y="80"/>
                  </a:lnTo>
                  <a:lnTo>
                    <a:pt x="268" y="88"/>
                  </a:lnTo>
                  <a:lnTo>
                    <a:pt x="276" y="98"/>
                  </a:lnTo>
                  <a:lnTo>
                    <a:pt x="283" y="107"/>
                  </a:lnTo>
                  <a:lnTo>
                    <a:pt x="289" y="118"/>
                  </a:lnTo>
                  <a:lnTo>
                    <a:pt x="295" y="128"/>
                  </a:lnTo>
                  <a:lnTo>
                    <a:pt x="298" y="140"/>
                  </a:lnTo>
                  <a:lnTo>
                    <a:pt x="302" y="153"/>
                  </a:lnTo>
                  <a:lnTo>
                    <a:pt x="304" y="166"/>
                  </a:lnTo>
                  <a:lnTo>
                    <a:pt x="304" y="179"/>
                  </a:lnTo>
                  <a:lnTo>
                    <a:pt x="304" y="192"/>
                  </a:lnTo>
                  <a:lnTo>
                    <a:pt x="302" y="204"/>
                  </a:lnTo>
                  <a:lnTo>
                    <a:pt x="298" y="216"/>
                  </a:lnTo>
                  <a:lnTo>
                    <a:pt x="295" y="228"/>
                  </a:lnTo>
                  <a:lnTo>
                    <a:pt x="289" y="239"/>
                  </a:lnTo>
                  <a:lnTo>
                    <a:pt x="283" y="249"/>
                  </a:lnTo>
                  <a:lnTo>
                    <a:pt x="276" y="260"/>
                  </a:lnTo>
                  <a:lnTo>
                    <a:pt x="268" y="268"/>
                  </a:lnTo>
                  <a:lnTo>
                    <a:pt x="259" y="276"/>
                  </a:lnTo>
                  <a:lnTo>
                    <a:pt x="249" y="285"/>
                  </a:lnTo>
                  <a:lnTo>
                    <a:pt x="239" y="290"/>
                  </a:lnTo>
                  <a:lnTo>
                    <a:pt x="227" y="296"/>
                  </a:lnTo>
                  <a:lnTo>
                    <a:pt x="215" y="300"/>
                  </a:lnTo>
                  <a:lnTo>
                    <a:pt x="203" y="303"/>
                  </a:lnTo>
                  <a:lnTo>
                    <a:pt x="190" y="306"/>
                  </a:lnTo>
                  <a:lnTo>
                    <a:pt x="178" y="306"/>
                  </a:lnTo>
                  <a:close/>
                  <a:moveTo>
                    <a:pt x="178" y="0"/>
                  </a:moveTo>
                  <a:lnTo>
                    <a:pt x="159" y="1"/>
                  </a:lnTo>
                  <a:lnTo>
                    <a:pt x="141" y="4"/>
                  </a:lnTo>
                  <a:lnTo>
                    <a:pt x="125" y="9"/>
                  </a:lnTo>
                  <a:lnTo>
                    <a:pt x="108" y="14"/>
                  </a:lnTo>
                  <a:lnTo>
                    <a:pt x="93" y="23"/>
                  </a:lnTo>
                  <a:lnTo>
                    <a:pt x="78" y="31"/>
                  </a:lnTo>
                  <a:lnTo>
                    <a:pt x="65" y="41"/>
                  </a:lnTo>
                  <a:lnTo>
                    <a:pt x="52" y="53"/>
                  </a:lnTo>
                  <a:lnTo>
                    <a:pt x="40" y="65"/>
                  </a:lnTo>
                  <a:lnTo>
                    <a:pt x="30" y="79"/>
                  </a:lnTo>
                  <a:lnTo>
                    <a:pt x="21" y="94"/>
                  </a:lnTo>
                  <a:lnTo>
                    <a:pt x="14" y="110"/>
                  </a:lnTo>
                  <a:lnTo>
                    <a:pt x="7" y="126"/>
                  </a:lnTo>
                  <a:lnTo>
                    <a:pt x="4" y="142"/>
                  </a:lnTo>
                  <a:lnTo>
                    <a:pt x="0" y="160"/>
                  </a:lnTo>
                  <a:lnTo>
                    <a:pt x="0" y="179"/>
                  </a:lnTo>
                  <a:lnTo>
                    <a:pt x="0" y="196"/>
                  </a:lnTo>
                  <a:lnTo>
                    <a:pt x="4" y="214"/>
                  </a:lnTo>
                  <a:lnTo>
                    <a:pt x="7" y="232"/>
                  </a:lnTo>
                  <a:lnTo>
                    <a:pt x="14" y="247"/>
                  </a:lnTo>
                  <a:lnTo>
                    <a:pt x="21" y="263"/>
                  </a:lnTo>
                  <a:lnTo>
                    <a:pt x="30" y="278"/>
                  </a:lnTo>
                  <a:lnTo>
                    <a:pt x="40" y="292"/>
                  </a:lnTo>
                  <a:lnTo>
                    <a:pt x="52" y="303"/>
                  </a:lnTo>
                  <a:lnTo>
                    <a:pt x="65" y="315"/>
                  </a:lnTo>
                  <a:lnTo>
                    <a:pt x="78" y="326"/>
                  </a:lnTo>
                  <a:lnTo>
                    <a:pt x="93" y="335"/>
                  </a:lnTo>
                  <a:lnTo>
                    <a:pt x="108" y="342"/>
                  </a:lnTo>
                  <a:lnTo>
                    <a:pt x="125" y="348"/>
                  </a:lnTo>
                  <a:lnTo>
                    <a:pt x="141" y="353"/>
                  </a:lnTo>
                  <a:lnTo>
                    <a:pt x="159" y="355"/>
                  </a:lnTo>
                  <a:lnTo>
                    <a:pt x="178" y="356"/>
                  </a:lnTo>
                  <a:lnTo>
                    <a:pt x="195" y="355"/>
                  </a:lnTo>
                  <a:lnTo>
                    <a:pt x="213" y="353"/>
                  </a:lnTo>
                  <a:lnTo>
                    <a:pt x="230" y="348"/>
                  </a:lnTo>
                  <a:lnTo>
                    <a:pt x="247" y="342"/>
                  </a:lnTo>
                  <a:lnTo>
                    <a:pt x="262" y="335"/>
                  </a:lnTo>
                  <a:lnTo>
                    <a:pt x="276" y="326"/>
                  </a:lnTo>
                  <a:lnTo>
                    <a:pt x="290" y="315"/>
                  </a:lnTo>
                  <a:lnTo>
                    <a:pt x="303" y="303"/>
                  </a:lnTo>
                  <a:lnTo>
                    <a:pt x="315" y="292"/>
                  </a:lnTo>
                  <a:lnTo>
                    <a:pt x="324" y="278"/>
                  </a:lnTo>
                  <a:lnTo>
                    <a:pt x="334" y="263"/>
                  </a:lnTo>
                  <a:lnTo>
                    <a:pt x="341" y="247"/>
                  </a:lnTo>
                  <a:lnTo>
                    <a:pt x="347" y="232"/>
                  </a:lnTo>
                  <a:lnTo>
                    <a:pt x="351" y="214"/>
                  </a:lnTo>
                  <a:lnTo>
                    <a:pt x="354" y="196"/>
                  </a:lnTo>
                  <a:lnTo>
                    <a:pt x="355" y="179"/>
                  </a:lnTo>
                  <a:lnTo>
                    <a:pt x="354" y="160"/>
                  </a:lnTo>
                  <a:lnTo>
                    <a:pt x="351" y="142"/>
                  </a:lnTo>
                  <a:lnTo>
                    <a:pt x="347" y="126"/>
                  </a:lnTo>
                  <a:lnTo>
                    <a:pt x="341" y="110"/>
                  </a:lnTo>
                  <a:lnTo>
                    <a:pt x="334" y="94"/>
                  </a:lnTo>
                  <a:lnTo>
                    <a:pt x="324" y="79"/>
                  </a:lnTo>
                  <a:lnTo>
                    <a:pt x="315" y="65"/>
                  </a:lnTo>
                  <a:lnTo>
                    <a:pt x="303" y="53"/>
                  </a:lnTo>
                  <a:lnTo>
                    <a:pt x="290" y="41"/>
                  </a:lnTo>
                  <a:lnTo>
                    <a:pt x="276" y="31"/>
                  </a:lnTo>
                  <a:lnTo>
                    <a:pt x="262" y="23"/>
                  </a:lnTo>
                  <a:lnTo>
                    <a:pt x="247" y="14"/>
                  </a:lnTo>
                  <a:lnTo>
                    <a:pt x="230" y="9"/>
                  </a:lnTo>
                  <a:lnTo>
                    <a:pt x="213" y="4"/>
                  </a:lnTo>
                  <a:lnTo>
                    <a:pt x="195" y="1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7" name="Freeform 227"/>
            <p:cNvSpPr>
              <a:spLocks noEditPoints="1"/>
            </p:cNvSpPr>
            <p:nvPr/>
          </p:nvSpPr>
          <p:spPr bwMode="auto">
            <a:xfrm>
              <a:off x="6330951" y="4879976"/>
              <a:ext cx="111125" cy="111125"/>
            </a:xfrm>
            <a:custGeom>
              <a:avLst/>
              <a:gdLst>
                <a:gd name="T0" fmla="*/ 116 w 279"/>
                <a:gd name="T1" fmla="*/ 253 h 278"/>
                <a:gd name="T2" fmla="*/ 84 w 279"/>
                <a:gd name="T3" fmla="*/ 241 h 278"/>
                <a:gd name="T4" fmla="*/ 57 w 279"/>
                <a:gd name="T5" fmla="*/ 221 h 278"/>
                <a:gd name="T6" fmla="*/ 37 w 279"/>
                <a:gd name="T7" fmla="*/ 194 h 278"/>
                <a:gd name="T8" fmla="*/ 27 w 279"/>
                <a:gd name="T9" fmla="*/ 162 h 278"/>
                <a:gd name="T10" fmla="*/ 24 w 279"/>
                <a:gd name="T11" fmla="*/ 128 h 278"/>
                <a:gd name="T12" fmla="*/ 33 w 279"/>
                <a:gd name="T13" fmla="*/ 94 h 278"/>
                <a:gd name="T14" fmla="*/ 50 w 279"/>
                <a:gd name="T15" fmla="*/ 66 h 278"/>
                <a:gd name="T16" fmla="*/ 75 w 279"/>
                <a:gd name="T17" fmla="*/ 44 h 278"/>
                <a:gd name="T18" fmla="*/ 105 w 279"/>
                <a:gd name="T19" fmla="*/ 29 h 278"/>
                <a:gd name="T20" fmla="*/ 140 w 279"/>
                <a:gd name="T21" fmla="*/ 24 h 278"/>
                <a:gd name="T22" fmla="*/ 174 w 279"/>
                <a:gd name="T23" fmla="*/ 29 h 278"/>
                <a:gd name="T24" fmla="*/ 204 w 279"/>
                <a:gd name="T25" fmla="*/ 44 h 278"/>
                <a:gd name="T26" fmla="*/ 229 w 279"/>
                <a:gd name="T27" fmla="*/ 66 h 278"/>
                <a:gd name="T28" fmla="*/ 246 w 279"/>
                <a:gd name="T29" fmla="*/ 94 h 278"/>
                <a:gd name="T30" fmla="*/ 255 w 279"/>
                <a:gd name="T31" fmla="*/ 128 h 278"/>
                <a:gd name="T32" fmla="*/ 252 w 279"/>
                <a:gd name="T33" fmla="*/ 162 h 278"/>
                <a:gd name="T34" fmla="*/ 241 w 279"/>
                <a:gd name="T35" fmla="*/ 194 h 278"/>
                <a:gd name="T36" fmla="*/ 221 w 279"/>
                <a:gd name="T37" fmla="*/ 221 h 278"/>
                <a:gd name="T38" fmla="*/ 195 w 279"/>
                <a:gd name="T39" fmla="*/ 241 h 278"/>
                <a:gd name="T40" fmla="*/ 163 w 279"/>
                <a:gd name="T41" fmla="*/ 253 h 278"/>
                <a:gd name="T42" fmla="*/ 140 w 279"/>
                <a:gd name="T43" fmla="*/ 0 h 278"/>
                <a:gd name="T44" fmla="*/ 98 w 279"/>
                <a:gd name="T45" fmla="*/ 6 h 278"/>
                <a:gd name="T46" fmla="*/ 62 w 279"/>
                <a:gd name="T47" fmla="*/ 24 h 278"/>
                <a:gd name="T48" fmla="*/ 31 w 279"/>
                <a:gd name="T49" fmla="*/ 51 h 278"/>
                <a:gd name="T50" fmla="*/ 11 w 279"/>
                <a:gd name="T51" fmla="*/ 85 h 278"/>
                <a:gd name="T52" fmla="*/ 1 w 279"/>
                <a:gd name="T53" fmla="*/ 125 h 278"/>
                <a:gd name="T54" fmla="*/ 3 w 279"/>
                <a:gd name="T55" fmla="*/ 167 h 278"/>
                <a:gd name="T56" fmla="*/ 17 w 279"/>
                <a:gd name="T57" fmla="*/ 206 h 278"/>
                <a:gd name="T58" fmla="*/ 41 w 279"/>
                <a:gd name="T59" fmla="*/ 237 h 278"/>
                <a:gd name="T60" fmla="*/ 73 w 279"/>
                <a:gd name="T61" fmla="*/ 262 h 278"/>
                <a:gd name="T62" fmla="*/ 111 w 279"/>
                <a:gd name="T63" fmla="*/ 276 h 278"/>
                <a:gd name="T64" fmla="*/ 154 w 279"/>
                <a:gd name="T65" fmla="*/ 278 h 278"/>
                <a:gd name="T66" fmla="*/ 194 w 279"/>
                <a:gd name="T67" fmla="*/ 268 h 278"/>
                <a:gd name="T68" fmla="*/ 228 w 279"/>
                <a:gd name="T69" fmla="*/ 247 h 278"/>
                <a:gd name="T70" fmla="*/ 255 w 279"/>
                <a:gd name="T71" fmla="*/ 217 h 278"/>
                <a:gd name="T72" fmla="*/ 272 w 279"/>
                <a:gd name="T73" fmla="*/ 181 h 278"/>
                <a:gd name="T74" fmla="*/ 279 w 279"/>
                <a:gd name="T75" fmla="*/ 140 h 278"/>
                <a:gd name="T76" fmla="*/ 272 w 279"/>
                <a:gd name="T77" fmla="*/ 98 h 278"/>
                <a:gd name="T78" fmla="*/ 255 w 279"/>
                <a:gd name="T79" fmla="*/ 61 h 278"/>
                <a:gd name="T80" fmla="*/ 228 w 279"/>
                <a:gd name="T81" fmla="*/ 32 h 278"/>
                <a:gd name="T82" fmla="*/ 194 w 279"/>
                <a:gd name="T83" fmla="*/ 11 h 278"/>
                <a:gd name="T84" fmla="*/ 154 w 279"/>
                <a:gd name="T8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9" h="278">
                  <a:moveTo>
                    <a:pt x="140" y="255"/>
                  </a:moveTo>
                  <a:lnTo>
                    <a:pt x="128" y="254"/>
                  </a:lnTo>
                  <a:lnTo>
                    <a:pt x="116" y="253"/>
                  </a:lnTo>
                  <a:lnTo>
                    <a:pt x="105" y="249"/>
                  </a:lnTo>
                  <a:lnTo>
                    <a:pt x="95" y="246"/>
                  </a:lnTo>
                  <a:lnTo>
                    <a:pt x="84" y="241"/>
                  </a:lnTo>
                  <a:lnTo>
                    <a:pt x="75" y="235"/>
                  </a:lnTo>
                  <a:lnTo>
                    <a:pt x="66" y="228"/>
                  </a:lnTo>
                  <a:lnTo>
                    <a:pt x="57" y="221"/>
                  </a:lnTo>
                  <a:lnTo>
                    <a:pt x="50" y="213"/>
                  </a:lnTo>
                  <a:lnTo>
                    <a:pt x="43" y="203"/>
                  </a:lnTo>
                  <a:lnTo>
                    <a:pt x="37" y="194"/>
                  </a:lnTo>
                  <a:lnTo>
                    <a:pt x="33" y="184"/>
                  </a:lnTo>
                  <a:lnTo>
                    <a:pt x="29" y="174"/>
                  </a:lnTo>
                  <a:lnTo>
                    <a:pt x="27" y="162"/>
                  </a:lnTo>
                  <a:lnTo>
                    <a:pt x="24" y="152"/>
                  </a:lnTo>
                  <a:lnTo>
                    <a:pt x="24" y="140"/>
                  </a:lnTo>
                  <a:lnTo>
                    <a:pt x="24" y="128"/>
                  </a:lnTo>
                  <a:lnTo>
                    <a:pt x="27" y="116"/>
                  </a:lnTo>
                  <a:lnTo>
                    <a:pt x="29" y="105"/>
                  </a:lnTo>
                  <a:lnTo>
                    <a:pt x="33" y="94"/>
                  </a:lnTo>
                  <a:lnTo>
                    <a:pt x="37" y="85"/>
                  </a:lnTo>
                  <a:lnTo>
                    <a:pt x="43" y="75"/>
                  </a:lnTo>
                  <a:lnTo>
                    <a:pt x="50" y="66"/>
                  </a:lnTo>
                  <a:lnTo>
                    <a:pt x="57" y="58"/>
                  </a:lnTo>
                  <a:lnTo>
                    <a:pt x="66" y="51"/>
                  </a:lnTo>
                  <a:lnTo>
                    <a:pt x="75" y="44"/>
                  </a:lnTo>
                  <a:lnTo>
                    <a:pt x="84" y="38"/>
                  </a:lnTo>
                  <a:lnTo>
                    <a:pt x="95" y="33"/>
                  </a:lnTo>
                  <a:lnTo>
                    <a:pt x="105" y="29"/>
                  </a:lnTo>
                  <a:lnTo>
                    <a:pt x="116" y="26"/>
                  </a:lnTo>
                  <a:lnTo>
                    <a:pt x="128" y="25"/>
                  </a:lnTo>
                  <a:lnTo>
                    <a:pt x="140" y="24"/>
                  </a:lnTo>
                  <a:lnTo>
                    <a:pt x="151" y="25"/>
                  </a:lnTo>
                  <a:lnTo>
                    <a:pt x="163" y="26"/>
                  </a:lnTo>
                  <a:lnTo>
                    <a:pt x="174" y="29"/>
                  </a:lnTo>
                  <a:lnTo>
                    <a:pt x="184" y="33"/>
                  </a:lnTo>
                  <a:lnTo>
                    <a:pt x="195" y="38"/>
                  </a:lnTo>
                  <a:lnTo>
                    <a:pt x="204" y="44"/>
                  </a:lnTo>
                  <a:lnTo>
                    <a:pt x="212" y="51"/>
                  </a:lnTo>
                  <a:lnTo>
                    <a:pt x="221" y="58"/>
                  </a:lnTo>
                  <a:lnTo>
                    <a:pt x="229" y="66"/>
                  </a:lnTo>
                  <a:lnTo>
                    <a:pt x="235" y="75"/>
                  </a:lnTo>
                  <a:lnTo>
                    <a:pt x="241" y="85"/>
                  </a:lnTo>
                  <a:lnTo>
                    <a:pt x="246" y="94"/>
                  </a:lnTo>
                  <a:lnTo>
                    <a:pt x="250" y="105"/>
                  </a:lnTo>
                  <a:lnTo>
                    <a:pt x="252" y="116"/>
                  </a:lnTo>
                  <a:lnTo>
                    <a:pt x="255" y="128"/>
                  </a:lnTo>
                  <a:lnTo>
                    <a:pt x="255" y="140"/>
                  </a:lnTo>
                  <a:lnTo>
                    <a:pt x="255" y="152"/>
                  </a:lnTo>
                  <a:lnTo>
                    <a:pt x="252" y="162"/>
                  </a:lnTo>
                  <a:lnTo>
                    <a:pt x="250" y="174"/>
                  </a:lnTo>
                  <a:lnTo>
                    <a:pt x="246" y="184"/>
                  </a:lnTo>
                  <a:lnTo>
                    <a:pt x="241" y="194"/>
                  </a:lnTo>
                  <a:lnTo>
                    <a:pt x="235" y="203"/>
                  </a:lnTo>
                  <a:lnTo>
                    <a:pt x="229" y="213"/>
                  </a:lnTo>
                  <a:lnTo>
                    <a:pt x="221" y="221"/>
                  </a:lnTo>
                  <a:lnTo>
                    <a:pt x="212" y="228"/>
                  </a:lnTo>
                  <a:lnTo>
                    <a:pt x="204" y="235"/>
                  </a:lnTo>
                  <a:lnTo>
                    <a:pt x="195" y="241"/>
                  </a:lnTo>
                  <a:lnTo>
                    <a:pt x="184" y="246"/>
                  </a:lnTo>
                  <a:lnTo>
                    <a:pt x="174" y="249"/>
                  </a:lnTo>
                  <a:lnTo>
                    <a:pt x="163" y="253"/>
                  </a:lnTo>
                  <a:lnTo>
                    <a:pt x="151" y="254"/>
                  </a:lnTo>
                  <a:lnTo>
                    <a:pt x="140" y="255"/>
                  </a:lnTo>
                  <a:close/>
                  <a:moveTo>
                    <a:pt x="140" y="0"/>
                  </a:moveTo>
                  <a:lnTo>
                    <a:pt x="125" y="0"/>
                  </a:lnTo>
                  <a:lnTo>
                    <a:pt x="111" y="2"/>
                  </a:lnTo>
                  <a:lnTo>
                    <a:pt x="98" y="6"/>
                  </a:lnTo>
                  <a:lnTo>
                    <a:pt x="85" y="11"/>
                  </a:lnTo>
                  <a:lnTo>
                    <a:pt x="73" y="17"/>
                  </a:lnTo>
                  <a:lnTo>
                    <a:pt x="62" y="24"/>
                  </a:lnTo>
                  <a:lnTo>
                    <a:pt x="50" y="32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4" y="61"/>
                  </a:lnTo>
                  <a:lnTo>
                    <a:pt x="17" y="73"/>
                  </a:lnTo>
                  <a:lnTo>
                    <a:pt x="11" y="85"/>
                  </a:lnTo>
                  <a:lnTo>
                    <a:pt x="7" y="98"/>
                  </a:lnTo>
                  <a:lnTo>
                    <a:pt x="3" y="112"/>
                  </a:lnTo>
                  <a:lnTo>
                    <a:pt x="1" y="125"/>
                  </a:lnTo>
                  <a:lnTo>
                    <a:pt x="0" y="140"/>
                  </a:lnTo>
                  <a:lnTo>
                    <a:pt x="1" y="154"/>
                  </a:lnTo>
                  <a:lnTo>
                    <a:pt x="3" y="167"/>
                  </a:lnTo>
                  <a:lnTo>
                    <a:pt x="7" y="181"/>
                  </a:lnTo>
                  <a:lnTo>
                    <a:pt x="11" y="194"/>
                  </a:lnTo>
                  <a:lnTo>
                    <a:pt x="17" y="206"/>
                  </a:lnTo>
                  <a:lnTo>
                    <a:pt x="24" y="217"/>
                  </a:lnTo>
                  <a:lnTo>
                    <a:pt x="31" y="228"/>
                  </a:lnTo>
                  <a:lnTo>
                    <a:pt x="41" y="237"/>
                  </a:lnTo>
                  <a:lnTo>
                    <a:pt x="50" y="247"/>
                  </a:lnTo>
                  <a:lnTo>
                    <a:pt x="62" y="255"/>
                  </a:lnTo>
                  <a:lnTo>
                    <a:pt x="73" y="262"/>
                  </a:lnTo>
                  <a:lnTo>
                    <a:pt x="85" y="268"/>
                  </a:lnTo>
                  <a:lnTo>
                    <a:pt x="98" y="273"/>
                  </a:lnTo>
                  <a:lnTo>
                    <a:pt x="111" y="276"/>
                  </a:lnTo>
                  <a:lnTo>
                    <a:pt x="125" y="278"/>
                  </a:lnTo>
                  <a:lnTo>
                    <a:pt x="140" y="278"/>
                  </a:lnTo>
                  <a:lnTo>
                    <a:pt x="154" y="278"/>
                  </a:lnTo>
                  <a:lnTo>
                    <a:pt x="168" y="276"/>
                  </a:lnTo>
                  <a:lnTo>
                    <a:pt x="181" y="273"/>
                  </a:lnTo>
                  <a:lnTo>
                    <a:pt x="194" y="268"/>
                  </a:lnTo>
                  <a:lnTo>
                    <a:pt x="205" y="262"/>
                  </a:lnTo>
                  <a:lnTo>
                    <a:pt x="217" y="255"/>
                  </a:lnTo>
                  <a:lnTo>
                    <a:pt x="228" y="247"/>
                  </a:lnTo>
                  <a:lnTo>
                    <a:pt x="238" y="237"/>
                  </a:lnTo>
                  <a:lnTo>
                    <a:pt x="246" y="228"/>
                  </a:lnTo>
                  <a:lnTo>
                    <a:pt x="255" y="217"/>
                  </a:lnTo>
                  <a:lnTo>
                    <a:pt x="262" y="206"/>
                  </a:lnTo>
                  <a:lnTo>
                    <a:pt x="268" y="194"/>
                  </a:lnTo>
                  <a:lnTo>
                    <a:pt x="272" y="181"/>
                  </a:lnTo>
                  <a:lnTo>
                    <a:pt x="276" y="167"/>
                  </a:lnTo>
                  <a:lnTo>
                    <a:pt x="278" y="154"/>
                  </a:lnTo>
                  <a:lnTo>
                    <a:pt x="279" y="140"/>
                  </a:lnTo>
                  <a:lnTo>
                    <a:pt x="278" y="125"/>
                  </a:lnTo>
                  <a:lnTo>
                    <a:pt x="276" y="112"/>
                  </a:lnTo>
                  <a:lnTo>
                    <a:pt x="272" y="98"/>
                  </a:lnTo>
                  <a:lnTo>
                    <a:pt x="268" y="85"/>
                  </a:lnTo>
                  <a:lnTo>
                    <a:pt x="262" y="73"/>
                  </a:lnTo>
                  <a:lnTo>
                    <a:pt x="255" y="61"/>
                  </a:lnTo>
                  <a:lnTo>
                    <a:pt x="246" y="51"/>
                  </a:lnTo>
                  <a:lnTo>
                    <a:pt x="238" y="41"/>
                  </a:lnTo>
                  <a:lnTo>
                    <a:pt x="228" y="32"/>
                  </a:lnTo>
                  <a:lnTo>
                    <a:pt x="217" y="24"/>
                  </a:lnTo>
                  <a:lnTo>
                    <a:pt x="205" y="17"/>
                  </a:lnTo>
                  <a:lnTo>
                    <a:pt x="194" y="11"/>
                  </a:lnTo>
                  <a:lnTo>
                    <a:pt x="181" y="6"/>
                  </a:lnTo>
                  <a:lnTo>
                    <a:pt x="168" y="2"/>
                  </a:lnTo>
                  <a:lnTo>
                    <a:pt x="154" y="0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8" name="Freeform 228"/>
            <p:cNvSpPr>
              <a:spLocks noEditPoints="1"/>
            </p:cNvSpPr>
            <p:nvPr/>
          </p:nvSpPr>
          <p:spPr bwMode="auto">
            <a:xfrm>
              <a:off x="6311901" y="4860926"/>
              <a:ext cx="150813" cy="233363"/>
            </a:xfrm>
            <a:custGeom>
              <a:avLst/>
              <a:gdLst>
                <a:gd name="T0" fmla="*/ 158 w 380"/>
                <a:gd name="T1" fmla="*/ 352 h 590"/>
                <a:gd name="T2" fmla="*/ 112 w 380"/>
                <a:gd name="T3" fmla="*/ 334 h 590"/>
                <a:gd name="T4" fmla="*/ 73 w 380"/>
                <a:gd name="T5" fmla="*/ 306 h 590"/>
                <a:gd name="T6" fmla="*/ 45 w 380"/>
                <a:gd name="T7" fmla="*/ 269 h 590"/>
                <a:gd name="T8" fmla="*/ 28 w 380"/>
                <a:gd name="T9" fmla="*/ 223 h 590"/>
                <a:gd name="T10" fmla="*/ 25 w 380"/>
                <a:gd name="T11" fmla="*/ 172 h 590"/>
                <a:gd name="T12" fmla="*/ 38 w 380"/>
                <a:gd name="T13" fmla="*/ 125 h 590"/>
                <a:gd name="T14" fmla="*/ 62 w 380"/>
                <a:gd name="T15" fmla="*/ 84 h 590"/>
                <a:gd name="T16" fmla="*/ 98 w 380"/>
                <a:gd name="T17" fmla="*/ 52 h 590"/>
                <a:gd name="T18" fmla="*/ 141 w 380"/>
                <a:gd name="T19" fmla="*/ 31 h 590"/>
                <a:gd name="T20" fmla="*/ 191 w 380"/>
                <a:gd name="T21" fmla="*/ 24 h 590"/>
                <a:gd name="T22" fmla="*/ 240 w 380"/>
                <a:gd name="T23" fmla="*/ 31 h 590"/>
                <a:gd name="T24" fmla="*/ 283 w 380"/>
                <a:gd name="T25" fmla="*/ 52 h 590"/>
                <a:gd name="T26" fmla="*/ 319 w 380"/>
                <a:gd name="T27" fmla="*/ 84 h 590"/>
                <a:gd name="T28" fmla="*/ 343 w 380"/>
                <a:gd name="T29" fmla="*/ 125 h 590"/>
                <a:gd name="T30" fmla="*/ 355 w 380"/>
                <a:gd name="T31" fmla="*/ 172 h 590"/>
                <a:gd name="T32" fmla="*/ 353 w 380"/>
                <a:gd name="T33" fmla="*/ 223 h 590"/>
                <a:gd name="T34" fmla="*/ 336 w 380"/>
                <a:gd name="T35" fmla="*/ 269 h 590"/>
                <a:gd name="T36" fmla="*/ 307 w 380"/>
                <a:gd name="T37" fmla="*/ 306 h 590"/>
                <a:gd name="T38" fmla="*/ 269 w 380"/>
                <a:gd name="T39" fmla="*/ 334 h 590"/>
                <a:gd name="T40" fmla="*/ 223 w 380"/>
                <a:gd name="T41" fmla="*/ 352 h 590"/>
                <a:gd name="T42" fmla="*/ 380 w 380"/>
                <a:gd name="T43" fmla="*/ 190 h 590"/>
                <a:gd name="T44" fmla="*/ 371 w 380"/>
                <a:gd name="T45" fmla="*/ 133 h 590"/>
                <a:gd name="T46" fmla="*/ 347 w 380"/>
                <a:gd name="T47" fmla="*/ 83 h 590"/>
                <a:gd name="T48" fmla="*/ 310 w 380"/>
                <a:gd name="T49" fmla="*/ 43 h 590"/>
                <a:gd name="T50" fmla="*/ 264 w 380"/>
                <a:gd name="T51" fmla="*/ 15 h 590"/>
                <a:gd name="T52" fmla="*/ 209 w 380"/>
                <a:gd name="T53" fmla="*/ 1 h 590"/>
                <a:gd name="T54" fmla="*/ 152 w 380"/>
                <a:gd name="T55" fmla="*/ 3 h 590"/>
                <a:gd name="T56" fmla="*/ 100 w 380"/>
                <a:gd name="T57" fmla="*/ 23 h 590"/>
                <a:gd name="T58" fmla="*/ 57 w 380"/>
                <a:gd name="T59" fmla="*/ 56 h 590"/>
                <a:gd name="T60" fmla="*/ 24 w 380"/>
                <a:gd name="T61" fmla="*/ 99 h 590"/>
                <a:gd name="T62" fmla="*/ 5 w 380"/>
                <a:gd name="T63" fmla="*/ 151 h 590"/>
                <a:gd name="T64" fmla="*/ 1 w 380"/>
                <a:gd name="T65" fmla="*/ 206 h 590"/>
                <a:gd name="T66" fmla="*/ 12 w 380"/>
                <a:gd name="T67" fmla="*/ 253 h 590"/>
                <a:gd name="T68" fmla="*/ 33 w 380"/>
                <a:gd name="T69" fmla="*/ 296 h 590"/>
                <a:gd name="T70" fmla="*/ 64 w 380"/>
                <a:gd name="T71" fmla="*/ 331 h 590"/>
                <a:gd name="T72" fmla="*/ 102 w 380"/>
                <a:gd name="T73" fmla="*/ 358 h 590"/>
                <a:gd name="T74" fmla="*/ 147 w 380"/>
                <a:gd name="T75" fmla="*/ 374 h 590"/>
                <a:gd name="T76" fmla="*/ 151 w 380"/>
                <a:gd name="T77" fmla="*/ 587 h 590"/>
                <a:gd name="T78" fmla="*/ 165 w 380"/>
                <a:gd name="T79" fmla="*/ 589 h 590"/>
                <a:gd name="T80" fmla="*/ 172 w 380"/>
                <a:gd name="T81" fmla="*/ 577 h 590"/>
                <a:gd name="T82" fmla="*/ 191 w 380"/>
                <a:gd name="T83" fmla="*/ 379 h 590"/>
                <a:gd name="T84" fmla="*/ 209 w 380"/>
                <a:gd name="T85" fmla="*/ 577 h 590"/>
                <a:gd name="T86" fmla="*/ 216 w 380"/>
                <a:gd name="T87" fmla="*/ 589 h 590"/>
                <a:gd name="T88" fmla="*/ 229 w 380"/>
                <a:gd name="T89" fmla="*/ 587 h 590"/>
                <a:gd name="T90" fmla="*/ 233 w 380"/>
                <a:gd name="T91" fmla="*/ 374 h 590"/>
                <a:gd name="T92" fmla="*/ 277 w 380"/>
                <a:gd name="T93" fmla="*/ 358 h 590"/>
                <a:gd name="T94" fmla="*/ 316 w 380"/>
                <a:gd name="T95" fmla="*/ 331 h 590"/>
                <a:gd name="T96" fmla="*/ 347 w 380"/>
                <a:gd name="T97" fmla="*/ 296 h 590"/>
                <a:gd name="T98" fmla="*/ 369 w 380"/>
                <a:gd name="T99" fmla="*/ 253 h 590"/>
                <a:gd name="T100" fmla="*/ 380 w 380"/>
                <a:gd name="T101" fmla="*/ 206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0" h="590">
                  <a:moveTo>
                    <a:pt x="191" y="354"/>
                  </a:moveTo>
                  <a:lnTo>
                    <a:pt x="174" y="354"/>
                  </a:lnTo>
                  <a:lnTo>
                    <a:pt x="158" y="352"/>
                  </a:lnTo>
                  <a:lnTo>
                    <a:pt x="141" y="347"/>
                  </a:lnTo>
                  <a:lnTo>
                    <a:pt x="126" y="341"/>
                  </a:lnTo>
                  <a:lnTo>
                    <a:pt x="112" y="334"/>
                  </a:lnTo>
                  <a:lnTo>
                    <a:pt x="98" y="326"/>
                  </a:lnTo>
                  <a:lnTo>
                    <a:pt x="85" y="317"/>
                  </a:lnTo>
                  <a:lnTo>
                    <a:pt x="73" y="306"/>
                  </a:lnTo>
                  <a:lnTo>
                    <a:pt x="62" y="294"/>
                  </a:lnTo>
                  <a:lnTo>
                    <a:pt x="53" y="281"/>
                  </a:lnTo>
                  <a:lnTo>
                    <a:pt x="45" y="269"/>
                  </a:lnTo>
                  <a:lnTo>
                    <a:pt x="38" y="253"/>
                  </a:lnTo>
                  <a:lnTo>
                    <a:pt x="32" y="238"/>
                  </a:lnTo>
                  <a:lnTo>
                    <a:pt x="28" y="223"/>
                  </a:lnTo>
                  <a:lnTo>
                    <a:pt x="25" y="206"/>
                  </a:lnTo>
                  <a:lnTo>
                    <a:pt x="25" y="190"/>
                  </a:lnTo>
                  <a:lnTo>
                    <a:pt x="25" y="172"/>
                  </a:lnTo>
                  <a:lnTo>
                    <a:pt x="28" y="156"/>
                  </a:lnTo>
                  <a:lnTo>
                    <a:pt x="32" y="141"/>
                  </a:lnTo>
                  <a:lnTo>
                    <a:pt x="38" y="125"/>
                  </a:lnTo>
                  <a:lnTo>
                    <a:pt x="45" y="110"/>
                  </a:lnTo>
                  <a:lnTo>
                    <a:pt x="53" y="97"/>
                  </a:lnTo>
                  <a:lnTo>
                    <a:pt x="62" y="84"/>
                  </a:lnTo>
                  <a:lnTo>
                    <a:pt x="73" y="72"/>
                  </a:lnTo>
                  <a:lnTo>
                    <a:pt x="85" y="62"/>
                  </a:lnTo>
                  <a:lnTo>
                    <a:pt x="98" y="52"/>
                  </a:lnTo>
                  <a:lnTo>
                    <a:pt x="112" y="44"/>
                  </a:lnTo>
                  <a:lnTo>
                    <a:pt x="126" y="37"/>
                  </a:lnTo>
                  <a:lnTo>
                    <a:pt x="141" y="31"/>
                  </a:lnTo>
                  <a:lnTo>
                    <a:pt x="158" y="28"/>
                  </a:lnTo>
                  <a:lnTo>
                    <a:pt x="174" y="24"/>
                  </a:lnTo>
                  <a:lnTo>
                    <a:pt x="191" y="24"/>
                  </a:lnTo>
                  <a:lnTo>
                    <a:pt x="207" y="24"/>
                  </a:lnTo>
                  <a:lnTo>
                    <a:pt x="223" y="28"/>
                  </a:lnTo>
                  <a:lnTo>
                    <a:pt x="240" y="31"/>
                  </a:lnTo>
                  <a:lnTo>
                    <a:pt x="255" y="37"/>
                  </a:lnTo>
                  <a:lnTo>
                    <a:pt x="269" y="44"/>
                  </a:lnTo>
                  <a:lnTo>
                    <a:pt x="283" y="52"/>
                  </a:lnTo>
                  <a:lnTo>
                    <a:pt x="295" y="62"/>
                  </a:lnTo>
                  <a:lnTo>
                    <a:pt x="307" y="72"/>
                  </a:lnTo>
                  <a:lnTo>
                    <a:pt x="319" y="84"/>
                  </a:lnTo>
                  <a:lnTo>
                    <a:pt x="328" y="97"/>
                  </a:lnTo>
                  <a:lnTo>
                    <a:pt x="336" y="110"/>
                  </a:lnTo>
                  <a:lnTo>
                    <a:pt x="343" y="125"/>
                  </a:lnTo>
                  <a:lnTo>
                    <a:pt x="348" y="141"/>
                  </a:lnTo>
                  <a:lnTo>
                    <a:pt x="353" y="156"/>
                  </a:lnTo>
                  <a:lnTo>
                    <a:pt x="355" y="172"/>
                  </a:lnTo>
                  <a:lnTo>
                    <a:pt x="356" y="190"/>
                  </a:lnTo>
                  <a:lnTo>
                    <a:pt x="355" y="206"/>
                  </a:lnTo>
                  <a:lnTo>
                    <a:pt x="353" y="223"/>
                  </a:lnTo>
                  <a:lnTo>
                    <a:pt x="348" y="238"/>
                  </a:lnTo>
                  <a:lnTo>
                    <a:pt x="343" y="253"/>
                  </a:lnTo>
                  <a:lnTo>
                    <a:pt x="336" y="269"/>
                  </a:lnTo>
                  <a:lnTo>
                    <a:pt x="328" y="281"/>
                  </a:lnTo>
                  <a:lnTo>
                    <a:pt x="319" y="294"/>
                  </a:lnTo>
                  <a:lnTo>
                    <a:pt x="307" y="306"/>
                  </a:lnTo>
                  <a:lnTo>
                    <a:pt x="295" y="317"/>
                  </a:lnTo>
                  <a:lnTo>
                    <a:pt x="283" y="326"/>
                  </a:lnTo>
                  <a:lnTo>
                    <a:pt x="269" y="334"/>
                  </a:lnTo>
                  <a:lnTo>
                    <a:pt x="255" y="341"/>
                  </a:lnTo>
                  <a:lnTo>
                    <a:pt x="240" y="347"/>
                  </a:lnTo>
                  <a:lnTo>
                    <a:pt x="223" y="352"/>
                  </a:lnTo>
                  <a:lnTo>
                    <a:pt x="207" y="354"/>
                  </a:lnTo>
                  <a:lnTo>
                    <a:pt x="191" y="354"/>
                  </a:lnTo>
                  <a:close/>
                  <a:moveTo>
                    <a:pt x="380" y="190"/>
                  </a:moveTo>
                  <a:lnTo>
                    <a:pt x="378" y="170"/>
                  </a:lnTo>
                  <a:lnTo>
                    <a:pt x="376" y="151"/>
                  </a:lnTo>
                  <a:lnTo>
                    <a:pt x="371" y="133"/>
                  </a:lnTo>
                  <a:lnTo>
                    <a:pt x="364" y="116"/>
                  </a:lnTo>
                  <a:lnTo>
                    <a:pt x="357" y="99"/>
                  </a:lnTo>
                  <a:lnTo>
                    <a:pt x="347" y="83"/>
                  </a:lnTo>
                  <a:lnTo>
                    <a:pt x="336" y="69"/>
                  </a:lnTo>
                  <a:lnTo>
                    <a:pt x="324" y="56"/>
                  </a:lnTo>
                  <a:lnTo>
                    <a:pt x="310" y="43"/>
                  </a:lnTo>
                  <a:lnTo>
                    <a:pt x="296" y="32"/>
                  </a:lnTo>
                  <a:lnTo>
                    <a:pt x="281" y="23"/>
                  </a:lnTo>
                  <a:lnTo>
                    <a:pt x="264" y="15"/>
                  </a:lnTo>
                  <a:lnTo>
                    <a:pt x="247" y="8"/>
                  </a:lnTo>
                  <a:lnTo>
                    <a:pt x="228" y="3"/>
                  </a:lnTo>
                  <a:lnTo>
                    <a:pt x="209" y="1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3"/>
                  </a:lnTo>
                  <a:lnTo>
                    <a:pt x="134" y="8"/>
                  </a:lnTo>
                  <a:lnTo>
                    <a:pt x="117" y="15"/>
                  </a:lnTo>
                  <a:lnTo>
                    <a:pt x="100" y="23"/>
                  </a:lnTo>
                  <a:lnTo>
                    <a:pt x="85" y="32"/>
                  </a:lnTo>
                  <a:lnTo>
                    <a:pt x="70" y="43"/>
                  </a:lnTo>
                  <a:lnTo>
                    <a:pt x="57" y="56"/>
                  </a:lnTo>
                  <a:lnTo>
                    <a:pt x="44" y="69"/>
                  </a:lnTo>
                  <a:lnTo>
                    <a:pt x="33" y="83"/>
                  </a:lnTo>
                  <a:lnTo>
                    <a:pt x="24" y="99"/>
                  </a:lnTo>
                  <a:lnTo>
                    <a:pt x="16" y="116"/>
                  </a:lnTo>
                  <a:lnTo>
                    <a:pt x="10" y="133"/>
                  </a:lnTo>
                  <a:lnTo>
                    <a:pt x="5" y="151"/>
                  </a:lnTo>
                  <a:lnTo>
                    <a:pt x="1" y="170"/>
                  </a:lnTo>
                  <a:lnTo>
                    <a:pt x="0" y="190"/>
                  </a:lnTo>
                  <a:lnTo>
                    <a:pt x="1" y="206"/>
                  </a:lnTo>
                  <a:lnTo>
                    <a:pt x="4" y="223"/>
                  </a:lnTo>
                  <a:lnTo>
                    <a:pt x="7" y="238"/>
                  </a:lnTo>
                  <a:lnTo>
                    <a:pt x="12" y="253"/>
                  </a:lnTo>
                  <a:lnTo>
                    <a:pt x="18" y="269"/>
                  </a:lnTo>
                  <a:lnTo>
                    <a:pt x="25" y="281"/>
                  </a:lnTo>
                  <a:lnTo>
                    <a:pt x="33" y="296"/>
                  </a:lnTo>
                  <a:lnTo>
                    <a:pt x="43" y="308"/>
                  </a:lnTo>
                  <a:lnTo>
                    <a:pt x="53" y="320"/>
                  </a:lnTo>
                  <a:lnTo>
                    <a:pt x="64" y="331"/>
                  </a:lnTo>
                  <a:lnTo>
                    <a:pt x="77" y="340"/>
                  </a:lnTo>
                  <a:lnTo>
                    <a:pt x="89" y="350"/>
                  </a:lnTo>
                  <a:lnTo>
                    <a:pt x="102" y="358"/>
                  </a:lnTo>
                  <a:lnTo>
                    <a:pt x="118" y="364"/>
                  </a:lnTo>
                  <a:lnTo>
                    <a:pt x="132" y="370"/>
                  </a:lnTo>
                  <a:lnTo>
                    <a:pt x="147" y="374"/>
                  </a:lnTo>
                  <a:lnTo>
                    <a:pt x="147" y="577"/>
                  </a:lnTo>
                  <a:lnTo>
                    <a:pt x="148" y="582"/>
                  </a:lnTo>
                  <a:lnTo>
                    <a:pt x="151" y="587"/>
                  </a:lnTo>
                  <a:lnTo>
                    <a:pt x="155" y="589"/>
                  </a:lnTo>
                  <a:lnTo>
                    <a:pt x="159" y="590"/>
                  </a:lnTo>
                  <a:lnTo>
                    <a:pt x="165" y="589"/>
                  </a:lnTo>
                  <a:lnTo>
                    <a:pt x="168" y="587"/>
                  </a:lnTo>
                  <a:lnTo>
                    <a:pt x="171" y="582"/>
                  </a:lnTo>
                  <a:lnTo>
                    <a:pt x="172" y="577"/>
                  </a:lnTo>
                  <a:lnTo>
                    <a:pt x="172" y="378"/>
                  </a:lnTo>
                  <a:lnTo>
                    <a:pt x="181" y="379"/>
                  </a:lnTo>
                  <a:lnTo>
                    <a:pt x="191" y="379"/>
                  </a:lnTo>
                  <a:lnTo>
                    <a:pt x="200" y="379"/>
                  </a:lnTo>
                  <a:lnTo>
                    <a:pt x="209" y="378"/>
                  </a:lnTo>
                  <a:lnTo>
                    <a:pt x="209" y="577"/>
                  </a:lnTo>
                  <a:lnTo>
                    <a:pt x="210" y="582"/>
                  </a:lnTo>
                  <a:lnTo>
                    <a:pt x="213" y="587"/>
                  </a:lnTo>
                  <a:lnTo>
                    <a:pt x="216" y="589"/>
                  </a:lnTo>
                  <a:lnTo>
                    <a:pt x="221" y="590"/>
                  </a:lnTo>
                  <a:lnTo>
                    <a:pt x="226" y="589"/>
                  </a:lnTo>
                  <a:lnTo>
                    <a:pt x="229" y="587"/>
                  </a:lnTo>
                  <a:lnTo>
                    <a:pt x="233" y="582"/>
                  </a:lnTo>
                  <a:lnTo>
                    <a:pt x="233" y="577"/>
                  </a:lnTo>
                  <a:lnTo>
                    <a:pt x="233" y="374"/>
                  </a:lnTo>
                  <a:lnTo>
                    <a:pt x="249" y="370"/>
                  </a:lnTo>
                  <a:lnTo>
                    <a:pt x="263" y="364"/>
                  </a:lnTo>
                  <a:lnTo>
                    <a:pt x="277" y="358"/>
                  </a:lnTo>
                  <a:lnTo>
                    <a:pt x="292" y="350"/>
                  </a:lnTo>
                  <a:lnTo>
                    <a:pt x="304" y="340"/>
                  </a:lnTo>
                  <a:lnTo>
                    <a:pt x="316" y="331"/>
                  </a:lnTo>
                  <a:lnTo>
                    <a:pt x="328" y="320"/>
                  </a:lnTo>
                  <a:lnTo>
                    <a:pt x="338" y="308"/>
                  </a:lnTo>
                  <a:lnTo>
                    <a:pt x="347" y="296"/>
                  </a:lnTo>
                  <a:lnTo>
                    <a:pt x="356" y="281"/>
                  </a:lnTo>
                  <a:lnTo>
                    <a:pt x="363" y="269"/>
                  </a:lnTo>
                  <a:lnTo>
                    <a:pt x="369" y="253"/>
                  </a:lnTo>
                  <a:lnTo>
                    <a:pt x="374" y="238"/>
                  </a:lnTo>
                  <a:lnTo>
                    <a:pt x="377" y="223"/>
                  </a:lnTo>
                  <a:lnTo>
                    <a:pt x="380" y="206"/>
                  </a:lnTo>
                  <a:lnTo>
                    <a:pt x="380" y="19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49" name="Freeform 229"/>
            <p:cNvSpPr>
              <a:spLocks/>
            </p:cNvSpPr>
            <p:nvPr/>
          </p:nvSpPr>
          <p:spPr bwMode="auto">
            <a:xfrm>
              <a:off x="6381751" y="4906963"/>
              <a:ext cx="33338" cy="33338"/>
            </a:xfrm>
            <a:custGeom>
              <a:avLst/>
              <a:gdLst>
                <a:gd name="T0" fmla="*/ 61 w 82"/>
                <a:gd name="T1" fmla="*/ 4 h 85"/>
                <a:gd name="T2" fmla="*/ 2 w 82"/>
                <a:gd name="T3" fmla="*/ 63 h 85"/>
                <a:gd name="T4" fmla="*/ 0 w 82"/>
                <a:gd name="T5" fmla="*/ 68 h 85"/>
                <a:gd name="T6" fmla="*/ 0 w 82"/>
                <a:gd name="T7" fmla="*/ 73 h 85"/>
                <a:gd name="T8" fmla="*/ 0 w 82"/>
                <a:gd name="T9" fmla="*/ 78 h 85"/>
                <a:gd name="T10" fmla="*/ 3 w 82"/>
                <a:gd name="T11" fmla="*/ 81 h 85"/>
                <a:gd name="T12" fmla="*/ 7 w 82"/>
                <a:gd name="T13" fmla="*/ 83 h 85"/>
                <a:gd name="T14" fmla="*/ 12 w 82"/>
                <a:gd name="T15" fmla="*/ 85 h 85"/>
                <a:gd name="T16" fmla="*/ 16 w 82"/>
                <a:gd name="T17" fmla="*/ 83 h 85"/>
                <a:gd name="T18" fmla="*/ 20 w 82"/>
                <a:gd name="T19" fmla="*/ 81 h 85"/>
                <a:gd name="T20" fmla="*/ 78 w 82"/>
                <a:gd name="T21" fmla="*/ 20 h 85"/>
                <a:gd name="T22" fmla="*/ 81 w 82"/>
                <a:gd name="T23" fmla="*/ 16 h 85"/>
                <a:gd name="T24" fmla="*/ 82 w 82"/>
                <a:gd name="T25" fmla="*/ 12 h 85"/>
                <a:gd name="T26" fmla="*/ 81 w 82"/>
                <a:gd name="T27" fmla="*/ 7 h 85"/>
                <a:gd name="T28" fmla="*/ 78 w 82"/>
                <a:gd name="T29" fmla="*/ 4 h 85"/>
                <a:gd name="T30" fmla="*/ 75 w 82"/>
                <a:gd name="T31" fmla="*/ 0 h 85"/>
                <a:gd name="T32" fmla="*/ 70 w 82"/>
                <a:gd name="T33" fmla="*/ 0 h 85"/>
                <a:gd name="T34" fmla="*/ 66 w 82"/>
                <a:gd name="T35" fmla="*/ 1 h 85"/>
                <a:gd name="T36" fmla="*/ 61 w 82"/>
                <a:gd name="T37" fmla="*/ 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5">
                  <a:moveTo>
                    <a:pt x="61" y="4"/>
                  </a:moveTo>
                  <a:lnTo>
                    <a:pt x="2" y="63"/>
                  </a:lnTo>
                  <a:lnTo>
                    <a:pt x="0" y="68"/>
                  </a:lnTo>
                  <a:lnTo>
                    <a:pt x="0" y="73"/>
                  </a:lnTo>
                  <a:lnTo>
                    <a:pt x="0" y="78"/>
                  </a:lnTo>
                  <a:lnTo>
                    <a:pt x="3" y="81"/>
                  </a:lnTo>
                  <a:lnTo>
                    <a:pt x="7" y="83"/>
                  </a:lnTo>
                  <a:lnTo>
                    <a:pt x="12" y="85"/>
                  </a:lnTo>
                  <a:lnTo>
                    <a:pt x="16" y="83"/>
                  </a:lnTo>
                  <a:lnTo>
                    <a:pt x="20" y="81"/>
                  </a:lnTo>
                  <a:lnTo>
                    <a:pt x="78" y="20"/>
                  </a:lnTo>
                  <a:lnTo>
                    <a:pt x="81" y="16"/>
                  </a:lnTo>
                  <a:lnTo>
                    <a:pt x="82" y="12"/>
                  </a:lnTo>
                  <a:lnTo>
                    <a:pt x="81" y="7"/>
                  </a:lnTo>
                  <a:lnTo>
                    <a:pt x="78" y="4"/>
                  </a:lnTo>
                  <a:lnTo>
                    <a:pt x="75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1" y="4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0" name="Rectangle 230"/>
            <p:cNvSpPr>
              <a:spLocks noChangeArrowheads="1"/>
            </p:cNvSpPr>
            <p:nvPr/>
          </p:nvSpPr>
          <p:spPr bwMode="auto">
            <a:xfrm>
              <a:off x="6030913" y="4935538"/>
              <a:ext cx="80963" cy="2540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1" name="Rectangle 231"/>
            <p:cNvSpPr>
              <a:spLocks noChangeArrowheads="1"/>
            </p:cNvSpPr>
            <p:nvPr/>
          </p:nvSpPr>
          <p:spPr bwMode="auto">
            <a:xfrm>
              <a:off x="5919788" y="5089526"/>
              <a:ext cx="304800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2" name="Rectangle 232"/>
            <p:cNvSpPr>
              <a:spLocks noChangeArrowheads="1"/>
            </p:cNvSpPr>
            <p:nvPr/>
          </p:nvSpPr>
          <p:spPr bwMode="auto">
            <a:xfrm>
              <a:off x="5686426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3" name="Rectangle 233"/>
            <p:cNvSpPr>
              <a:spLocks noChangeArrowheads="1"/>
            </p:cNvSpPr>
            <p:nvPr/>
          </p:nvSpPr>
          <p:spPr bwMode="auto">
            <a:xfrm>
              <a:off x="6316663" y="5089526"/>
              <a:ext cx="141288" cy="1333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4" name="Rectangle 234"/>
            <p:cNvSpPr>
              <a:spLocks noChangeArrowheads="1"/>
            </p:cNvSpPr>
            <p:nvPr/>
          </p:nvSpPr>
          <p:spPr bwMode="auto">
            <a:xfrm>
              <a:off x="5649913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5" name="Rectangle 235"/>
            <p:cNvSpPr>
              <a:spLocks noChangeArrowheads="1"/>
            </p:cNvSpPr>
            <p:nvPr/>
          </p:nvSpPr>
          <p:spPr bwMode="auto">
            <a:xfrm>
              <a:off x="6457951" y="5019676"/>
              <a:ext cx="36513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6" name="Rectangle 236"/>
            <p:cNvSpPr>
              <a:spLocks noChangeArrowheads="1"/>
            </p:cNvSpPr>
            <p:nvPr/>
          </p:nvSpPr>
          <p:spPr bwMode="auto">
            <a:xfrm>
              <a:off x="5827713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7" name="Rectangle 237"/>
            <p:cNvSpPr>
              <a:spLocks noChangeArrowheads="1"/>
            </p:cNvSpPr>
            <p:nvPr/>
          </p:nvSpPr>
          <p:spPr bwMode="auto">
            <a:xfrm>
              <a:off x="6224588" y="5019676"/>
              <a:ext cx="92075" cy="273050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8" name="Rectangle 238"/>
            <p:cNvSpPr>
              <a:spLocks noChangeArrowheads="1"/>
            </p:cNvSpPr>
            <p:nvPr/>
          </p:nvSpPr>
          <p:spPr bwMode="auto">
            <a:xfrm>
              <a:off x="5994401" y="4960938"/>
              <a:ext cx="155575" cy="128588"/>
            </a:xfrm>
            <a:prstGeom prst="rect">
              <a:avLst/>
            </a:pr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59" name="Rectangle 239"/>
            <p:cNvSpPr>
              <a:spLocks noChangeArrowheads="1"/>
            </p:cNvSpPr>
            <p:nvPr/>
          </p:nvSpPr>
          <p:spPr bwMode="auto">
            <a:xfrm>
              <a:off x="5943601" y="4648201"/>
              <a:ext cx="257175" cy="260350"/>
            </a:xfrm>
            <a:prstGeom prst="rect">
              <a:avLst/>
            </a:prstGeom>
            <a:solidFill>
              <a:srgbClr val="2FB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0" name="Freeform 240"/>
            <p:cNvSpPr>
              <a:spLocks noEditPoints="1"/>
            </p:cNvSpPr>
            <p:nvPr/>
          </p:nvSpPr>
          <p:spPr bwMode="auto">
            <a:xfrm>
              <a:off x="5915026" y="4621213"/>
              <a:ext cx="312738" cy="314325"/>
            </a:xfrm>
            <a:custGeom>
              <a:avLst/>
              <a:gdLst>
                <a:gd name="T0" fmla="*/ 70 w 788"/>
                <a:gd name="T1" fmla="*/ 723 h 794"/>
                <a:gd name="T2" fmla="*/ 719 w 788"/>
                <a:gd name="T3" fmla="*/ 723 h 794"/>
                <a:gd name="T4" fmla="*/ 719 w 788"/>
                <a:gd name="T5" fmla="*/ 70 h 794"/>
                <a:gd name="T6" fmla="*/ 70 w 788"/>
                <a:gd name="T7" fmla="*/ 70 h 794"/>
                <a:gd name="T8" fmla="*/ 70 w 788"/>
                <a:gd name="T9" fmla="*/ 723 h 794"/>
                <a:gd name="T10" fmla="*/ 727 w 788"/>
                <a:gd name="T11" fmla="*/ 794 h 794"/>
                <a:gd name="T12" fmla="*/ 62 w 788"/>
                <a:gd name="T13" fmla="*/ 794 h 794"/>
                <a:gd name="T14" fmla="*/ 56 w 788"/>
                <a:gd name="T15" fmla="*/ 793 h 794"/>
                <a:gd name="T16" fmla="*/ 49 w 788"/>
                <a:gd name="T17" fmla="*/ 793 h 794"/>
                <a:gd name="T18" fmla="*/ 43 w 788"/>
                <a:gd name="T19" fmla="*/ 790 h 794"/>
                <a:gd name="T20" fmla="*/ 37 w 788"/>
                <a:gd name="T21" fmla="*/ 788 h 794"/>
                <a:gd name="T22" fmla="*/ 27 w 788"/>
                <a:gd name="T23" fmla="*/ 783 h 794"/>
                <a:gd name="T24" fmla="*/ 19 w 788"/>
                <a:gd name="T25" fmla="*/ 775 h 794"/>
                <a:gd name="T26" fmla="*/ 10 w 788"/>
                <a:gd name="T27" fmla="*/ 766 h 794"/>
                <a:gd name="T28" fmla="*/ 5 w 788"/>
                <a:gd name="T29" fmla="*/ 755 h 794"/>
                <a:gd name="T30" fmla="*/ 2 w 788"/>
                <a:gd name="T31" fmla="*/ 749 h 794"/>
                <a:gd name="T32" fmla="*/ 1 w 788"/>
                <a:gd name="T33" fmla="*/ 743 h 794"/>
                <a:gd name="T34" fmla="*/ 0 w 788"/>
                <a:gd name="T35" fmla="*/ 737 h 794"/>
                <a:gd name="T36" fmla="*/ 0 w 788"/>
                <a:gd name="T37" fmla="*/ 732 h 794"/>
                <a:gd name="T38" fmla="*/ 0 w 788"/>
                <a:gd name="T39" fmla="*/ 62 h 794"/>
                <a:gd name="T40" fmla="*/ 0 w 788"/>
                <a:gd name="T41" fmla="*/ 55 h 794"/>
                <a:gd name="T42" fmla="*/ 1 w 788"/>
                <a:gd name="T43" fmla="*/ 49 h 794"/>
                <a:gd name="T44" fmla="*/ 2 w 788"/>
                <a:gd name="T45" fmla="*/ 43 h 794"/>
                <a:gd name="T46" fmla="*/ 5 w 788"/>
                <a:gd name="T47" fmla="*/ 37 h 794"/>
                <a:gd name="T48" fmla="*/ 10 w 788"/>
                <a:gd name="T49" fmla="*/ 27 h 794"/>
                <a:gd name="T50" fmla="*/ 19 w 788"/>
                <a:gd name="T51" fmla="*/ 17 h 794"/>
                <a:gd name="T52" fmla="*/ 27 w 788"/>
                <a:gd name="T53" fmla="*/ 10 h 794"/>
                <a:gd name="T54" fmla="*/ 37 w 788"/>
                <a:gd name="T55" fmla="*/ 5 h 794"/>
                <a:gd name="T56" fmla="*/ 43 w 788"/>
                <a:gd name="T57" fmla="*/ 2 h 794"/>
                <a:gd name="T58" fmla="*/ 49 w 788"/>
                <a:gd name="T59" fmla="*/ 1 h 794"/>
                <a:gd name="T60" fmla="*/ 56 w 788"/>
                <a:gd name="T61" fmla="*/ 0 h 794"/>
                <a:gd name="T62" fmla="*/ 62 w 788"/>
                <a:gd name="T63" fmla="*/ 0 h 794"/>
                <a:gd name="T64" fmla="*/ 727 w 788"/>
                <a:gd name="T65" fmla="*/ 0 h 794"/>
                <a:gd name="T66" fmla="*/ 733 w 788"/>
                <a:gd name="T67" fmla="*/ 0 h 794"/>
                <a:gd name="T68" fmla="*/ 739 w 788"/>
                <a:gd name="T69" fmla="*/ 1 h 794"/>
                <a:gd name="T70" fmla="*/ 746 w 788"/>
                <a:gd name="T71" fmla="*/ 2 h 794"/>
                <a:gd name="T72" fmla="*/ 750 w 788"/>
                <a:gd name="T73" fmla="*/ 5 h 794"/>
                <a:gd name="T74" fmla="*/ 761 w 788"/>
                <a:gd name="T75" fmla="*/ 10 h 794"/>
                <a:gd name="T76" fmla="*/ 770 w 788"/>
                <a:gd name="T77" fmla="*/ 17 h 794"/>
                <a:gd name="T78" fmla="*/ 777 w 788"/>
                <a:gd name="T79" fmla="*/ 27 h 794"/>
                <a:gd name="T80" fmla="*/ 783 w 788"/>
                <a:gd name="T81" fmla="*/ 37 h 794"/>
                <a:gd name="T82" fmla="*/ 786 w 788"/>
                <a:gd name="T83" fmla="*/ 43 h 794"/>
                <a:gd name="T84" fmla="*/ 787 w 788"/>
                <a:gd name="T85" fmla="*/ 49 h 794"/>
                <a:gd name="T86" fmla="*/ 788 w 788"/>
                <a:gd name="T87" fmla="*/ 55 h 794"/>
                <a:gd name="T88" fmla="*/ 788 w 788"/>
                <a:gd name="T89" fmla="*/ 62 h 794"/>
                <a:gd name="T90" fmla="*/ 788 w 788"/>
                <a:gd name="T91" fmla="*/ 732 h 794"/>
                <a:gd name="T92" fmla="*/ 788 w 788"/>
                <a:gd name="T93" fmla="*/ 737 h 794"/>
                <a:gd name="T94" fmla="*/ 787 w 788"/>
                <a:gd name="T95" fmla="*/ 743 h 794"/>
                <a:gd name="T96" fmla="*/ 786 w 788"/>
                <a:gd name="T97" fmla="*/ 749 h 794"/>
                <a:gd name="T98" fmla="*/ 783 w 788"/>
                <a:gd name="T99" fmla="*/ 755 h 794"/>
                <a:gd name="T100" fmla="*/ 777 w 788"/>
                <a:gd name="T101" fmla="*/ 766 h 794"/>
                <a:gd name="T102" fmla="*/ 770 w 788"/>
                <a:gd name="T103" fmla="*/ 775 h 794"/>
                <a:gd name="T104" fmla="*/ 761 w 788"/>
                <a:gd name="T105" fmla="*/ 783 h 794"/>
                <a:gd name="T106" fmla="*/ 750 w 788"/>
                <a:gd name="T107" fmla="*/ 788 h 794"/>
                <a:gd name="T108" fmla="*/ 746 w 788"/>
                <a:gd name="T109" fmla="*/ 790 h 794"/>
                <a:gd name="T110" fmla="*/ 739 w 788"/>
                <a:gd name="T111" fmla="*/ 793 h 794"/>
                <a:gd name="T112" fmla="*/ 733 w 788"/>
                <a:gd name="T113" fmla="*/ 793 h 794"/>
                <a:gd name="T114" fmla="*/ 727 w 788"/>
                <a:gd name="T1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8" h="794">
                  <a:moveTo>
                    <a:pt x="70" y="723"/>
                  </a:moveTo>
                  <a:lnTo>
                    <a:pt x="719" y="723"/>
                  </a:lnTo>
                  <a:lnTo>
                    <a:pt x="719" y="70"/>
                  </a:lnTo>
                  <a:lnTo>
                    <a:pt x="70" y="70"/>
                  </a:lnTo>
                  <a:lnTo>
                    <a:pt x="70" y="723"/>
                  </a:lnTo>
                  <a:close/>
                  <a:moveTo>
                    <a:pt x="727" y="794"/>
                  </a:moveTo>
                  <a:lnTo>
                    <a:pt x="62" y="794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790"/>
                  </a:lnTo>
                  <a:lnTo>
                    <a:pt x="37" y="788"/>
                  </a:lnTo>
                  <a:lnTo>
                    <a:pt x="27" y="783"/>
                  </a:lnTo>
                  <a:lnTo>
                    <a:pt x="19" y="775"/>
                  </a:lnTo>
                  <a:lnTo>
                    <a:pt x="10" y="766"/>
                  </a:lnTo>
                  <a:lnTo>
                    <a:pt x="5" y="755"/>
                  </a:lnTo>
                  <a:lnTo>
                    <a:pt x="2" y="749"/>
                  </a:lnTo>
                  <a:lnTo>
                    <a:pt x="1" y="743"/>
                  </a:lnTo>
                  <a:lnTo>
                    <a:pt x="0" y="737"/>
                  </a:lnTo>
                  <a:lnTo>
                    <a:pt x="0" y="732"/>
                  </a:lnTo>
                  <a:lnTo>
                    <a:pt x="0" y="62"/>
                  </a:lnTo>
                  <a:lnTo>
                    <a:pt x="0" y="55"/>
                  </a:lnTo>
                  <a:lnTo>
                    <a:pt x="1" y="49"/>
                  </a:lnTo>
                  <a:lnTo>
                    <a:pt x="2" y="43"/>
                  </a:lnTo>
                  <a:lnTo>
                    <a:pt x="5" y="37"/>
                  </a:lnTo>
                  <a:lnTo>
                    <a:pt x="10" y="27"/>
                  </a:lnTo>
                  <a:lnTo>
                    <a:pt x="19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9" y="1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727" y="0"/>
                  </a:lnTo>
                  <a:lnTo>
                    <a:pt x="733" y="0"/>
                  </a:lnTo>
                  <a:lnTo>
                    <a:pt x="739" y="1"/>
                  </a:lnTo>
                  <a:lnTo>
                    <a:pt x="746" y="2"/>
                  </a:lnTo>
                  <a:lnTo>
                    <a:pt x="750" y="5"/>
                  </a:lnTo>
                  <a:lnTo>
                    <a:pt x="761" y="10"/>
                  </a:lnTo>
                  <a:lnTo>
                    <a:pt x="770" y="17"/>
                  </a:lnTo>
                  <a:lnTo>
                    <a:pt x="777" y="27"/>
                  </a:lnTo>
                  <a:lnTo>
                    <a:pt x="783" y="37"/>
                  </a:lnTo>
                  <a:lnTo>
                    <a:pt x="786" y="43"/>
                  </a:lnTo>
                  <a:lnTo>
                    <a:pt x="787" y="49"/>
                  </a:lnTo>
                  <a:lnTo>
                    <a:pt x="788" y="55"/>
                  </a:lnTo>
                  <a:lnTo>
                    <a:pt x="788" y="62"/>
                  </a:lnTo>
                  <a:lnTo>
                    <a:pt x="788" y="732"/>
                  </a:lnTo>
                  <a:lnTo>
                    <a:pt x="788" y="737"/>
                  </a:lnTo>
                  <a:lnTo>
                    <a:pt x="787" y="743"/>
                  </a:lnTo>
                  <a:lnTo>
                    <a:pt x="786" y="749"/>
                  </a:lnTo>
                  <a:lnTo>
                    <a:pt x="783" y="755"/>
                  </a:lnTo>
                  <a:lnTo>
                    <a:pt x="777" y="766"/>
                  </a:lnTo>
                  <a:lnTo>
                    <a:pt x="770" y="775"/>
                  </a:lnTo>
                  <a:lnTo>
                    <a:pt x="761" y="783"/>
                  </a:lnTo>
                  <a:lnTo>
                    <a:pt x="750" y="788"/>
                  </a:lnTo>
                  <a:lnTo>
                    <a:pt x="746" y="790"/>
                  </a:lnTo>
                  <a:lnTo>
                    <a:pt x="739" y="793"/>
                  </a:lnTo>
                  <a:lnTo>
                    <a:pt x="733" y="793"/>
                  </a:lnTo>
                  <a:lnTo>
                    <a:pt x="727" y="794"/>
                  </a:lnTo>
                  <a:close/>
                </a:path>
              </a:pathLst>
            </a:custGeom>
            <a:solidFill>
              <a:srgbClr val="067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1" name="Freeform 241"/>
            <p:cNvSpPr>
              <a:spLocks noEditPoints="1"/>
            </p:cNvSpPr>
            <p:nvPr/>
          </p:nvSpPr>
          <p:spPr bwMode="auto">
            <a:xfrm>
              <a:off x="5645151" y="4616451"/>
              <a:ext cx="854075" cy="681038"/>
            </a:xfrm>
            <a:custGeom>
              <a:avLst/>
              <a:gdLst>
                <a:gd name="T0" fmla="*/ 2131 w 2155"/>
                <a:gd name="T1" fmla="*/ 1693 h 1716"/>
                <a:gd name="T2" fmla="*/ 1704 w 2155"/>
                <a:gd name="T3" fmla="*/ 1516 h 1716"/>
                <a:gd name="T4" fmla="*/ 1679 w 2155"/>
                <a:gd name="T5" fmla="*/ 1693 h 1716"/>
                <a:gd name="T6" fmla="*/ 705 w 2155"/>
                <a:gd name="T7" fmla="*/ 1516 h 1716"/>
                <a:gd name="T8" fmla="*/ 682 w 2155"/>
                <a:gd name="T9" fmla="*/ 1693 h 1716"/>
                <a:gd name="T10" fmla="*/ 118 w 2155"/>
                <a:gd name="T11" fmla="*/ 1516 h 1716"/>
                <a:gd name="T12" fmla="*/ 93 w 2155"/>
                <a:gd name="T13" fmla="*/ 1693 h 1716"/>
                <a:gd name="T14" fmla="*/ 891 w 2155"/>
                <a:gd name="T15" fmla="*/ 881 h 1716"/>
                <a:gd name="T16" fmla="*/ 985 w 2155"/>
                <a:gd name="T17" fmla="*/ 818 h 1716"/>
                <a:gd name="T18" fmla="*/ 703 w 2155"/>
                <a:gd name="T19" fmla="*/ 46 h 1716"/>
                <a:gd name="T20" fmla="*/ 744 w 2155"/>
                <a:gd name="T21" fmla="*/ 24 h 1716"/>
                <a:gd name="T22" fmla="*/ 1444 w 2155"/>
                <a:gd name="T23" fmla="*/ 39 h 1716"/>
                <a:gd name="T24" fmla="*/ 1458 w 2155"/>
                <a:gd name="T25" fmla="*/ 744 h 1716"/>
                <a:gd name="T26" fmla="*/ 1437 w 2155"/>
                <a:gd name="T27" fmla="*/ 785 h 1716"/>
                <a:gd name="T28" fmla="*/ 734 w 2155"/>
                <a:gd name="T29" fmla="*/ 792 h 1716"/>
                <a:gd name="T30" fmla="*/ 698 w 2155"/>
                <a:gd name="T31" fmla="*/ 762 h 1716"/>
                <a:gd name="T32" fmla="*/ 2044 w 2155"/>
                <a:gd name="T33" fmla="*/ 1007 h 1716"/>
                <a:gd name="T34" fmla="*/ 1704 w 2155"/>
                <a:gd name="T35" fmla="*/ 1182 h 1716"/>
                <a:gd name="T36" fmla="*/ 1692 w 2155"/>
                <a:gd name="T37" fmla="*/ 1006 h 1716"/>
                <a:gd name="T38" fmla="*/ 1448 w 2155"/>
                <a:gd name="T39" fmla="*/ 1018 h 1716"/>
                <a:gd name="T40" fmla="*/ 1282 w 2155"/>
                <a:gd name="T41" fmla="*/ 860 h 1716"/>
                <a:gd name="T42" fmla="*/ 1409 w 2155"/>
                <a:gd name="T43" fmla="*/ 818 h 1716"/>
                <a:gd name="T44" fmla="*/ 1444 w 2155"/>
                <a:gd name="T45" fmla="*/ 808 h 1716"/>
                <a:gd name="T46" fmla="*/ 1470 w 2155"/>
                <a:gd name="T47" fmla="*/ 785 h 1716"/>
                <a:gd name="T48" fmla="*/ 1483 w 2155"/>
                <a:gd name="T49" fmla="*/ 751 h 1716"/>
                <a:gd name="T50" fmla="*/ 1479 w 2155"/>
                <a:gd name="T51" fmla="*/ 52 h 1716"/>
                <a:gd name="T52" fmla="*/ 1462 w 2155"/>
                <a:gd name="T53" fmla="*/ 21 h 1716"/>
                <a:gd name="T54" fmla="*/ 1431 w 2155"/>
                <a:gd name="T55" fmla="*/ 4 h 1716"/>
                <a:gd name="T56" fmla="*/ 737 w 2155"/>
                <a:gd name="T57" fmla="*/ 0 h 1716"/>
                <a:gd name="T58" fmla="*/ 703 w 2155"/>
                <a:gd name="T59" fmla="*/ 13 h 1716"/>
                <a:gd name="T60" fmla="*/ 678 w 2155"/>
                <a:gd name="T61" fmla="*/ 39 h 1716"/>
                <a:gd name="T62" fmla="*/ 670 w 2155"/>
                <a:gd name="T63" fmla="*/ 74 h 1716"/>
                <a:gd name="T64" fmla="*/ 676 w 2155"/>
                <a:gd name="T65" fmla="*/ 772 h 1716"/>
                <a:gd name="T66" fmla="*/ 697 w 2155"/>
                <a:gd name="T67" fmla="*/ 800 h 1716"/>
                <a:gd name="T68" fmla="*/ 729 w 2155"/>
                <a:gd name="T69" fmla="*/ 816 h 1716"/>
                <a:gd name="T70" fmla="*/ 879 w 2155"/>
                <a:gd name="T71" fmla="*/ 856 h 1716"/>
                <a:gd name="T72" fmla="*/ 867 w 2155"/>
                <a:gd name="T73" fmla="*/ 1182 h 1716"/>
                <a:gd name="T74" fmla="*/ 698 w 2155"/>
                <a:gd name="T75" fmla="*/ 1007 h 1716"/>
                <a:gd name="T76" fmla="*/ 451 w 2155"/>
                <a:gd name="T77" fmla="*/ 1014 h 1716"/>
                <a:gd name="T78" fmla="*/ 117 w 2155"/>
                <a:gd name="T79" fmla="*/ 1014 h 1716"/>
                <a:gd name="T80" fmla="*/ 7 w 2155"/>
                <a:gd name="T81" fmla="*/ 1007 h 1716"/>
                <a:gd name="T82" fmla="*/ 1 w 2155"/>
                <a:gd name="T83" fmla="*/ 1709 h 1716"/>
                <a:gd name="T84" fmla="*/ 111 w 2155"/>
                <a:gd name="T85" fmla="*/ 1716 h 1716"/>
                <a:gd name="T86" fmla="*/ 449 w 2155"/>
                <a:gd name="T87" fmla="*/ 1541 h 1716"/>
                <a:gd name="T88" fmla="*/ 461 w 2155"/>
                <a:gd name="T89" fmla="*/ 1716 h 1716"/>
                <a:gd name="T90" fmla="*/ 705 w 2155"/>
                <a:gd name="T91" fmla="*/ 1704 h 1716"/>
                <a:gd name="T92" fmla="*/ 1451 w 2155"/>
                <a:gd name="T93" fmla="*/ 1713 h 1716"/>
                <a:gd name="T94" fmla="*/ 1700 w 2155"/>
                <a:gd name="T95" fmla="*/ 1713 h 1716"/>
                <a:gd name="T96" fmla="*/ 2036 w 2155"/>
                <a:gd name="T97" fmla="*/ 1704 h 1716"/>
                <a:gd name="T98" fmla="*/ 2143 w 2155"/>
                <a:gd name="T99" fmla="*/ 1716 h 1716"/>
                <a:gd name="T100" fmla="*/ 2155 w 2155"/>
                <a:gd name="T101" fmla="*/ 1018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5" h="1716">
                  <a:moveTo>
                    <a:pt x="2131" y="1693"/>
                  </a:moveTo>
                  <a:lnTo>
                    <a:pt x="2061" y="1693"/>
                  </a:lnTo>
                  <a:lnTo>
                    <a:pt x="2061" y="1030"/>
                  </a:lnTo>
                  <a:lnTo>
                    <a:pt x="2131" y="1030"/>
                  </a:lnTo>
                  <a:lnTo>
                    <a:pt x="2131" y="1693"/>
                  </a:lnTo>
                  <a:close/>
                  <a:moveTo>
                    <a:pt x="1704" y="1516"/>
                  </a:moveTo>
                  <a:lnTo>
                    <a:pt x="1704" y="1206"/>
                  </a:lnTo>
                  <a:lnTo>
                    <a:pt x="2036" y="1206"/>
                  </a:lnTo>
                  <a:lnTo>
                    <a:pt x="2036" y="1516"/>
                  </a:lnTo>
                  <a:lnTo>
                    <a:pt x="1704" y="1516"/>
                  </a:lnTo>
                  <a:close/>
                  <a:moveTo>
                    <a:pt x="1679" y="1693"/>
                  </a:moveTo>
                  <a:lnTo>
                    <a:pt x="1471" y="1693"/>
                  </a:lnTo>
                  <a:lnTo>
                    <a:pt x="1471" y="1030"/>
                  </a:lnTo>
                  <a:lnTo>
                    <a:pt x="1679" y="1030"/>
                  </a:lnTo>
                  <a:lnTo>
                    <a:pt x="1679" y="1693"/>
                  </a:lnTo>
                  <a:close/>
                  <a:moveTo>
                    <a:pt x="705" y="1516"/>
                  </a:moveTo>
                  <a:lnTo>
                    <a:pt x="705" y="1206"/>
                  </a:lnTo>
                  <a:lnTo>
                    <a:pt x="1448" y="1206"/>
                  </a:lnTo>
                  <a:lnTo>
                    <a:pt x="1448" y="1516"/>
                  </a:lnTo>
                  <a:lnTo>
                    <a:pt x="705" y="1516"/>
                  </a:lnTo>
                  <a:close/>
                  <a:moveTo>
                    <a:pt x="682" y="1693"/>
                  </a:moveTo>
                  <a:lnTo>
                    <a:pt x="473" y="1693"/>
                  </a:lnTo>
                  <a:lnTo>
                    <a:pt x="473" y="1030"/>
                  </a:lnTo>
                  <a:lnTo>
                    <a:pt x="682" y="1030"/>
                  </a:lnTo>
                  <a:lnTo>
                    <a:pt x="682" y="1693"/>
                  </a:lnTo>
                  <a:close/>
                  <a:moveTo>
                    <a:pt x="118" y="1516"/>
                  </a:moveTo>
                  <a:lnTo>
                    <a:pt x="118" y="1206"/>
                  </a:lnTo>
                  <a:lnTo>
                    <a:pt x="449" y="1206"/>
                  </a:lnTo>
                  <a:lnTo>
                    <a:pt x="449" y="1516"/>
                  </a:lnTo>
                  <a:lnTo>
                    <a:pt x="118" y="1516"/>
                  </a:lnTo>
                  <a:close/>
                  <a:moveTo>
                    <a:pt x="93" y="1693"/>
                  </a:moveTo>
                  <a:lnTo>
                    <a:pt x="24" y="1693"/>
                  </a:lnTo>
                  <a:lnTo>
                    <a:pt x="24" y="1030"/>
                  </a:lnTo>
                  <a:lnTo>
                    <a:pt x="93" y="1030"/>
                  </a:lnTo>
                  <a:lnTo>
                    <a:pt x="93" y="1693"/>
                  </a:lnTo>
                  <a:close/>
                  <a:moveTo>
                    <a:pt x="891" y="881"/>
                  </a:moveTo>
                  <a:lnTo>
                    <a:pt x="1261" y="881"/>
                  </a:lnTo>
                  <a:lnTo>
                    <a:pt x="1261" y="1182"/>
                  </a:lnTo>
                  <a:lnTo>
                    <a:pt x="891" y="1182"/>
                  </a:lnTo>
                  <a:lnTo>
                    <a:pt x="891" y="881"/>
                  </a:lnTo>
                  <a:close/>
                  <a:moveTo>
                    <a:pt x="985" y="818"/>
                  </a:moveTo>
                  <a:lnTo>
                    <a:pt x="1167" y="818"/>
                  </a:lnTo>
                  <a:lnTo>
                    <a:pt x="1167" y="856"/>
                  </a:lnTo>
                  <a:lnTo>
                    <a:pt x="985" y="856"/>
                  </a:lnTo>
                  <a:lnTo>
                    <a:pt x="985" y="818"/>
                  </a:lnTo>
                  <a:close/>
                  <a:moveTo>
                    <a:pt x="694" y="744"/>
                  </a:moveTo>
                  <a:lnTo>
                    <a:pt x="694" y="74"/>
                  </a:lnTo>
                  <a:lnTo>
                    <a:pt x="695" y="64"/>
                  </a:lnTo>
                  <a:lnTo>
                    <a:pt x="698" y="54"/>
                  </a:lnTo>
                  <a:lnTo>
                    <a:pt x="703" y="46"/>
                  </a:lnTo>
                  <a:lnTo>
                    <a:pt x="709" y="39"/>
                  </a:lnTo>
                  <a:lnTo>
                    <a:pt x="716" y="32"/>
                  </a:lnTo>
                  <a:lnTo>
                    <a:pt x="724" y="28"/>
                  </a:lnTo>
                  <a:lnTo>
                    <a:pt x="734" y="25"/>
                  </a:lnTo>
                  <a:lnTo>
                    <a:pt x="744" y="24"/>
                  </a:lnTo>
                  <a:lnTo>
                    <a:pt x="1409" y="24"/>
                  </a:lnTo>
                  <a:lnTo>
                    <a:pt x="1418" y="25"/>
                  </a:lnTo>
                  <a:lnTo>
                    <a:pt x="1428" y="28"/>
                  </a:lnTo>
                  <a:lnTo>
                    <a:pt x="1437" y="32"/>
                  </a:lnTo>
                  <a:lnTo>
                    <a:pt x="1444" y="39"/>
                  </a:lnTo>
                  <a:lnTo>
                    <a:pt x="1450" y="46"/>
                  </a:lnTo>
                  <a:lnTo>
                    <a:pt x="1455" y="54"/>
                  </a:lnTo>
                  <a:lnTo>
                    <a:pt x="1458" y="64"/>
                  </a:lnTo>
                  <a:lnTo>
                    <a:pt x="1458" y="74"/>
                  </a:lnTo>
                  <a:lnTo>
                    <a:pt x="1458" y="744"/>
                  </a:lnTo>
                  <a:lnTo>
                    <a:pt x="1458" y="753"/>
                  </a:lnTo>
                  <a:lnTo>
                    <a:pt x="1455" y="762"/>
                  </a:lnTo>
                  <a:lnTo>
                    <a:pt x="1450" y="771"/>
                  </a:lnTo>
                  <a:lnTo>
                    <a:pt x="1444" y="779"/>
                  </a:lnTo>
                  <a:lnTo>
                    <a:pt x="1437" y="785"/>
                  </a:lnTo>
                  <a:lnTo>
                    <a:pt x="1428" y="789"/>
                  </a:lnTo>
                  <a:lnTo>
                    <a:pt x="1418" y="792"/>
                  </a:lnTo>
                  <a:lnTo>
                    <a:pt x="1409" y="793"/>
                  </a:lnTo>
                  <a:lnTo>
                    <a:pt x="744" y="793"/>
                  </a:lnTo>
                  <a:lnTo>
                    <a:pt x="734" y="792"/>
                  </a:lnTo>
                  <a:lnTo>
                    <a:pt x="724" y="789"/>
                  </a:lnTo>
                  <a:lnTo>
                    <a:pt x="716" y="785"/>
                  </a:lnTo>
                  <a:lnTo>
                    <a:pt x="709" y="779"/>
                  </a:lnTo>
                  <a:lnTo>
                    <a:pt x="703" y="771"/>
                  </a:lnTo>
                  <a:lnTo>
                    <a:pt x="698" y="762"/>
                  </a:lnTo>
                  <a:lnTo>
                    <a:pt x="695" y="753"/>
                  </a:lnTo>
                  <a:lnTo>
                    <a:pt x="694" y="744"/>
                  </a:lnTo>
                  <a:close/>
                  <a:moveTo>
                    <a:pt x="2143" y="1006"/>
                  </a:moveTo>
                  <a:lnTo>
                    <a:pt x="2049" y="1006"/>
                  </a:lnTo>
                  <a:lnTo>
                    <a:pt x="2044" y="1007"/>
                  </a:lnTo>
                  <a:lnTo>
                    <a:pt x="2041" y="1009"/>
                  </a:lnTo>
                  <a:lnTo>
                    <a:pt x="2037" y="1014"/>
                  </a:lnTo>
                  <a:lnTo>
                    <a:pt x="2036" y="1018"/>
                  </a:lnTo>
                  <a:lnTo>
                    <a:pt x="2036" y="1182"/>
                  </a:lnTo>
                  <a:lnTo>
                    <a:pt x="1704" y="1182"/>
                  </a:lnTo>
                  <a:lnTo>
                    <a:pt x="1704" y="1018"/>
                  </a:lnTo>
                  <a:lnTo>
                    <a:pt x="1703" y="1014"/>
                  </a:lnTo>
                  <a:lnTo>
                    <a:pt x="1700" y="1009"/>
                  </a:lnTo>
                  <a:lnTo>
                    <a:pt x="1697" y="1007"/>
                  </a:lnTo>
                  <a:lnTo>
                    <a:pt x="1692" y="1006"/>
                  </a:lnTo>
                  <a:lnTo>
                    <a:pt x="1459" y="1006"/>
                  </a:lnTo>
                  <a:lnTo>
                    <a:pt x="1455" y="1007"/>
                  </a:lnTo>
                  <a:lnTo>
                    <a:pt x="1451" y="1009"/>
                  </a:lnTo>
                  <a:lnTo>
                    <a:pt x="1449" y="1014"/>
                  </a:lnTo>
                  <a:lnTo>
                    <a:pt x="1448" y="1018"/>
                  </a:lnTo>
                  <a:lnTo>
                    <a:pt x="1448" y="1182"/>
                  </a:lnTo>
                  <a:lnTo>
                    <a:pt x="1286" y="1182"/>
                  </a:lnTo>
                  <a:lnTo>
                    <a:pt x="1286" y="869"/>
                  </a:lnTo>
                  <a:lnTo>
                    <a:pt x="1284" y="865"/>
                  </a:lnTo>
                  <a:lnTo>
                    <a:pt x="1282" y="860"/>
                  </a:lnTo>
                  <a:lnTo>
                    <a:pt x="1279" y="858"/>
                  </a:lnTo>
                  <a:lnTo>
                    <a:pt x="1273" y="856"/>
                  </a:lnTo>
                  <a:lnTo>
                    <a:pt x="1192" y="856"/>
                  </a:lnTo>
                  <a:lnTo>
                    <a:pt x="1192" y="818"/>
                  </a:lnTo>
                  <a:lnTo>
                    <a:pt x="1409" y="818"/>
                  </a:lnTo>
                  <a:lnTo>
                    <a:pt x="1416" y="816"/>
                  </a:lnTo>
                  <a:lnTo>
                    <a:pt x="1424" y="816"/>
                  </a:lnTo>
                  <a:lnTo>
                    <a:pt x="1431" y="814"/>
                  </a:lnTo>
                  <a:lnTo>
                    <a:pt x="1437" y="812"/>
                  </a:lnTo>
                  <a:lnTo>
                    <a:pt x="1444" y="808"/>
                  </a:lnTo>
                  <a:lnTo>
                    <a:pt x="1450" y="805"/>
                  </a:lnTo>
                  <a:lnTo>
                    <a:pt x="1456" y="800"/>
                  </a:lnTo>
                  <a:lnTo>
                    <a:pt x="1462" y="795"/>
                  </a:lnTo>
                  <a:lnTo>
                    <a:pt x="1466" y="791"/>
                  </a:lnTo>
                  <a:lnTo>
                    <a:pt x="1470" y="785"/>
                  </a:lnTo>
                  <a:lnTo>
                    <a:pt x="1474" y="779"/>
                  </a:lnTo>
                  <a:lnTo>
                    <a:pt x="1477" y="772"/>
                  </a:lnTo>
                  <a:lnTo>
                    <a:pt x="1479" y="765"/>
                  </a:lnTo>
                  <a:lnTo>
                    <a:pt x="1482" y="758"/>
                  </a:lnTo>
                  <a:lnTo>
                    <a:pt x="1483" y="751"/>
                  </a:lnTo>
                  <a:lnTo>
                    <a:pt x="1483" y="744"/>
                  </a:lnTo>
                  <a:lnTo>
                    <a:pt x="1483" y="74"/>
                  </a:lnTo>
                  <a:lnTo>
                    <a:pt x="1483" y="66"/>
                  </a:lnTo>
                  <a:lnTo>
                    <a:pt x="1482" y="59"/>
                  </a:lnTo>
                  <a:lnTo>
                    <a:pt x="1479" y="52"/>
                  </a:lnTo>
                  <a:lnTo>
                    <a:pt x="1477" y="45"/>
                  </a:lnTo>
                  <a:lnTo>
                    <a:pt x="1474" y="39"/>
                  </a:lnTo>
                  <a:lnTo>
                    <a:pt x="1470" y="33"/>
                  </a:lnTo>
                  <a:lnTo>
                    <a:pt x="1466" y="27"/>
                  </a:lnTo>
                  <a:lnTo>
                    <a:pt x="1462" y="21"/>
                  </a:lnTo>
                  <a:lnTo>
                    <a:pt x="1456" y="17"/>
                  </a:lnTo>
                  <a:lnTo>
                    <a:pt x="1450" y="13"/>
                  </a:lnTo>
                  <a:lnTo>
                    <a:pt x="1444" y="8"/>
                  </a:lnTo>
                  <a:lnTo>
                    <a:pt x="1437" y="6"/>
                  </a:lnTo>
                  <a:lnTo>
                    <a:pt x="1431" y="4"/>
                  </a:lnTo>
                  <a:lnTo>
                    <a:pt x="1424" y="1"/>
                  </a:lnTo>
                  <a:lnTo>
                    <a:pt x="1416" y="0"/>
                  </a:lnTo>
                  <a:lnTo>
                    <a:pt x="1409" y="0"/>
                  </a:lnTo>
                  <a:lnTo>
                    <a:pt x="744" y="0"/>
                  </a:lnTo>
                  <a:lnTo>
                    <a:pt x="737" y="0"/>
                  </a:lnTo>
                  <a:lnTo>
                    <a:pt x="729" y="1"/>
                  </a:lnTo>
                  <a:lnTo>
                    <a:pt x="722" y="4"/>
                  </a:lnTo>
                  <a:lnTo>
                    <a:pt x="715" y="6"/>
                  </a:lnTo>
                  <a:lnTo>
                    <a:pt x="709" y="8"/>
                  </a:lnTo>
                  <a:lnTo>
                    <a:pt x="703" y="13"/>
                  </a:lnTo>
                  <a:lnTo>
                    <a:pt x="697" y="17"/>
                  </a:lnTo>
                  <a:lnTo>
                    <a:pt x="691" y="21"/>
                  </a:lnTo>
                  <a:lnTo>
                    <a:pt x="687" y="27"/>
                  </a:lnTo>
                  <a:lnTo>
                    <a:pt x="683" y="33"/>
                  </a:lnTo>
                  <a:lnTo>
                    <a:pt x="678" y="39"/>
                  </a:lnTo>
                  <a:lnTo>
                    <a:pt x="676" y="45"/>
                  </a:lnTo>
                  <a:lnTo>
                    <a:pt x="674" y="52"/>
                  </a:lnTo>
                  <a:lnTo>
                    <a:pt x="671" y="59"/>
                  </a:lnTo>
                  <a:lnTo>
                    <a:pt x="670" y="66"/>
                  </a:lnTo>
                  <a:lnTo>
                    <a:pt x="670" y="74"/>
                  </a:lnTo>
                  <a:lnTo>
                    <a:pt x="670" y="744"/>
                  </a:lnTo>
                  <a:lnTo>
                    <a:pt x="670" y="751"/>
                  </a:lnTo>
                  <a:lnTo>
                    <a:pt x="671" y="758"/>
                  </a:lnTo>
                  <a:lnTo>
                    <a:pt x="674" y="765"/>
                  </a:lnTo>
                  <a:lnTo>
                    <a:pt x="676" y="772"/>
                  </a:lnTo>
                  <a:lnTo>
                    <a:pt x="678" y="779"/>
                  </a:lnTo>
                  <a:lnTo>
                    <a:pt x="683" y="785"/>
                  </a:lnTo>
                  <a:lnTo>
                    <a:pt x="687" y="791"/>
                  </a:lnTo>
                  <a:lnTo>
                    <a:pt x="691" y="795"/>
                  </a:lnTo>
                  <a:lnTo>
                    <a:pt x="697" y="800"/>
                  </a:lnTo>
                  <a:lnTo>
                    <a:pt x="703" y="805"/>
                  </a:lnTo>
                  <a:lnTo>
                    <a:pt x="709" y="808"/>
                  </a:lnTo>
                  <a:lnTo>
                    <a:pt x="715" y="812"/>
                  </a:lnTo>
                  <a:lnTo>
                    <a:pt x="722" y="814"/>
                  </a:lnTo>
                  <a:lnTo>
                    <a:pt x="729" y="816"/>
                  </a:lnTo>
                  <a:lnTo>
                    <a:pt x="737" y="816"/>
                  </a:lnTo>
                  <a:lnTo>
                    <a:pt x="744" y="818"/>
                  </a:lnTo>
                  <a:lnTo>
                    <a:pt x="961" y="818"/>
                  </a:lnTo>
                  <a:lnTo>
                    <a:pt x="961" y="856"/>
                  </a:lnTo>
                  <a:lnTo>
                    <a:pt x="879" y="856"/>
                  </a:lnTo>
                  <a:lnTo>
                    <a:pt x="875" y="858"/>
                  </a:lnTo>
                  <a:lnTo>
                    <a:pt x="871" y="860"/>
                  </a:lnTo>
                  <a:lnTo>
                    <a:pt x="869" y="865"/>
                  </a:lnTo>
                  <a:lnTo>
                    <a:pt x="867" y="869"/>
                  </a:lnTo>
                  <a:lnTo>
                    <a:pt x="867" y="1182"/>
                  </a:lnTo>
                  <a:lnTo>
                    <a:pt x="705" y="1182"/>
                  </a:lnTo>
                  <a:lnTo>
                    <a:pt x="705" y="1018"/>
                  </a:lnTo>
                  <a:lnTo>
                    <a:pt x="704" y="1014"/>
                  </a:lnTo>
                  <a:lnTo>
                    <a:pt x="702" y="1009"/>
                  </a:lnTo>
                  <a:lnTo>
                    <a:pt x="698" y="1007"/>
                  </a:lnTo>
                  <a:lnTo>
                    <a:pt x="694" y="1006"/>
                  </a:lnTo>
                  <a:lnTo>
                    <a:pt x="461" y="1006"/>
                  </a:lnTo>
                  <a:lnTo>
                    <a:pt x="456" y="1007"/>
                  </a:lnTo>
                  <a:lnTo>
                    <a:pt x="453" y="1009"/>
                  </a:lnTo>
                  <a:lnTo>
                    <a:pt x="451" y="1014"/>
                  </a:lnTo>
                  <a:lnTo>
                    <a:pt x="449" y="1018"/>
                  </a:lnTo>
                  <a:lnTo>
                    <a:pt x="449" y="1182"/>
                  </a:lnTo>
                  <a:lnTo>
                    <a:pt x="118" y="1182"/>
                  </a:lnTo>
                  <a:lnTo>
                    <a:pt x="118" y="1018"/>
                  </a:lnTo>
                  <a:lnTo>
                    <a:pt x="117" y="1014"/>
                  </a:lnTo>
                  <a:lnTo>
                    <a:pt x="115" y="1009"/>
                  </a:lnTo>
                  <a:lnTo>
                    <a:pt x="111" y="1007"/>
                  </a:lnTo>
                  <a:lnTo>
                    <a:pt x="105" y="1006"/>
                  </a:lnTo>
                  <a:lnTo>
                    <a:pt x="11" y="1006"/>
                  </a:lnTo>
                  <a:lnTo>
                    <a:pt x="7" y="1007"/>
                  </a:lnTo>
                  <a:lnTo>
                    <a:pt x="3" y="1009"/>
                  </a:lnTo>
                  <a:lnTo>
                    <a:pt x="1" y="1014"/>
                  </a:lnTo>
                  <a:lnTo>
                    <a:pt x="0" y="1018"/>
                  </a:lnTo>
                  <a:lnTo>
                    <a:pt x="0" y="1704"/>
                  </a:lnTo>
                  <a:lnTo>
                    <a:pt x="1" y="1709"/>
                  </a:lnTo>
                  <a:lnTo>
                    <a:pt x="3" y="1713"/>
                  </a:lnTo>
                  <a:lnTo>
                    <a:pt x="7" y="1716"/>
                  </a:lnTo>
                  <a:lnTo>
                    <a:pt x="11" y="1716"/>
                  </a:lnTo>
                  <a:lnTo>
                    <a:pt x="105" y="1716"/>
                  </a:lnTo>
                  <a:lnTo>
                    <a:pt x="111" y="1716"/>
                  </a:lnTo>
                  <a:lnTo>
                    <a:pt x="115" y="1713"/>
                  </a:lnTo>
                  <a:lnTo>
                    <a:pt x="117" y="1709"/>
                  </a:lnTo>
                  <a:lnTo>
                    <a:pt x="118" y="1704"/>
                  </a:lnTo>
                  <a:lnTo>
                    <a:pt x="118" y="1541"/>
                  </a:lnTo>
                  <a:lnTo>
                    <a:pt x="449" y="1541"/>
                  </a:lnTo>
                  <a:lnTo>
                    <a:pt x="449" y="1704"/>
                  </a:lnTo>
                  <a:lnTo>
                    <a:pt x="451" y="1709"/>
                  </a:lnTo>
                  <a:lnTo>
                    <a:pt x="453" y="1713"/>
                  </a:lnTo>
                  <a:lnTo>
                    <a:pt x="456" y="1716"/>
                  </a:lnTo>
                  <a:lnTo>
                    <a:pt x="461" y="1716"/>
                  </a:lnTo>
                  <a:lnTo>
                    <a:pt x="694" y="1716"/>
                  </a:lnTo>
                  <a:lnTo>
                    <a:pt x="698" y="1716"/>
                  </a:lnTo>
                  <a:lnTo>
                    <a:pt x="702" y="1713"/>
                  </a:lnTo>
                  <a:lnTo>
                    <a:pt x="704" y="1709"/>
                  </a:lnTo>
                  <a:lnTo>
                    <a:pt x="705" y="1704"/>
                  </a:lnTo>
                  <a:lnTo>
                    <a:pt x="705" y="1541"/>
                  </a:lnTo>
                  <a:lnTo>
                    <a:pt x="1448" y="1541"/>
                  </a:lnTo>
                  <a:lnTo>
                    <a:pt x="1448" y="1704"/>
                  </a:lnTo>
                  <a:lnTo>
                    <a:pt x="1449" y="1709"/>
                  </a:lnTo>
                  <a:lnTo>
                    <a:pt x="1451" y="1713"/>
                  </a:lnTo>
                  <a:lnTo>
                    <a:pt x="1455" y="1716"/>
                  </a:lnTo>
                  <a:lnTo>
                    <a:pt x="1459" y="1716"/>
                  </a:lnTo>
                  <a:lnTo>
                    <a:pt x="1692" y="1716"/>
                  </a:lnTo>
                  <a:lnTo>
                    <a:pt x="1697" y="1716"/>
                  </a:lnTo>
                  <a:lnTo>
                    <a:pt x="1700" y="1713"/>
                  </a:lnTo>
                  <a:lnTo>
                    <a:pt x="1703" y="1709"/>
                  </a:lnTo>
                  <a:lnTo>
                    <a:pt x="1704" y="1704"/>
                  </a:lnTo>
                  <a:lnTo>
                    <a:pt x="1704" y="1541"/>
                  </a:lnTo>
                  <a:lnTo>
                    <a:pt x="2036" y="1541"/>
                  </a:lnTo>
                  <a:lnTo>
                    <a:pt x="2036" y="1704"/>
                  </a:lnTo>
                  <a:lnTo>
                    <a:pt x="2037" y="1709"/>
                  </a:lnTo>
                  <a:lnTo>
                    <a:pt x="2041" y="1713"/>
                  </a:lnTo>
                  <a:lnTo>
                    <a:pt x="2044" y="1716"/>
                  </a:lnTo>
                  <a:lnTo>
                    <a:pt x="2049" y="1716"/>
                  </a:lnTo>
                  <a:lnTo>
                    <a:pt x="2143" y="1716"/>
                  </a:lnTo>
                  <a:lnTo>
                    <a:pt x="2148" y="1716"/>
                  </a:lnTo>
                  <a:lnTo>
                    <a:pt x="2151" y="1713"/>
                  </a:lnTo>
                  <a:lnTo>
                    <a:pt x="2154" y="1709"/>
                  </a:lnTo>
                  <a:lnTo>
                    <a:pt x="2155" y="1704"/>
                  </a:lnTo>
                  <a:lnTo>
                    <a:pt x="2155" y="1018"/>
                  </a:lnTo>
                  <a:lnTo>
                    <a:pt x="2154" y="1014"/>
                  </a:lnTo>
                  <a:lnTo>
                    <a:pt x="2151" y="1009"/>
                  </a:lnTo>
                  <a:lnTo>
                    <a:pt x="2148" y="1007"/>
                  </a:lnTo>
                  <a:lnTo>
                    <a:pt x="2143" y="100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2" name="Freeform 242"/>
            <p:cNvSpPr>
              <a:spLocks noEditPoints="1"/>
            </p:cNvSpPr>
            <p:nvPr/>
          </p:nvSpPr>
          <p:spPr bwMode="auto">
            <a:xfrm>
              <a:off x="5938838" y="4643438"/>
              <a:ext cx="266700" cy="269875"/>
            </a:xfrm>
            <a:custGeom>
              <a:avLst/>
              <a:gdLst>
                <a:gd name="T0" fmla="*/ 650 w 673"/>
                <a:gd name="T1" fmla="*/ 655 h 678"/>
                <a:gd name="T2" fmla="*/ 25 w 673"/>
                <a:gd name="T3" fmla="*/ 655 h 678"/>
                <a:gd name="T4" fmla="*/ 25 w 673"/>
                <a:gd name="T5" fmla="*/ 25 h 678"/>
                <a:gd name="T6" fmla="*/ 650 w 673"/>
                <a:gd name="T7" fmla="*/ 25 h 678"/>
                <a:gd name="T8" fmla="*/ 650 w 673"/>
                <a:gd name="T9" fmla="*/ 655 h 678"/>
                <a:gd name="T10" fmla="*/ 673 w 673"/>
                <a:gd name="T11" fmla="*/ 666 h 678"/>
                <a:gd name="T12" fmla="*/ 673 w 673"/>
                <a:gd name="T13" fmla="*/ 13 h 678"/>
                <a:gd name="T14" fmla="*/ 673 w 673"/>
                <a:gd name="T15" fmla="*/ 9 h 678"/>
                <a:gd name="T16" fmla="*/ 670 w 673"/>
                <a:gd name="T17" fmla="*/ 4 h 678"/>
                <a:gd name="T18" fmla="*/ 666 w 673"/>
                <a:gd name="T19" fmla="*/ 2 h 678"/>
                <a:gd name="T20" fmla="*/ 662 w 673"/>
                <a:gd name="T21" fmla="*/ 0 h 678"/>
                <a:gd name="T22" fmla="*/ 13 w 673"/>
                <a:gd name="T23" fmla="*/ 0 h 678"/>
                <a:gd name="T24" fmla="*/ 9 w 673"/>
                <a:gd name="T25" fmla="*/ 2 h 678"/>
                <a:gd name="T26" fmla="*/ 5 w 673"/>
                <a:gd name="T27" fmla="*/ 4 h 678"/>
                <a:gd name="T28" fmla="*/ 2 w 673"/>
                <a:gd name="T29" fmla="*/ 9 h 678"/>
                <a:gd name="T30" fmla="*/ 0 w 673"/>
                <a:gd name="T31" fmla="*/ 13 h 678"/>
                <a:gd name="T32" fmla="*/ 0 w 673"/>
                <a:gd name="T33" fmla="*/ 666 h 678"/>
                <a:gd name="T34" fmla="*/ 2 w 673"/>
                <a:gd name="T35" fmla="*/ 671 h 678"/>
                <a:gd name="T36" fmla="*/ 5 w 673"/>
                <a:gd name="T37" fmla="*/ 675 h 678"/>
                <a:gd name="T38" fmla="*/ 9 w 673"/>
                <a:gd name="T39" fmla="*/ 677 h 678"/>
                <a:gd name="T40" fmla="*/ 13 w 673"/>
                <a:gd name="T41" fmla="*/ 678 h 678"/>
                <a:gd name="T42" fmla="*/ 662 w 673"/>
                <a:gd name="T43" fmla="*/ 678 h 678"/>
                <a:gd name="T44" fmla="*/ 666 w 673"/>
                <a:gd name="T45" fmla="*/ 677 h 678"/>
                <a:gd name="T46" fmla="*/ 670 w 673"/>
                <a:gd name="T47" fmla="*/ 675 h 678"/>
                <a:gd name="T48" fmla="*/ 673 w 673"/>
                <a:gd name="T49" fmla="*/ 671 h 678"/>
                <a:gd name="T50" fmla="*/ 673 w 673"/>
                <a:gd name="T51" fmla="*/ 666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3" h="678">
                  <a:moveTo>
                    <a:pt x="650" y="655"/>
                  </a:moveTo>
                  <a:lnTo>
                    <a:pt x="25" y="655"/>
                  </a:lnTo>
                  <a:lnTo>
                    <a:pt x="25" y="25"/>
                  </a:lnTo>
                  <a:lnTo>
                    <a:pt x="650" y="25"/>
                  </a:lnTo>
                  <a:lnTo>
                    <a:pt x="650" y="655"/>
                  </a:lnTo>
                  <a:close/>
                  <a:moveTo>
                    <a:pt x="673" y="666"/>
                  </a:moveTo>
                  <a:lnTo>
                    <a:pt x="673" y="13"/>
                  </a:lnTo>
                  <a:lnTo>
                    <a:pt x="673" y="9"/>
                  </a:lnTo>
                  <a:lnTo>
                    <a:pt x="670" y="4"/>
                  </a:lnTo>
                  <a:lnTo>
                    <a:pt x="666" y="2"/>
                  </a:lnTo>
                  <a:lnTo>
                    <a:pt x="662" y="0"/>
                  </a:lnTo>
                  <a:lnTo>
                    <a:pt x="13" y="0"/>
                  </a:lnTo>
                  <a:lnTo>
                    <a:pt x="9" y="2"/>
                  </a:lnTo>
                  <a:lnTo>
                    <a:pt x="5" y="4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666"/>
                  </a:lnTo>
                  <a:lnTo>
                    <a:pt x="2" y="671"/>
                  </a:lnTo>
                  <a:lnTo>
                    <a:pt x="5" y="675"/>
                  </a:lnTo>
                  <a:lnTo>
                    <a:pt x="9" y="677"/>
                  </a:lnTo>
                  <a:lnTo>
                    <a:pt x="13" y="678"/>
                  </a:lnTo>
                  <a:lnTo>
                    <a:pt x="662" y="678"/>
                  </a:lnTo>
                  <a:lnTo>
                    <a:pt x="666" y="677"/>
                  </a:lnTo>
                  <a:lnTo>
                    <a:pt x="670" y="675"/>
                  </a:lnTo>
                  <a:lnTo>
                    <a:pt x="673" y="671"/>
                  </a:lnTo>
                  <a:lnTo>
                    <a:pt x="673" y="666"/>
                  </a:lnTo>
                  <a:close/>
                </a:path>
              </a:pathLst>
            </a:custGeom>
            <a:solidFill>
              <a:srgbClr val="004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3" name="Rectangle 243"/>
            <p:cNvSpPr>
              <a:spLocks noChangeArrowheads="1"/>
            </p:cNvSpPr>
            <p:nvPr/>
          </p:nvSpPr>
          <p:spPr bwMode="auto">
            <a:xfrm>
              <a:off x="5973763" y="4678363"/>
              <a:ext cx="195263" cy="82550"/>
            </a:xfrm>
            <a:prstGeom prst="rect">
              <a:avLst/>
            </a:prstGeom>
            <a:solidFill>
              <a:srgbClr val="1595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  <p:sp>
          <p:nvSpPr>
            <p:cNvPr id="864" name="Freeform 244"/>
            <p:cNvSpPr>
              <a:spLocks noEditPoints="1"/>
            </p:cNvSpPr>
            <p:nvPr/>
          </p:nvSpPr>
          <p:spPr bwMode="auto">
            <a:xfrm>
              <a:off x="5969001" y="4673601"/>
              <a:ext cx="204788" cy="92075"/>
            </a:xfrm>
            <a:custGeom>
              <a:avLst/>
              <a:gdLst>
                <a:gd name="T0" fmla="*/ 492 w 516"/>
                <a:gd name="T1" fmla="*/ 210 h 233"/>
                <a:gd name="T2" fmla="*/ 25 w 516"/>
                <a:gd name="T3" fmla="*/ 210 h 233"/>
                <a:gd name="T4" fmla="*/ 25 w 516"/>
                <a:gd name="T5" fmla="*/ 23 h 233"/>
                <a:gd name="T6" fmla="*/ 492 w 516"/>
                <a:gd name="T7" fmla="*/ 23 h 233"/>
                <a:gd name="T8" fmla="*/ 492 w 516"/>
                <a:gd name="T9" fmla="*/ 210 h 233"/>
                <a:gd name="T10" fmla="*/ 504 w 516"/>
                <a:gd name="T11" fmla="*/ 0 h 233"/>
                <a:gd name="T12" fmla="*/ 13 w 516"/>
                <a:gd name="T13" fmla="*/ 0 h 233"/>
                <a:gd name="T14" fmla="*/ 8 w 516"/>
                <a:gd name="T15" fmla="*/ 0 h 233"/>
                <a:gd name="T16" fmla="*/ 4 w 516"/>
                <a:gd name="T17" fmla="*/ 3 h 233"/>
                <a:gd name="T18" fmla="*/ 1 w 516"/>
                <a:gd name="T19" fmla="*/ 7 h 233"/>
                <a:gd name="T20" fmla="*/ 0 w 516"/>
                <a:gd name="T21" fmla="*/ 11 h 233"/>
                <a:gd name="T22" fmla="*/ 0 w 516"/>
                <a:gd name="T23" fmla="*/ 222 h 233"/>
                <a:gd name="T24" fmla="*/ 1 w 516"/>
                <a:gd name="T25" fmla="*/ 226 h 233"/>
                <a:gd name="T26" fmla="*/ 4 w 516"/>
                <a:gd name="T27" fmla="*/ 230 h 233"/>
                <a:gd name="T28" fmla="*/ 8 w 516"/>
                <a:gd name="T29" fmla="*/ 233 h 233"/>
                <a:gd name="T30" fmla="*/ 13 w 516"/>
                <a:gd name="T31" fmla="*/ 233 h 233"/>
                <a:gd name="T32" fmla="*/ 504 w 516"/>
                <a:gd name="T33" fmla="*/ 233 h 233"/>
                <a:gd name="T34" fmla="*/ 509 w 516"/>
                <a:gd name="T35" fmla="*/ 233 h 233"/>
                <a:gd name="T36" fmla="*/ 512 w 516"/>
                <a:gd name="T37" fmla="*/ 230 h 233"/>
                <a:gd name="T38" fmla="*/ 516 w 516"/>
                <a:gd name="T39" fmla="*/ 226 h 233"/>
                <a:gd name="T40" fmla="*/ 516 w 516"/>
                <a:gd name="T41" fmla="*/ 222 h 233"/>
                <a:gd name="T42" fmla="*/ 516 w 516"/>
                <a:gd name="T43" fmla="*/ 11 h 233"/>
                <a:gd name="T44" fmla="*/ 516 w 516"/>
                <a:gd name="T45" fmla="*/ 7 h 233"/>
                <a:gd name="T46" fmla="*/ 512 w 516"/>
                <a:gd name="T47" fmla="*/ 3 h 233"/>
                <a:gd name="T48" fmla="*/ 509 w 516"/>
                <a:gd name="T49" fmla="*/ 0 h 233"/>
                <a:gd name="T50" fmla="*/ 504 w 516"/>
                <a:gd name="T51" fmla="*/ 0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6" h="233">
                  <a:moveTo>
                    <a:pt x="492" y="210"/>
                  </a:moveTo>
                  <a:lnTo>
                    <a:pt x="25" y="210"/>
                  </a:lnTo>
                  <a:lnTo>
                    <a:pt x="25" y="23"/>
                  </a:lnTo>
                  <a:lnTo>
                    <a:pt x="492" y="23"/>
                  </a:lnTo>
                  <a:lnTo>
                    <a:pt x="492" y="210"/>
                  </a:lnTo>
                  <a:close/>
                  <a:moveTo>
                    <a:pt x="504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222"/>
                  </a:lnTo>
                  <a:lnTo>
                    <a:pt x="1" y="226"/>
                  </a:lnTo>
                  <a:lnTo>
                    <a:pt x="4" y="230"/>
                  </a:lnTo>
                  <a:lnTo>
                    <a:pt x="8" y="233"/>
                  </a:lnTo>
                  <a:lnTo>
                    <a:pt x="13" y="233"/>
                  </a:lnTo>
                  <a:lnTo>
                    <a:pt x="504" y="233"/>
                  </a:lnTo>
                  <a:lnTo>
                    <a:pt x="509" y="233"/>
                  </a:lnTo>
                  <a:lnTo>
                    <a:pt x="512" y="230"/>
                  </a:lnTo>
                  <a:lnTo>
                    <a:pt x="516" y="226"/>
                  </a:lnTo>
                  <a:lnTo>
                    <a:pt x="516" y="222"/>
                  </a:lnTo>
                  <a:lnTo>
                    <a:pt x="516" y="11"/>
                  </a:lnTo>
                  <a:lnTo>
                    <a:pt x="516" y="7"/>
                  </a:lnTo>
                  <a:lnTo>
                    <a:pt x="512" y="3"/>
                  </a:lnTo>
                  <a:lnTo>
                    <a:pt x="509" y="0"/>
                  </a:lnTo>
                  <a:lnTo>
                    <a:pt x="504" y="0"/>
                  </a:lnTo>
                  <a:close/>
                </a:path>
              </a:pathLst>
            </a:custGeom>
            <a:solidFill>
              <a:srgbClr val="0070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sp>
        <p:nvSpPr>
          <p:cNvPr id="865" name="Прямоугольник 864"/>
          <p:cNvSpPr/>
          <p:nvPr/>
        </p:nvSpPr>
        <p:spPr>
          <a:xfrm flipH="1">
            <a:off x="2742463" y="3445616"/>
            <a:ext cx="120746" cy="23264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66" name="Прямоугольник 865"/>
          <p:cNvSpPr/>
          <p:nvPr/>
        </p:nvSpPr>
        <p:spPr>
          <a:xfrm rot="5400000" flipH="1">
            <a:off x="2596736" y="3295614"/>
            <a:ext cx="227980" cy="22236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67" name="Арка 866"/>
          <p:cNvSpPr/>
          <p:nvPr/>
        </p:nvSpPr>
        <p:spPr>
          <a:xfrm rot="16200000" flipH="1">
            <a:off x="2696321" y="3375468"/>
            <a:ext cx="97085" cy="90510"/>
          </a:xfrm>
          <a:prstGeom prst="blockArc">
            <a:avLst>
              <a:gd name="adj1" fmla="val 16168735"/>
              <a:gd name="adj2" fmla="val 0"/>
              <a:gd name="adj3" fmla="val 25000"/>
            </a:avLst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68" name="Арка 867"/>
          <p:cNvSpPr/>
          <p:nvPr/>
        </p:nvSpPr>
        <p:spPr>
          <a:xfrm rot="5400000" flipH="1">
            <a:off x="2628134" y="3146045"/>
            <a:ext cx="97085" cy="90510"/>
          </a:xfrm>
          <a:prstGeom prst="blockArc">
            <a:avLst>
              <a:gd name="adj1" fmla="val 16168735"/>
              <a:gd name="adj2" fmla="val 5394514"/>
              <a:gd name="adj3" fmla="val 25039"/>
            </a:avLst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69" name="Прямоугольник 868"/>
          <p:cNvSpPr/>
          <p:nvPr/>
        </p:nvSpPr>
        <p:spPr>
          <a:xfrm flipH="1">
            <a:off x="3009332" y="3445616"/>
            <a:ext cx="31586" cy="23264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70" name="Равнобедренный треугольник 869"/>
          <p:cNvSpPr/>
          <p:nvPr/>
        </p:nvSpPr>
        <p:spPr>
          <a:xfrm rot="5400000" flipH="1" flipV="1">
            <a:off x="2784712" y="3361277"/>
            <a:ext cx="31138" cy="49241"/>
          </a:xfrm>
          <a:prstGeom prst="triangle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pic>
        <p:nvPicPr>
          <p:cNvPr id="871" name="Picture 11" descr="C:\Users\Driker.AA\Desktop\Инфографика\С заливкой\Транспорт\бензовоз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360451" y="3237420"/>
            <a:ext cx="258603" cy="281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2" name="Прямоугольник 871"/>
          <p:cNvSpPr/>
          <p:nvPr/>
        </p:nvSpPr>
        <p:spPr>
          <a:xfrm rot="5400000" flipH="1">
            <a:off x="2528188" y="3295888"/>
            <a:ext cx="227980" cy="21688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73" name="Арка 872"/>
          <p:cNvSpPr/>
          <p:nvPr/>
        </p:nvSpPr>
        <p:spPr>
          <a:xfrm rot="10800000" flipH="1">
            <a:off x="2562366" y="3372181"/>
            <a:ext cx="90510" cy="97085"/>
          </a:xfrm>
          <a:prstGeom prst="blockArc">
            <a:avLst>
              <a:gd name="adj1" fmla="val 16168735"/>
              <a:gd name="adj2" fmla="val 0"/>
              <a:gd name="adj3" fmla="val 25000"/>
            </a:avLst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874" name="Прямоугольник 873"/>
          <p:cNvSpPr/>
          <p:nvPr/>
        </p:nvSpPr>
        <p:spPr>
          <a:xfrm flipH="1">
            <a:off x="2584724" y="3445021"/>
            <a:ext cx="23497" cy="23264"/>
          </a:xfrm>
          <a:prstGeom prst="rect">
            <a:avLst/>
          </a:prstGeom>
          <a:solidFill>
            <a:schemeClr val="bg2">
              <a:lumMod val="75000"/>
            </a:schemeClr>
          </a:solidFill>
          <a:ln w="444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1022" name="Прямая соединительная линия 1021"/>
          <p:cNvCxnSpPr/>
          <p:nvPr/>
        </p:nvCxnSpPr>
        <p:spPr>
          <a:xfrm flipV="1">
            <a:off x="1830135" y="2895786"/>
            <a:ext cx="0" cy="451181"/>
          </a:xfrm>
          <a:prstGeom prst="line">
            <a:avLst/>
          </a:prstGeom>
          <a:ln>
            <a:solidFill>
              <a:schemeClr val="accent6"/>
            </a:solidFill>
            <a:prstDash val="lgDash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4247933" y="1945503"/>
            <a:ext cx="216055" cy="1980220"/>
            <a:chOff x="6120161" y="2202765"/>
            <a:chExt cx="123467" cy="2441652"/>
          </a:xfrm>
        </p:grpSpPr>
        <p:cxnSp>
          <p:nvCxnSpPr>
            <p:cNvPr id="1023" name="Прямая со стрелкой 1022"/>
            <p:cNvCxnSpPr/>
            <p:nvPr/>
          </p:nvCxnSpPr>
          <p:spPr>
            <a:xfrm flipH="1">
              <a:off x="6120161" y="3357000"/>
              <a:ext cx="18" cy="1087282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5" name="Прямая со стрелкой 1024"/>
            <p:cNvCxnSpPr/>
            <p:nvPr/>
          </p:nvCxnSpPr>
          <p:spPr>
            <a:xfrm flipH="1">
              <a:off x="6181875" y="2451668"/>
              <a:ext cx="10307" cy="2112695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6" name="Прямая со стрелкой 1025"/>
            <p:cNvCxnSpPr/>
            <p:nvPr/>
          </p:nvCxnSpPr>
          <p:spPr>
            <a:xfrm flipH="1">
              <a:off x="6243604" y="2202765"/>
              <a:ext cx="24" cy="2441652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Группа 3"/>
          <p:cNvGrpSpPr/>
          <p:nvPr/>
        </p:nvGrpSpPr>
        <p:grpSpPr>
          <a:xfrm>
            <a:off x="1835696" y="1926865"/>
            <a:ext cx="2592288" cy="954742"/>
            <a:chOff x="838127" y="2291763"/>
            <a:chExt cx="6542182" cy="954742"/>
          </a:xfrm>
        </p:grpSpPr>
        <p:cxnSp>
          <p:nvCxnSpPr>
            <p:cNvPr id="1021" name="Прямая соединительная линия 1020"/>
            <p:cNvCxnSpPr/>
            <p:nvPr/>
          </p:nvCxnSpPr>
          <p:spPr>
            <a:xfrm>
              <a:off x="1565034" y="2291763"/>
              <a:ext cx="5815275" cy="0"/>
            </a:xfrm>
            <a:prstGeom prst="line">
              <a:avLst/>
            </a:prstGeom>
            <a:ln>
              <a:solidFill>
                <a:schemeClr val="accent6"/>
              </a:solidFill>
              <a:prstDash val="lg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7" name="Прямая соединительная линия 1026"/>
            <p:cNvCxnSpPr/>
            <p:nvPr/>
          </p:nvCxnSpPr>
          <p:spPr>
            <a:xfrm>
              <a:off x="5017855" y="2526425"/>
              <a:ext cx="2290450" cy="0"/>
            </a:xfrm>
            <a:prstGeom prst="line">
              <a:avLst/>
            </a:prstGeom>
            <a:ln>
              <a:solidFill>
                <a:schemeClr val="accent6"/>
              </a:solidFill>
              <a:prstDash val="lg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8" name="Прямая соединительная линия 1027"/>
            <p:cNvCxnSpPr/>
            <p:nvPr/>
          </p:nvCxnSpPr>
          <p:spPr>
            <a:xfrm>
              <a:off x="838127" y="3246505"/>
              <a:ext cx="5997000" cy="0"/>
            </a:xfrm>
            <a:prstGeom prst="line">
              <a:avLst/>
            </a:prstGeom>
            <a:ln>
              <a:solidFill>
                <a:schemeClr val="accent6"/>
              </a:solidFill>
              <a:prstDash val="lg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0" name="Группа 1029"/>
          <p:cNvGrpSpPr/>
          <p:nvPr/>
        </p:nvGrpSpPr>
        <p:grpSpPr>
          <a:xfrm rot="16200000" flipH="1" flipV="1">
            <a:off x="3977937" y="3530981"/>
            <a:ext cx="180015" cy="720080"/>
            <a:chOff x="6120177" y="2291763"/>
            <a:chExt cx="144011" cy="2072466"/>
          </a:xfrm>
        </p:grpSpPr>
        <p:cxnSp>
          <p:nvCxnSpPr>
            <p:cNvPr id="1031" name="Прямая со стрелкой 1030"/>
            <p:cNvCxnSpPr/>
            <p:nvPr/>
          </p:nvCxnSpPr>
          <p:spPr>
            <a:xfrm rot="5400000">
              <a:off x="5343012" y="3587045"/>
              <a:ext cx="1554341" cy="12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2" name="Прямая со стрелкой 1031"/>
            <p:cNvCxnSpPr/>
            <p:nvPr/>
          </p:nvCxnSpPr>
          <p:spPr>
            <a:xfrm>
              <a:off x="6192182" y="2571750"/>
              <a:ext cx="0" cy="1792479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3" name="Прямая со стрелкой 1032"/>
            <p:cNvCxnSpPr/>
            <p:nvPr/>
          </p:nvCxnSpPr>
          <p:spPr>
            <a:xfrm>
              <a:off x="6264188" y="2291763"/>
              <a:ext cx="0" cy="2072466"/>
            </a:xfrm>
            <a:prstGeom prst="straightConnector1">
              <a:avLst/>
            </a:prstGeom>
            <a:ln>
              <a:solidFill>
                <a:schemeClr val="accent6"/>
              </a:solidFill>
              <a:prstDash val="lg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1" name="Picture85"/>
          <p:cNvSpPr>
            <a:spLocks noChangeAspect="1" noEditPoints="1"/>
          </p:cNvSpPr>
          <p:nvPr/>
        </p:nvSpPr>
        <p:spPr bwMode="auto">
          <a:xfrm>
            <a:off x="3840833" y="2932650"/>
            <a:ext cx="211744" cy="141245"/>
          </a:xfrm>
          <a:custGeom>
            <a:avLst/>
            <a:gdLst>
              <a:gd name="T0" fmla="*/ 1190 w 1700"/>
              <a:gd name="T1" fmla="*/ 0 h 1134"/>
              <a:gd name="T2" fmla="*/ 1190 w 1700"/>
              <a:gd name="T3" fmla="*/ 1134 h 1134"/>
              <a:gd name="T4" fmla="*/ 1700 w 1700"/>
              <a:gd name="T5" fmla="*/ 1134 h 1134"/>
              <a:gd name="T6" fmla="*/ 1700 w 1700"/>
              <a:gd name="T7" fmla="*/ 0 h 1134"/>
              <a:gd name="T8" fmla="*/ 1190 w 1700"/>
              <a:gd name="T9" fmla="*/ 0 h 1134"/>
              <a:gd name="T10" fmla="*/ 1644 w 1700"/>
              <a:gd name="T11" fmla="*/ 738 h 1134"/>
              <a:gd name="T12" fmla="*/ 1588 w 1700"/>
              <a:gd name="T13" fmla="*/ 738 h 1134"/>
              <a:gd name="T14" fmla="*/ 1588 w 1700"/>
              <a:gd name="T15" fmla="*/ 680 h 1134"/>
              <a:gd name="T16" fmla="*/ 1644 w 1700"/>
              <a:gd name="T17" fmla="*/ 680 h 1134"/>
              <a:gd name="T18" fmla="*/ 1644 w 1700"/>
              <a:gd name="T19" fmla="*/ 738 h 1134"/>
              <a:gd name="T20" fmla="*/ 1644 w 1700"/>
              <a:gd name="T21" fmla="*/ 510 h 1134"/>
              <a:gd name="T22" fmla="*/ 1248 w 1700"/>
              <a:gd name="T23" fmla="*/ 510 h 1134"/>
              <a:gd name="T24" fmla="*/ 1248 w 1700"/>
              <a:gd name="T25" fmla="*/ 454 h 1134"/>
              <a:gd name="T26" fmla="*/ 1644 w 1700"/>
              <a:gd name="T27" fmla="*/ 454 h 1134"/>
              <a:gd name="T28" fmla="*/ 1644 w 1700"/>
              <a:gd name="T29" fmla="*/ 510 h 1134"/>
              <a:gd name="T30" fmla="*/ 1644 w 1700"/>
              <a:gd name="T31" fmla="*/ 340 h 1134"/>
              <a:gd name="T32" fmla="*/ 1248 w 1700"/>
              <a:gd name="T33" fmla="*/ 340 h 1134"/>
              <a:gd name="T34" fmla="*/ 1248 w 1700"/>
              <a:gd name="T35" fmla="*/ 284 h 1134"/>
              <a:gd name="T36" fmla="*/ 1644 w 1700"/>
              <a:gd name="T37" fmla="*/ 284 h 1134"/>
              <a:gd name="T38" fmla="*/ 1644 w 1700"/>
              <a:gd name="T39" fmla="*/ 340 h 1134"/>
              <a:gd name="T40" fmla="*/ 1644 w 1700"/>
              <a:gd name="T41" fmla="*/ 170 h 1134"/>
              <a:gd name="T42" fmla="*/ 1248 w 1700"/>
              <a:gd name="T43" fmla="*/ 170 h 1134"/>
              <a:gd name="T44" fmla="*/ 1248 w 1700"/>
              <a:gd name="T45" fmla="*/ 114 h 1134"/>
              <a:gd name="T46" fmla="*/ 1644 w 1700"/>
              <a:gd name="T47" fmla="*/ 114 h 1134"/>
              <a:gd name="T48" fmla="*/ 1644 w 1700"/>
              <a:gd name="T49" fmla="*/ 170 h 1134"/>
              <a:gd name="T50" fmla="*/ 0 w 1700"/>
              <a:gd name="T51" fmla="*/ 964 h 1134"/>
              <a:gd name="T52" fmla="*/ 396 w 1700"/>
              <a:gd name="T53" fmla="*/ 964 h 1134"/>
              <a:gd name="T54" fmla="*/ 396 w 1700"/>
              <a:gd name="T55" fmla="*/ 1078 h 1134"/>
              <a:gd name="T56" fmla="*/ 284 w 1700"/>
              <a:gd name="T57" fmla="*/ 1078 h 1134"/>
              <a:gd name="T58" fmla="*/ 284 w 1700"/>
              <a:gd name="T59" fmla="*/ 1134 h 1134"/>
              <a:gd name="T60" fmla="*/ 794 w 1700"/>
              <a:gd name="T61" fmla="*/ 1134 h 1134"/>
              <a:gd name="T62" fmla="*/ 794 w 1700"/>
              <a:gd name="T63" fmla="*/ 1078 h 1134"/>
              <a:gd name="T64" fmla="*/ 680 w 1700"/>
              <a:gd name="T65" fmla="*/ 1078 h 1134"/>
              <a:gd name="T66" fmla="*/ 680 w 1700"/>
              <a:gd name="T67" fmla="*/ 964 h 1134"/>
              <a:gd name="T68" fmla="*/ 1078 w 1700"/>
              <a:gd name="T69" fmla="*/ 964 h 1134"/>
              <a:gd name="T70" fmla="*/ 1078 w 1700"/>
              <a:gd name="T71" fmla="*/ 170 h 1134"/>
              <a:gd name="T72" fmla="*/ 0 w 1700"/>
              <a:gd name="T73" fmla="*/ 170 h 1134"/>
              <a:gd name="T74" fmla="*/ 0 w 1700"/>
              <a:gd name="T75" fmla="*/ 964 h 1134"/>
              <a:gd name="T76" fmla="*/ 964 w 1700"/>
              <a:gd name="T77" fmla="*/ 908 h 1134"/>
              <a:gd name="T78" fmla="*/ 908 w 1700"/>
              <a:gd name="T79" fmla="*/ 908 h 1134"/>
              <a:gd name="T80" fmla="*/ 908 w 1700"/>
              <a:gd name="T81" fmla="*/ 850 h 1134"/>
              <a:gd name="T82" fmla="*/ 964 w 1700"/>
              <a:gd name="T83" fmla="*/ 850 h 1134"/>
              <a:gd name="T84" fmla="*/ 964 w 1700"/>
              <a:gd name="T85" fmla="*/ 908 h 1134"/>
              <a:gd name="T86" fmla="*/ 114 w 1700"/>
              <a:gd name="T87" fmla="*/ 284 h 1134"/>
              <a:gd name="T88" fmla="*/ 964 w 1700"/>
              <a:gd name="T89" fmla="*/ 284 h 1134"/>
              <a:gd name="T90" fmla="*/ 964 w 1700"/>
              <a:gd name="T91" fmla="*/ 794 h 1134"/>
              <a:gd name="T92" fmla="*/ 114 w 1700"/>
              <a:gd name="T93" fmla="*/ 794 h 1134"/>
              <a:gd name="T94" fmla="*/ 114 w 1700"/>
              <a:gd name="T95" fmla="*/ 284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700" h="1134">
                <a:moveTo>
                  <a:pt x="1190" y="0"/>
                </a:moveTo>
                <a:lnTo>
                  <a:pt x="1190" y="1134"/>
                </a:lnTo>
                <a:lnTo>
                  <a:pt x="1700" y="1134"/>
                </a:lnTo>
                <a:lnTo>
                  <a:pt x="1700" y="0"/>
                </a:lnTo>
                <a:lnTo>
                  <a:pt x="1190" y="0"/>
                </a:lnTo>
                <a:close/>
                <a:moveTo>
                  <a:pt x="1644" y="738"/>
                </a:moveTo>
                <a:lnTo>
                  <a:pt x="1588" y="738"/>
                </a:lnTo>
                <a:lnTo>
                  <a:pt x="1588" y="680"/>
                </a:lnTo>
                <a:lnTo>
                  <a:pt x="1644" y="680"/>
                </a:lnTo>
                <a:lnTo>
                  <a:pt x="1644" y="738"/>
                </a:lnTo>
                <a:close/>
                <a:moveTo>
                  <a:pt x="1644" y="510"/>
                </a:moveTo>
                <a:lnTo>
                  <a:pt x="1248" y="510"/>
                </a:lnTo>
                <a:lnTo>
                  <a:pt x="1248" y="454"/>
                </a:lnTo>
                <a:lnTo>
                  <a:pt x="1644" y="454"/>
                </a:lnTo>
                <a:lnTo>
                  <a:pt x="1644" y="510"/>
                </a:lnTo>
                <a:close/>
                <a:moveTo>
                  <a:pt x="1644" y="340"/>
                </a:moveTo>
                <a:lnTo>
                  <a:pt x="1248" y="340"/>
                </a:lnTo>
                <a:lnTo>
                  <a:pt x="1248" y="284"/>
                </a:lnTo>
                <a:lnTo>
                  <a:pt x="1644" y="284"/>
                </a:lnTo>
                <a:lnTo>
                  <a:pt x="1644" y="340"/>
                </a:lnTo>
                <a:close/>
                <a:moveTo>
                  <a:pt x="1644" y="170"/>
                </a:moveTo>
                <a:lnTo>
                  <a:pt x="1248" y="170"/>
                </a:lnTo>
                <a:lnTo>
                  <a:pt x="1248" y="114"/>
                </a:lnTo>
                <a:lnTo>
                  <a:pt x="1644" y="114"/>
                </a:lnTo>
                <a:lnTo>
                  <a:pt x="1644" y="170"/>
                </a:lnTo>
                <a:close/>
                <a:moveTo>
                  <a:pt x="0" y="964"/>
                </a:moveTo>
                <a:lnTo>
                  <a:pt x="396" y="964"/>
                </a:lnTo>
                <a:lnTo>
                  <a:pt x="396" y="1078"/>
                </a:lnTo>
                <a:lnTo>
                  <a:pt x="284" y="1078"/>
                </a:lnTo>
                <a:lnTo>
                  <a:pt x="284" y="1134"/>
                </a:lnTo>
                <a:lnTo>
                  <a:pt x="794" y="1134"/>
                </a:lnTo>
                <a:lnTo>
                  <a:pt x="794" y="1078"/>
                </a:lnTo>
                <a:lnTo>
                  <a:pt x="680" y="1078"/>
                </a:lnTo>
                <a:lnTo>
                  <a:pt x="680" y="964"/>
                </a:lnTo>
                <a:lnTo>
                  <a:pt x="1078" y="964"/>
                </a:lnTo>
                <a:lnTo>
                  <a:pt x="1078" y="170"/>
                </a:lnTo>
                <a:lnTo>
                  <a:pt x="0" y="170"/>
                </a:lnTo>
                <a:lnTo>
                  <a:pt x="0" y="964"/>
                </a:lnTo>
                <a:close/>
                <a:moveTo>
                  <a:pt x="964" y="908"/>
                </a:moveTo>
                <a:lnTo>
                  <a:pt x="908" y="908"/>
                </a:lnTo>
                <a:lnTo>
                  <a:pt x="908" y="850"/>
                </a:lnTo>
                <a:lnTo>
                  <a:pt x="964" y="850"/>
                </a:lnTo>
                <a:lnTo>
                  <a:pt x="964" y="908"/>
                </a:lnTo>
                <a:close/>
                <a:moveTo>
                  <a:pt x="114" y="284"/>
                </a:moveTo>
                <a:lnTo>
                  <a:pt x="964" y="284"/>
                </a:lnTo>
                <a:lnTo>
                  <a:pt x="964" y="794"/>
                </a:lnTo>
                <a:lnTo>
                  <a:pt x="114" y="794"/>
                </a:lnTo>
                <a:lnTo>
                  <a:pt x="114" y="28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56710" tIns="28355" rIns="56710" bIns="28355" numCol="1" anchor="t" anchorCtr="0" compatLnSpc="1">
            <a:prstTxWarp prst="textNoShape">
              <a:avLst/>
            </a:prstTxWarp>
          </a:bodyPr>
          <a:lstStyle/>
          <a:p>
            <a:endParaRPr lang="ru-RU" sz="1116"/>
          </a:p>
        </p:txBody>
      </p:sp>
      <p:sp>
        <p:nvSpPr>
          <p:cNvPr id="382" name="Прямоугольник 381"/>
          <p:cNvSpPr/>
          <p:nvPr/>
        </p:nvSpPr>
        <p:spPr>
          <a:xfrm>
            <a:off x="3624809" y="3112670"/>
            <a:ext cx="582699" cy="276999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600" dirty="0">
                <a:solidFill>
                  <a:schemeClr val="accent3"/>
                </a:solidFill>
              </a:rPr>
              <a:t>Локальная АСУТП</a:t>
            </a:r>
          </a:p>
        </p:txBody>
      </p:sp>
      <p:sp>
        <p:nvSpPr>
          <p:cNvPr id="338" name="Прямоугольник 337"/>
          <p:cNvSpPr/>
          <p:nvPr/>
        </p:nvSpPr>
        <p:spPr>
          <a:xfrm>
            <a:off x="4556062" y="1098928"/>
            <a:ext cx="2986833" cy="93276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800"/>
              </a:spcBef>
            </a:pP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Установка измерительная</a:t>
            </a:r>
            <a:br>
              <a:rPr lang="ru-RU" sz="7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«ОЗНА-</a:t>
            </a:r>
            <a:r>
              <a:rPr lang="ru-RU" sz="700" b="1" dirty="0" err="1">
                <a:solidFill>
                  <a:schemeClr val="bg1">
                    <a:lumMod val="95000"/>
                  </a:schemeClr>
                </a:solidFill>
              </a:rPr>
              <a:t>Агидель</a:t>
            </a: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» ЖДС-150-0,25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производства </a:t>
            </a: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ООО «НПП ОЗНА-Инжиниринг»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– 24 шт.</a:t>
            </a:r>
            <a:br>
              <a:rPr lang="ru-RU" sz="7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Пределы погрешности:  </a:t>
            </a:r>
            <a:br>
              <a:rPr lang="ru-RU" sz="7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>M – 0,25 %, V – 0,25 %, </a:t>
            </a:r>
            <a:r>
              <a:rPr lang="el-GR" sz="700" dirty="0">
                <a:solidFill>
                  <a:schemeClr val="bg1">
                    <a:lumMod val="95000"/>
                  </a:schemeClr>
                </a:solidFill>
              </a:rPr>
              <a:t>ρ</a:t>
            </a:r>
            <a:r>
              <a:rPr lang="ru-RU" sz="700" baseline="-25000" dirty="0">
                <a:solidFill>
                  <a:schemeClr val="bg1">
                    <a:lumMod val="95000"/>
                  </a:schemeClr>
                </a:solidFill>
              </a:rPr>
              <a:t>ср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 – 0,5 кг/м</a:t>
            </a:r>
            <a:r>
              <a:rPr lang="ru-RU" sz="700" baseline="30000" dirty="0">
                <a:solidFill>
                  <a:schemeClr val="bg1">
                    <a:lumMod val="95000"/>
                  </a:schemeClr>
                </a:solidFill>
              </a:rPr>
              <a:t>3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lang="ru-RU" sz="700" baseline="-25000" dirty="0">
                <a:solidFill>
                  <a:schemeClr val="bg1">
                    <a:lumMod val="95000"/>
                  </a:schemeClr>
                </a:solidFill>
              </a:rPr>
              <a:t>ср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 – 0,5 °С</a:t>
            </a:r>
            <a:br>
              <a:rPr lang="ru-RU" sz="7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Свидетельство об утверждении типа СИ ОС.С.29.006.А №73559 срок действия до 10.04.24, регистрационный номер №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</a:rPr>
              <a:t>74711-19</a:t>
            </a:r>
          </a:p>
        </p:txBody>
      </p:sp>
      <p:sp>
        <p:nvSpPr>
          <p:cNvPr id="339" name="Прямоугольник 338"/>
          <p:cNvSpPr/>
          <p:nvPr/>
        </p:nvSpPr>
        <p:spPr>
          <a:xfrm>
            <a:off x="4575379" y="2803895"/>
            <a:ext cx="2796804" cy="96328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800"/>
              </a:spcBef>
            </a:pP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Система измерительная </a:t>
            </a: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АСН-8НГ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 – 4 </a:t>
            </a:r>
            <a:r>
              <a:rPr lang="ru-RU" sz="700" dirty="0" err="1">
                <a:solidFill>
                  <a:schemeClr val="bg1">
                    <a:lumMod val="95000"/>
                  </a:schemeClr>
                </a:solidFill>
              </a:rPr>
              <a:t>компл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., </a:t>
            </a: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АСН-8ВГ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 – 1 </a:t>
            </a:r>
            <a:r>
              <a:rPr lang="ru-RU" sz="700" dirty="0" err="1">
                <a:solidFill>
                  <a:schemeClr val="bg1">
                    <a:lumMod val="95000"/>
                  </a:schemeClr>
                </a:solidFill>
              </a:rPr>
              <a:t>компл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., </a:t>
            </a: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производства ОАО «</a:t>
            </a:r>
            <a:r>
              <a:rPr lang="ru-RU" sz="700" b="1" dirty="0" err="1">
                <a:solidFill>
                  <a:schemeClr val="bg1">
                    <a:lumMod val="95000"/>
                  </a:schemeClr>
                </a:solidFill>
              </a:rPr>
              <a:t>Промприбор</a:t>
            </a: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»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/>
            </a:r>
            <a:br>
              <a:rPr lang="ru-RU" sz="7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Пределы погрешности:  </a:t>
            </a:r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>M – 0,25 %, V – 0,25 %, </a:t>
            </a:r>
            <a:r>
              <a:rPr lang="el-GR" sz="700" dirty="0">
                <a:solidFill>
                  <a:schemeClr val="bg1">
                    <a:lumMod val="95000"/>
                  </a:schemeClr>
                </a:solidFill>
              </a:rPr>
              <a:t>ρ</a:t>
            </a:r>
            <a:r>
              <a:rPr lang="ru-RU" sz="700" baseline="-25000" dirty="0">
                <a:solidFill>
                  <a:schemeClr val="bg1">
                    <a:lumMod val="95000"/>
                  </a:schemeClr>
                </a:solidFill>
              </a:rPr>
              <a:t>ср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 – 0,5 кг/м</a:t>
            </a:r>
            <a:r>
              <a:rPr lang="ru-RU" sz="700" baseline="30000" dirty="0">
                <a:solidFill>
                  <a:schemeClr val="bg1">
                    <a:lumMod val="95000"/>
                  </a:schemeClr>
                </a:solidFill>
              </a:rPr>
              <a:t>3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lang="ru-RU" sz="700" baseline="-25000" dirty="0">
                <a:solidFill>
                  <a:schemeClr val="bg1">
                    <a:lumMod val="95000"/>
                  </a:schemeClr>
                </a:solidFill>
              </a:rPr>
              <a:t>ср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 – 0,5 °С</a:t>
            </a:r>
            <a:br>
              <a:rPr lang="ru-RU" sz="7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Свидетельство об утверждении типа СИ №58687/1 срок действия 06.05.20, регистрационный номер №60596-15  </a:t>
            </a:r>
          </a:p>
        </p:txBody>
      </p:sp>
      <p:pic>
        <p:nvPicPr>
          <p:cNvPr id="345" name="Рисунок 34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6166" y="1058088"/>
            <a:ext cx="863999" cy="901594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346" name="Прямоугольник 345"/>
          <p:cNvSpPr/>
          <p:nvPr/>
        </p:nvSpPr>
        <p:spPr>
          <a:xfrm>
            <a:off x="4575379" y="2031690"/>
            <a:ext cx="2796804" cy="82732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800"/>
              </a:spcBef>
            </a:pP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Измерительная система </a:t>
            </a:r>
            <a:r>
              <a:rPr lang="en-US" sz="700" b="1" dirty="0">
                <a:solidFill>
                  <a:schemeClr val="bg1">
                    <a:lumMod val="95000"/>
                  </a:schemeClr>
                </a:solidFill>
              </a:rPr>
              <a:t>RTG</a:t>
            </a:r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производства </a:t>
            </a:r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/>
            </a:r>
            <a:br>
              <a:rPr lang="en-US" sz="7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700" b="1" dirty="0">
                <a:solidFill>
                  <a:schemeClr val="bg1">
                    <a:lumMod val="95000"/>
                  </a:schemeClr>
                </a:solidFill>
              </a:rPr>
              <a:t>Emerson</a:t>
            </a:r>
            <a:r>
              <a:rPr lang="ru-RU" sz="7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- 15 </a:t>
            </a:r>
            <a:r>
              <a:rPr lang="ru-RU" sz="700" dirty="0" err="1">
                <a:solidFill>
                  <a:schemeClr val="bg1">
                    <a:lumMod val="95000"/>
                  </a:schemeClr>
                </a:solidFill>
              </a:rPr>
              <a:t>компл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.</a:t>
            </a:r>
            <a:br>
              <a:rPr lang="ru-RU" sz="700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Пределы погрешности:  </a:t>
            </a:r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>M – 0,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5</a:t>
            </a:r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> %, V – 0,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4</a:t>
            </a:r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> %, </a:t>
            </a:r>
            <a:r>
              <a:rPr lang="el-GR" sz="700" dirty="0">
                <a:solidFill>
                  <a:schemeClr val="bg1">
                    <a:lumMod val="95000"/>
                  </a:schemeClr>
                </a:solidFill>
              </a:rPr>
              <a:t>ρ</a:t>
            </a:r>
            <a:r>
              <a:rPr lang="ru-RU" sz="700" baseline="-25000" dirty="0">
                <a:solidFill>
                  <a:schemeClr val="bg1">
                    <a:lumMod val="95000"/>
                  </a:schemeClr>
                </a:solidFill>
              </a:rPr>
              <a:t>ср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 – 1,0 кг/м</a:t>
            </a:r>
            <a:r>
              <a:rPr lang="ru-RU" sz="700" baseline="30000" dirty="0">
                <a:solidFill>
                  <a:schemeClr val="bg1">
                    <a:lumMod val="95000"/>
                  </a:schemeClr>
                </a:solidFill>
              </a:rPr>
              <a:t>3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</a:rPr>
              <a:t/>
            </a:r>
            <a:br>
              <a:rPr lang="ru-RU" sz="700" dirty="0" smtClean="0">
                <a:solidFill>
                  <a:schemeClr val="bg1">
                    <a:lumMod val="95000"/>
                  </a:schemeClr>
                </a:solidFill>
              </a:rPr>
            </a:br>
            <a:r>
              <a:rPr lang="en-US" sz="700" dirty="0" smtClean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lang="ru-RU" sz="700" baseline="-25000" dirty="0">
                <a:solidFill>
                  <a:schemeClr val="bg1">
                    <a:lumMod val="95000"/>
                  </a:schemeClr>
                </a:solidFill>
              </a:rPr>
              <a:t>ср</a:t>
            </a:r>
            <a:r>
              <a:rPr lang="ru-RU" sz="700" dirty="0">
                <a:solidFill>
                  <a:schemeClr val="bg1">
                    <a:lumMod val="95000"/>
                  </a:schemeClr>
                </a:solidFill>
              </a:rPr>
              <a:t> – 0,5 °</a:t>
            </a:r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</a:rPr>
              <a:t>С</a:t>
            </a:r>
            <a:endParaRPr lang="ru-RU" sz="70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347" name="Рисунок 34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6165" y="2031690"/>
            <a:ext cx="864000" cy="783636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348" name="Рисунок 347"/>
          <p:cNvPicPr>
            <a:picLocks noChangeAspect="1"/>
          </p:cNvPicPr>
          <p:nvPr/>
        </p:nvPicPr>
        <p:blipFill rotWithShape="1">
          <a:blip r:embed="rId18"/>
          <a:srcRect t="16020"/>
          <a:stretch/>
        </p:blipFill>
        <p:spPr>
          <a:xfrm>
            <a:off x="7706165" y="2874222"/>
            <a:ext cx="872708" cy="77764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grpSp>
        <p:nvGrpSpPr>
          <p:cNvPr id="349" name="Группа 348"/>
          <p:cNvGrpSpPr/>
          <p:nvPr/>
        </p:nvGrpSpPr>
        <p:grpSpPr>
          <a:xfrm>
            <a:off x="1626066" y="4768709"/>
            <a:ext cx="1539306" cy="298740"/>
            <a:chOff x="4850105" y="4434550"/>
            <a:chExt cx="1539306" cy="298740"/>
          </a:xfrm>
        </p:grpSpPr>
        <p:sp>
          <p:nvSpPr>
            <p:cNvPr id="350" name="arrow2_3_line"/>
            <p:cNvSpPr>
              <a:spLocks noChangeShapeType="1"/>
            </p:cNvSpPr>
            <p:nvPr/>
          </p:nvSpPr>
          <p:spPr bwMode="auto">
            <a:xfrm>
              <a:off x="4850105" y="4528808"/>
              <a:ext cx="270000" cy="0"/>
            </a:xfrm>
            <a:prstGeom prst="line">
              <a:avLst/>
            </a:prstGeom>
            <a:ln w="19050">
              <a:solidFill>
                <a:schemeClr val="accent3"/>
              </a:solidFill>
              <a:headEnd/>
              <a:tailEnd type="triangle" w="med" len="lg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wrap="none" lIns="0" tIns="0" anchor="ctr"/>
            <a:lstStyle/>
            <a:p>
              <a:endParaRPr lang="ru-RU" sz="1350" dirty="0">
                <a:latin typeface="Arial" pitchFamily="34" charset="0"/>
              </a:endParaRPr>
            </a:p>
          </p:txBody>
        </p:sp>
        <p:sp>
          <p:nvSpPr>
            <p:cNvPr id="351" name="Прямоугольник 350"/>
            <p:cNvSpPr/>
            <p:nvPr/>
          </p:nvSpPr>
          <p:spPr>
            <a:xfrm>
              <a:off x="4896036" y="4434550"/>
              <a:ext cx="1493375" cy="184666"/>
            </a:xfrm>
            <a:prstGeom prst="rect">
              <a:avLst/>
            </a:prstGeom>
            <a:ln w="1270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sz="600" dirty="0">
                  <a:solidFill>
                    <a:schemeClr val="accent3"/>
                  </a:solidFill>
                </a:rPr>
                <a:t>- Движение нефтепродуктов</a:t>
              </a:r>
            </a:p>
          </p:txBody>
        </p:sp>
        <p:sp>
          <p:nvSpPr>
            <p:cNvPr id="352" name="arrow2_3_line"/>
            <p:cNvSpPr>
              <a:spLocks noChangeShapeType="1"/>
            </p:cNvSpPr>
            <p:nvPr/>
          </p:nvSpPr>
          <p:spPr bwMode="auto">
            <a:xfrm>
              <a:off x="4855463" y="4634774"/>
              <a:ext cx="270000" cy="0"/>
            </a:xfrm>
            <a:prstGeom prst="line">
              <a:avLst/>
            </a:prstGeom>
            <a:ln w="12700">
              <a:solidFill>
                <a:srgbClr val="FF9933"/>
              </a:solidFill>
              <a:prstDash val="lgDashDot"/>
              <a:headEnd/>
              <a:tailEnd type="triangle" w="med" len="lg"/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wrap="none" lIns="0" tIns="0" anchor="ctr"/>
            <a:lstStyle/>
            <a:p>
              <a:endParaRPr lang="ru-RU" sz="1350" dirty="0">
                <a:latin typeface="Arial" pitchFamily="34" charset="0"/>
              </a:endParaRPr>
            </a:p>
          </p:txBody>
        </p:sp>
        <p:sp>
          <p:nvSpPr>
            <p:cNvPr id="353" name="Прямоугольник 352"/>
            <p:cNvSpPr/>
            <p:nvPr/>
          </p:nvSpPr>
          <p:spPr>
            <a:xfrm>
              <a:off x="4914490" y="4548624"/>
              <a:ext cx="1138160" cy="184666"/>
            </a:xfrm>
            <a:prstGeom prst="rect">
              <a:avLst/>
            </a:prstGeom>
            <a:ln w="1270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sz="600" dirty="0">
                  <a:solidFill>
                    <a:schemeClr val="accent3"/>
                  </a:solidFill>
                </a:rPr>
                <a:t>- Передача данных</a:t>
              </a:r>
            </a:p>
          </p:txBody>
        </p:sp>
      </p:grpSp>
      <p:sp>
        <p:nvSpPr>
          <p:cNvPr id="354" name="Прямоугольник 353"/>
          <p:cNvSpPr/>
          <p:nvPr/>
        </p:nvSpPr>
        <p:spPr>
          <a:xfrm>
            <a:off x="4593344" y="3530130"/>
            <a:ext cx="2805253" cy="96328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</a:rPr>
              <a:t>Внедрена система электронной очереди на основании заданий из ЕАСКУ</a:t>
            </a:r>
          </a:p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</a:rPr>
              <a:t>Возврат фактически налитого объема из АСУП в ЕАСКУ</a:t>
            </a:r>
          </a:p>
          <a:p>
            <a:r>
              <a:rPr lang="ru-RU" sz="700" dirty="0" smtClean="0">
                <a:solidFill>
                  <a:schemeClr val="bg1">
                    <a:lumMod val="95000"/>
                  </a:schemeClr>
                </a:solidFill>
              </a:rPr>
              <a:t>Контроль стадий прохождения АЦ, СМС-оповещение о вызове на досмотр</a:t>
            </a:r>
          </a:p>
        </p:txBody>
      </p:sp>
      <p:pic>
        <p:nvPicPr>
          <p:cNvPr id="355" name="Рисунок 354"/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2183" y="3804429"/>
            <a:ext cx="1118682" cy="7252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56" name="Рисунок 355"/>
          <p:cNvPicPr/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1524" y="4040445"/>
            <a:ext cx="1013714" cy="69284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Группа 1"/>
          <p:cNvGrpSpPr/>
          <p:nvPr/>
        </p:nvGrpSpPr>
        <p:grpSpPr>
          <a:xfrm>
            <a:off x="349062" y="2002230"/>
            <a:ext cx="8229811" cy="1685644"/>
            <a:chOff x="349061" y="2002230"/>
            <a:chExt cx="8651431" cy="1685644"/>
          </a:xfrm>
        </p:grpSpPr>
        <p:cxnSp>
          <p:nvCxnSpPr>
            <p:cNvPr id="357" name="Прямая соединительная линия 356"/>
            <p:cNvCxnSpPr/>
            <p:nvPr/>
          </p:nvCxnSpPr>
          <p:spPr>
            <a:xfrm flipV="1">
              <a:off x="349061" y="2002230"/>
              <a:ext cx="8651431" cy="1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Прямая соединительная линия 357"/>
            <p:cNvCxnSpPr/>
            <p:nvPr/>
          </p:nvCxnSpPr>
          <p:spPr>
            <a:xfrm flipV="1">
              <a:off x="349061" y="2852477"/>
              <a:ext cx="8651431" cy="1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Прямая соединительная линия 358"/>
            <p:cNvCxnSpPr/>
            <p:nvPr/>
          </p:nvCxnSpPr>
          <p:spPr>
            <a:xfrm flipV="1">
              <a:off x="349061" y="3687873"/>
              <a:ext cx="8651431" cy="1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0" name="Прямоугольник 329"/>
          <p:cNvSpPr/>
          <p:nvPr/>
        </p:nvSpPr>
        <p:spPr>
          <a:xfrm>
            <a:off x="4047121" y="845098"/>
            <a:ext cx="172819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3350" lvl="1" algn="ctr"/>
            <a:r>
              <a:rPr lang="ru-RU" sz="900" b="1" i="1" u="sng" dirty="0" smtClean="0">
                <a:solidFill>
                  <a:schemeClr val="bg1">
                    <a:lumMod val="95000"/>
                  </a:schemeClr>
                </a:solidFill>
              </a:rPr>
              <a:t>НБ Гладкое</a:t>
            </a:r>
            <a:endParaRPr lang="ru-RU" sz="900" b="1" i="1" u="sng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106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C3C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9AF54F2-F22B-47F4-B9C6-FE449231CD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6879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2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9AF54F2-F22B-47F4-B9C6-FE449231C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b="1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4" name="Прямоугольник 143"/>
          <p:cNvSpPr/>
          <p:nvPr/>
        </p:nvSpPr>
        <p:spPr>
          <a:xfrm>
            <a:off x="2906982" y="887414"/>
            <a:ext cx="6417545" cy="164387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DE53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0D6897C-5FD1-0F4B-97DA-20B30C09D21F}"/>
              </a:ext>
            </a:extLst>
          </p:cNvPr>
          <p:cNvSpPr/>
          <p:nvPr/>
        </p:nvSpPr>
        <p:spPr>
          <a:xfrm>
            <a:off x="240615" y="185937"/>
            <a:ext cx="81118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Улучшение качества измерений на </a:t>
            </a:r>
            <a:r>
              <a:rPr lang="ru-RU" sz="1600" b="1" dirty="0" smtClean="0">
                <a:solidFill>
                  <a:srgbClr val="E7E6E6">
                    <a:lumMod val="50000"/>
                  </a:srgbClr>
                </a:solidFill>
                <a:latin typeface="DIN Pro" panose="020B0504020101010102" pitchFamily="34" charset="0"/>
                <a:cs typeface="DIN Pro" panose="020B0504020101010102" pitchFamily="34" charset="0"/>
              </a:rPr>
              <a:t>участке приема НБ «Гладкое»</a:t>
            </a:r>
            <a:endParaRPr lang="ru-RU" sz="1600" b="1" dirty="0">
              <a:solidFill>
                <a:srgbClr val="E7E6E6">
                  <a:lumMod val="50000"/>
                </a:srgbClr>
              </a:solidFill>
              <a:latin typeface="DIN Pro" panose="020B0504020101010102" pitchFamily="34" charset="0"/>
              <a:cs typeface="DIN Pro" panose="020B0504020101010102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215516" y="120479"/>
            <a:ext cx="70685" cy="4946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85"/>
              </a:spcBef>
            </a:pPr>
            <a:endParaRPr lang="ru-RU" sz="770" dirty="0">
              <a:solidFill>
                <a:schemeClr val="tx1"/>
              </a:solidFill>
            </a:endParaRPr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335920"/>
              </p:ext>
            </p:extLst>
          </p:nvPr>
        </p:nvGraphicFramePr>
        <p:xfrm>
          <a:off x="215516" y="843558"/>
          <a:ext cx="843229" cy="1323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43229">
                  <a:extLst>
                    <a:ext uri="{9D8B030D-6E8A-4147-A177-3AD203B41FA5}">
                      <a16:colId xmlns:a16="http://schemas.microsoft.com/office/drawing/2014/main" val="3830799867"/>
                    </a:ext>
                  </a:extLst>
                </a:gridCol>
              </a:tblGrid>
              <a:tr h="189000">
                <a:tc>
                  <a:txBody>
                    <a:bodyPr/>
                    <a:lstStyle/>
                    <a:p>
                      <a:pPr algn="r" fontAlgn="b"/>
                      <a:r>
                        <a:rPr kumimoji="0" lang="ru-RU" sz="9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EF6213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6</a:t>
                      </a:r>
                      <a:endParaRPr kumimoji="0" lang="ru-RU" sz="900" b="1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EF6213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925554554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algn="r" fontAlgn="b"/>
                      <a:r>
                        <a:rPr kumimoji="0" lang="en-US" sz="9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EF6213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583</a:t>
                      </a:r>
                      <a:endParaRPr kumimoji="0" lang="ru-RU" sz="900" b="1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EF6213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033809509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algn="r" fontAlgn="b"/>
                      <a:r>
                        <a:rPr kumimoji="0" lang="en-US" sz="9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EF6213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2 338</a:t>
                      </a:r>
                      <a:endParaRPr kumimoji="0" lang="ru-RU" sz="900" b="1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EF6213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724541114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algn="r" fontAlgn="b"/>
                      <a:r>
                        <a:rPr kumimoji="0" lang="en-US" sz="9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EF6213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133 724</a:t>
                      </a:r>
                      <a:endParaRPr kumimoji="0" lang="ru-RU" sz="900" b="1" i="0" u="none" strike="noStrike" kern="0" cap="none" spc="0" normalizeH="0" baseline="0" dirty="0" smtClean="0">
                        <a:ln>
                          <a:noFill/>
                        </a:ln>
                        <a:solidFill>
                          <a:srgbClr val="EF6213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003473614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algn="r" fontAlgn="b"/>
                      <a:r>
                        <a:rPr kumimoji="0" lang="ru-RU" sz="9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EF6213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12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algn="r" fontAlgn="b"/>
                      <a:r>
                        <a:rPr kumimoji="0" lang="ru-RU" sz="9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EF6213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24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algn="r" fontAlgn="b"/>
                      <a:r>
                        <a:rPr kumimoji="0" lang="ru-RU" sz="9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EF6213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1</a:t>
                      </a:r>
                      <a:r>
                        <a:rPr kumimoji="0" lang="en-US" sz="9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EF6213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4</a:t>
                      </a:r>
                      <a:r>
                        <a:rPr kumimoji="0" lang="ru-RU" sz="9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EF6213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.03-20.08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221628203"/>
                  </a:ext>
                </a:extLst>
              </a:tr>
            </a:tbl>
          </a:graphicData>
        </a:graphic>
      </p:graphicFrame>
      <p:graphicFrame>
        <p:nvGraphicFramePr>
          <p:cNvPr id="41" name="Таблица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0876035"/>
              </p:ext>
            </p:extLst>
          </p:nvPr>
        </p:nvGraphicFramePr>
        <p:xfrm>
          <a:off x="1134907" y="852513"/>
          <a:ext cx="1847349" cy="1323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47349">
                  <a:extLst>
                    <a:ext uri="{9D8B030D-6E8A-4147-A177-3AD203B41FA5}">
                      <a16:colId xmlns:a16="http://schemas.microsoft.com/office/drawing/2014/main" val="3830799867"/>
                    </a:ext>
                  </a:extLst>
                </a:gridCol>
              </a:tblGrid>
              <a:tr h="189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1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Поставщиков</a:t>
                      </a:r>
                      <a:endParaRPr kumimoji="0" lang="ru-RU" sz="800" b="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65000"/>
                          </a:srgb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925554554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1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Партий продукта</a:t>
                      </a:r>
                      <a:endParaRPr kumimoji="0" lang="ru-RU" sz="800" b="0" i="1" u="none" strike="noStrike" kern="0" cap="none" spc="0" normalizeH="0" baseline="0" dirty="0">
                        <a:ln>
                          <a:noFill/>
                        </a:ln>
                        <a:solidFill>
                          <a:srgbClr val="FFFFFF">
                            <a:lumMod val="65000"/>
                          </a:srgb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033809509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1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Вагонов</a:t>
                      </a:r>
                      <a:endParaRPr kumimoji="0" lang="ru-RU" sz="800" b="0" i="1" u="none" strike="noStrike" kern="0" cap="none" spc="0" normalizeH="0" baseline="0" dirty="0">
                        <a:ln>
                          <a:noFill/>
                        </a:ln>
                        <a:solidFill>
                          <a:srgbClr val="FFFFFF">
                            <a:lumMod val="65000"/>
                          </a:srgb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724541114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1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Тонн нефтепродукта</a:t>
                      </a:r>
                      <a:endParaRPr kumimoji="0" lang="ru-RU" sz="800" b="0" i="1" u="none" strike="noStrike" kern="0" cap="none" spc="0" normalizeH="0" baseline="0" dirty="0">
                        <a:ln>
                          <a:noFill/>
                        </a:ln>
                        <a:solidFill>
                          <a:srgbClr val="FFFFFF">
                            <a:lumMod val="65000"/>
                          </a:srgb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003473614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1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Постов слива ЖДЦ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1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Узла учета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9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1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FFFFFF">
                              <a:lumMod val="65000"/>
                            </a:srgbClr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Arial"/>
                        </a:rPr>
                        <a:t>Период сбора данных</a:t>
                      </a:r>
                      <a:endParaRPr kumimoji="0" lang="ru-RU" sz="800" b="0" i="1" u="none" strike="noStrike" kern="0" cap="none" spc="0" normalizeH="0" baseline="0" dirty="0">
                        <a:ln>
                          <a:noFill/>
                        </a:ln>
                        <a:solidFill>
                          <a:srgbClr val="FFFFFF">
                            <a:lumMod val="65000"/>
                          </a:srgbClr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941069607"/>
                  </a:ext>
                </a:extLst>
              </a:tr>
            </a:tbl>
          </a:graphicData>
        </a:graphic>
      </p:graphicFrame>
      <p:sp>
        <p:nvSpPr>
          <p:cNvPr id="42" name="Прямоугольник 41"/>
          <p:cNvSpPr/>
          <p:nvPr/>
        </p:nvSpPr>
        <p:spPr>
          <a:xfrm>
            <a:off x="6336196" y="1831975"/>
            <a:ext cx="2730235" cy="5080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83" fontAlgn="b">
              <a:defRPr sz="1400" b="0" i="0" u="none" strike="noStrike" kern="1200" spc="0" baseline="0">
                <a:solidFill>
                  <a:srgbClr val="3C3C3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900" kern="0" dirty="0">
                <a:solidFill>
                  <a:srgbClr val="EF6213"/>
                </a:solidFill>
                <a:latin typeface="Verdana"/>
                <a:cs typeface="Arial"/>
              </a:rPr>
              <a:t>+</a:t>
            </a:r>
            <a:r>
              <a:rPr lang="ru-RU" sz="900" kern="0" dirty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 Повышение достоверности </a:t>
            </a:r>
            <a:r>
              <a:rPr lang="ru-RU" sz="900" kern="0" dirty="0" smtClean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измерений</a:t>
            </a:r>
            <a:endParaRPr lang="ru-RU" sz="900" kern="0" dirty="0">
              <a:solidFill>
                <a:schemeClr val="bg1">
                  <a:lumMod val="95000"/>
                </a:schemeClr>
              </a:solidFill>
              <a:latin typeface="Verdana"/>
              <a:cs typeface="Arial"/>
            </a:endParaRPr>
          </a:p>
          <a:p>
            <a:pPr defTabSz="685783" fontAlgn="b">
              <a:defRPr sz="1400" b="0" i="0" u="none" strike="noStrike" kern="1200" spc="0" baseline="0">
                <a:solidFill>
                  <a:srgbClr val="3C3C3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900" kern="0" dirty="0">
                <a:solidFill>
                  <a:srgbClr val="EF6213"/>
                </a:solidFill>
                <a:latin typeface="Verdana"/>
                <a:cs typeface="Arial"/>
              </a:rPr>
              <a:t>+</a:t>
            </a:r>
            <a:r>
              <a:rPr lang="ru-RU" sz="900" kern="0" dirty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 Исключение «человеческого» </a:t>
            </a:r>
            <a:r>
              <a:rPr lang="ru-RU" sz="900" kern="0" dirty="0" smtClean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фактора</a:t>
            </a:r>
            <a:endParaRPr lang="ru-RU" sz="900" kern="0" dirty="0">
              <a:solidFill>
                <a:schemeClr val="bg1">
                  <a:lumMod val="95000"/>
                </a:schemeClr>
              </a:solidFill>
              <a:latin typeface="Verdana"/>
              <a:cs typeface="Arial"/>
            </a:endParaRPr>
          </a:p>
          <a:p>
            <a:pPr defTabSz="685783" fontAlgn="b">
              <a:defRPr sz="1400" b="0" i="0" u="none" strike="noStrike" kern="1200" spc="0" baseline="0">
                <a:solidFill>
                  <a:srgbClr val="3C3C3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900" kern="0" dirty="0">
                <a:solidFill>
                  <a:srgbClr val="EF6213"/>
                </a:solidFill>
                <a:latin typeface="Verdana"/>
                <a:cs typeface="Arial"/>
              </a:rPr>
              <a:t>+</a:t>
            </a:r>
            <a:r>
              <a:rPr lang="ru-RU" sz="900" kern="0" dirty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 Снижение </a:t>
            </a:r>
            <a:r>
              <a:rPr lang="ru-RU" sz="900" kern="0" dirty="0" err="1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дебалансов</a:t>
            </a:r>
            <a:r>
              <a:rPr lang="ru-RU" sz="900" kern="0" dirty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 на </a:t>
            </a:r>
            <a:r>
              <a:rPr lang="ru-RU" sz="900" kern="0" dirty="0" smtClean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нефтебаз</a:t>
            </a:r>
            <a:endParaRPr lang="ru-RU" sz="900" kern="0" dirty="0">
              <a:solidFill>
                <a:schemeClr val="bg1">
                  <a:lumMod val="95000"/>
                </a:schemeClr>
              </a:solidFill>
              <a:latin typeface="Verdana"/>
              <a:cs typeface="Arial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6345175" y="1282700"/>
            <a:ext cx="2776009" cy="508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83" fontAlgn="b">
              <a:defRPr sz="1400" b="0" i="0" u="none" strike="noStrike" kern="1200" spc="0" baseline="0">
                <a:solidFill>
                  <a:srgbClr val="3C3C3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900" b="1" kern="0" dirty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Отказ от ручных измерений и переход на </a:t>
            </a:r>
            <a:r>
              <a:rPr lang="ru-RU" sz="900" b="1" kern="0" dirty="0" smtClean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прием</a:t>
            </a:r>
            <a:r>
              <a:rPr lang="en-US" sz="900" b="1" kern="0" dirty="0" smtClean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 </a:t>
            </a:r>
            <a:r>
              <a:rPr lang="ru-RU" sz="900" b="1" kern="0" dirty="0" smtClean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по </a:t>
            </a:r>
            <a:r>
              <a:rPr lang="ru-RU" sz="900" b="1" kern="0" dirty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фактическим измерениям по узлам </a:t>
            </a:r>
            <a:r>
              <a:rPr lang="ru-RU" sz="900" b="1" kern="0" dirty="0" smtClean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учета</a:t>
            </a:r>
            <a:endParaRPr lang="ru-RU" sz="900" b="1" kern="0" dirty="0">
              <a:solidFill>
                <a:schemeClr val="bg1">
                  <a:lumMod val="95000"/>
                </a:schemeClr>
              </a:solidFill>
              <a:latin typeface="Verdana"/>
              <a:cs typeface="Arial"/>
            </a:endParaRPr>
          </a:p>
        </p:txBody>
      </p:sp>
      <p:sp>
        <p:nvSpPr>
          <p:cNvPr id="71" name="Нашивка 42"/>
          <p:cNvSpPr/>
          <p:nvPr/>
        </p:nvSpPr>
        <p:spPr>
          <a:xfrm rot="5400000">
            <a:off x="1281315" y="1109908"/>
            <a:ext cx="325619" cy="2529223"/>
          </a:xfrm>
          <a:prstGeom prst="chevron">
            <a:avLst/>
          </a:prstGeom>
          <a:solidFill>
            <a:schemeClr val="bg2">
              <a:lumMod val="75000"/>
            </a:schemeClr>
          </a:solidFill>
          <a:ln w="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0" y="681540"/>
            <a:ext cx="9144000" cy="0"/>
          </a:xfrm>
          <a:prstGeom prst="line">
            <a:avLst/>
          </a:prstGeom>
          <a:ln w="38100">
            <a:solidFill>
              <a:srgbClr val="EF62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4" name="Таблица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717177"/>
              </p:ext>
            </p:extLst>
          </p:nvPr>
        </p:nvGraphicFramePr>
        <p:xfrm>
          <a:off x="7031038" y="3176590"/>
          <a:ext cx="1873250" cy="144738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57743">
                  <a:extLst>
                    <a:ext uri="{9D8B030D-6E8A-4147-A177-3AD203B41FA5}">
                      <a16:colId xmlns:a16="http://schemas.microsoft.com/office/drawing/2014/main" val="1012676153"/>
                    </a:ext>
                  </a:extLst>
                </a:gridCol>
                <a:gridCol w="715507">
                  <a:extLst>
                    <a:ext uri="{9D8B030D-6E8A-4147-A177-3AD203B41FA5}">
                      <a16:colId xmlns:a16="http://schemas.microsoft.com/office/drawing/2014/main" val="2660800762"/>
                    </a:ext>
                  </a:extLst>
                </a:gridCol>
              </a:tblGrid>
              <a:tr h="2412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i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есы </a:t>
                      </a:r>
                      <a:r>
                        <a:rPr lang="ru-RU" sz="9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татические</a:t>
                      </a:r>
                      <a:endParaRPr lang="ru-RU" sz="9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±0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4432342"/>
                  </a:ext>
                </a:extLst>
              </a:tr>
              <a:tr h="2412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i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есы </a:t>
                      </a:r>
                      <a:r>
                        <a:rPr lang="ru-RU" sz="9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татические</a:t>
                      </a:r>
                      <a:endParaRPr lang="ru-RU" sz="9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±0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6396200"/>
                  </a:ext>
                </a:extLst>
              </a:tr>
              <a:tr h="2412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i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асчетным </a:t>
                      </a:r>
                      <a:r>
                        <a:rPr lang="ru-RU" sz="9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утем</a:t>
                      </a:r>
                      <a:endParaRPr lang="ru-RU" sz="9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±0,6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6720474"/>
                  </a:ext>
                </a:extLst>
              </a:tr>
              <a:tr h="2412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i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асчетным </a:t>
                      </a:r>
                      <a:r>
                        <a:rPr lang="ru-RU" sz="9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утем</a:t>
                      </a:r>
                      <a:endParaRPr lang="ru-RU" sz="9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±0,6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97256346"/>
                  </a:ext>
                </a:extLst>
              </a:tr>
              <a:tr h="2412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i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есы </a:t>
                      </a:r>
                      <a:r>
                        <a:rPr lang="ru-RU" sz="9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татические</a:t>
                      </a:r>
                      <a:endParaRPr lang="ru-RU" sz="9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±0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60765"/>
                  </a:ext>
                </a:extLst>
              </a:tr>
              <a:tr h="2412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i="1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есы </a:t>
                      </a:r>
                      <a:r>
                        <a:rPr lang="ru-RU" sz="9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татические</a:t>
                      </a:r>
                      <a:endParaRPr lang="ru-RU" sz="9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±0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56157996"/>
                  </a:ext>
                </a:extLst>
              </a:tr>
            </a:tbl>
          </a:graphicData>
        </a:graphic>
      </p:graphicFrame>
      <p:graphicFrame>
        <p:nvGraphicFramePr>
          <p:cNvPr id="135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50031960"/>
              </p:ext>
            </p:extLst>
          </p:nvPr>
        </p:nvGraphicFramePr>
        <p:xfrm>
          <a:off x="1930400" y="3078163"/>
          <a:ext cx="2484438" cy="162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 useBgFill="1">
        <p:nvSpPr>
          <p:cNvPr id="16" name="Полилиния 15"/>
          <p:cNvSpPr/>
          <p:nvPr>
            <p:custDataLst>
              <p:tags r:id="rId5"/>
            </p:custDataLst>
          </p:nvPr>
        </p:nvSpPr>
        <p:spPr bwMode="auto">
          <a:xfrm>
            <a:off x="3413125" y="3176588"/>
            <a:ext cx="114300" cy="212726"/>
          </a:xfrm>
          <a:custGeom>
            <a:avLst/>
            <a:gdLst/>
            <a:ahLst/>
            <a:cxnLst/>
            <a:rect l="0" t="0" r="0" b="0"/>
            <a:pathLst>
              <a:path w="114301" h="212726">
                <a:moveTo>
                  <a:pt x="114300" y="0"/>
                </a:moveTo>
                <a:lnTo>
                  <a:pt x="57150" y="212725"/>
                </a:lnTo>
                <a:lnTo>
                  <a:pt x="0" y="212725"/>
                </a:lnTo>
                <a:lnTo>
                  <a:pt x="57150" y="0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5" name="Полилиния 14"/>
          <p:cNvSpPr/>
          <p:nvPr>
            <p:custDataLst>
              <p:tags r:id="rId6"/>
            </p:custDataLst>
          </p:nvPr>
        </p:nvSpPr>
        <p:spPr bwMode="auto">
          <a:xfrm>
            <a:off x="3470275" y="3176588"/>
            <a:ext cx="57150" cy="212726"/>
          </a:xfrm>
          <a:custGeom>
            <a:avLst/>
            <a:gdLst/>
            <a:ahLst/>
            <a:cxnLst/>
            <a:rect l="0" t="0" r="0" b="0"/>
            <a:pathLst>
              <a:path w="57151" h="212726">
                <a:moveTo>
                  <a:pt x="57150" y="0"/>
                </a:moveTo>
                <a:lnTo>
                  <a:pt x="0" y="2127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олилиния 13"/>
          <p:cNvSpPr/>
          <p:nvPr>
            <p:custDataLst>
              <p:tags r:id="rId7"/>
            </p:custDataLst>
          </p:nvPr>
        </p:nvSpPr>
        <p:spPr bwMode="auto">
          <a:xfrm>
            <a:off x="3413125" y="3176588"/>
            <a:ext cx="57150" cy="212726"/>
          </a:xfrm>
          <a:custGeom>
            <a:avLst/>
            <a:gdLst/>
            <a:ahLst/>
            <a:cxnLst/>
            <a:rect l="0" t="0" r="0" b="0"/>
            <a:pathLst>
              <a:path w="57151" h="212726">
                <a:moveTo>
                  <a:pt x="57150" y="0"/>
                </a:moveTo>
                <a:lnTo>
                  <a:pt x="0" y="2127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168525" y="3457576"/>
            <a:ext cx="3952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F7AD3FB-445F-4EEA-B79E-FD47BFB04F15}" type="datetime'''''''''''''КИ''''''''''''''''Н''''''''''''ЕФ'''''''''''''''''">
              <a:rPr lang="ru-RU" altLang="en-US" sz="900" b="0" smtClean="0">
                <a:solidFill>
                  <a:srgbClr val="C0C0C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КИНЕФ</a:t>
            </a:fld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82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227263" y="3214689"/>
            <a:ext cx="336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BD36346-7F9F-4234-A3CD-1845380C90C4}" type="datetime'''''''''Я''НО''С'''''''''''''">
              <a:rPr lang="ru-RU" altLang="en-US" sz="900" b="0" smtClean="0">
                <a:solidFill>
                  <a:srgbClr val="C0C0C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ЯНОС</a:t>
            </a:fld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84" name="Текст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235200" y="3702051"/>
            <a:ext cx="3286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AA32CDE-1E71-4678-BAA0-AD878971C5AE}" type="datetime'М''''''''''''''''''''Н''''''''''''''''''П''''''''''''''З'">
              <a:rPr lang="ru-RU" altLang="en-US" sz="900" b="0" smtClean="0">
                <a:solidFill>
                  <a:srgbClr val="C0C0C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МНПЗ</a:t>
            </a:fld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81" name="Текст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241550" y="3946526"/>
            <a:ext cx="3222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418CECB-AE49-4BBD-A336-F379C0FC5A6D}" type="datetime'''''''''''О''Н''''ПЗ'''''''''''''''''''''''''''''''''''''">
              <a:rPr lang="ru-RU" altLang="en-US" sz="900" b="0" smtClean="0">
                <a:solidFill>
                  <a:srgbClr val="C0C0C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ОНПЗ</a:t>
            </a:fld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79" name="Текст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227263" y="4189414"/>
            <a:ext cx="3365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9539D5C-0352-45D6-86E5-2468A77FF2E3}" type="datetime'Н''''''''''''''Н''''''''''О''''''''''''''С'''''''''''''''''">
              <a:rPr lang="ru-RU" altLang="en-US" sz="900" b="0" smtClean="0">
                <a:solidFill>
                  <a:srgbClr val="C0C0C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ННОС</a:t>
            </a:fld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85" name="Текст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758950" y="4433889"/>
            <a:ext cx="804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068EC63-FADB-408D-A644-5B59F0C5ADFC}" type="datetime'''''''У''''''ф''а''Не''''''''ф''т''''е''''''Хи''''''''''м'">
              <a:rPr lang="ru-RU" altLang="en-US" sz="900" b="0" smtClean="0">
                <a:solidFill>
                  <a:srgbClr val="C0C0C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УфаНефтеХим</a:t>
            </a:fld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86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729038" y="3214689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968FDE1-46C0-4042-BAA0-A6998F3912AD}" type="datetime'''''9''''''0 35''''''''''''''5'''''''">
              <a:rPr lang="ru-RU" altLang="en-US" sz="900" b="0" smtClean="0">
                <a:solidFill>
                  <a:srgbClr val="C0C0C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90 355</a:t>
            </a:fld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87" name="Текст 85"/>
          <p:cNvSpPr txBox="1">
            <a:spLocks/>
          </p:cNvSpPr>
          <p:nvPr/>
        </p:nvSpPr>
        <p:spPr>
          <a:xfrm>
            <a:off x="1619250" y="2787774"/>
            <a:ext cx="2668588" cy="229553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rPr>
              <a:t>Объем поставленного нефтепродукта в разрезе поставщиков, </a:t>
            </a:r>
            <a:r>
              <a:rPr lang="ru-RU" sz="900" i="1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тонн</a:t>
            </a:r>
          </a:p>
        </p:txBody>
      </p:sp>
      <p:sp>
        <p:nvSpPr>
          <p:cNvPr id="88" name="Текст 85"/>
          <p:cNvSpPr txBox="1">
            <a:spLocks/>
          </p:cNvSpPr>
          <p:nvPr/>
        </p:nvSpPr>
        <p:spPr>
          <a:xfrm>
            <a:off x="4157663" y="2787774"/>
            <a:ext cx="1630363" cy="229553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>
              <a:spcBef>
                <a:spcPts val="600"/>
              </a:spcBef>
              <a:defRPr sz="1400" b="0" i="0" u="none" strike="noStrike" kern="1200" spc="0" baseline="0">
                <a:solidFill>
                  <a:srgbClr val="3C3C3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Фактический дебаланс по </a:t>
            </a: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приему</a:t>
            </a: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НП</a:t>
            </a: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,</a:t>
            </a: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ru-RU" sz="900" i="1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тонн</a:t>
            </a:r>
          </a:p>
        </p:txBody>
      </p:sp>
      <p:graphicFrame>
        <p:nvGraphicFramePr>
          <p:cNvPr id="157" name="Chart 3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35787902"/>
              </p:ext>
            </p:extLst>
          </p:nvPr>
        </p:nvGraphicFramePr>
        <p:xfrm>
          <a:off x="4278313" y="3078163"/>
          <a:ext cx="1165225" cy="1628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 useBgFill="1">
        <p:nvSpPr>
          <p:cNvPr id="7" name="Полилиния 6"/>
          <p:cNvSpPr/>
          <p:nvPr>
            <p:custDataLst>
              <p:tags r:id="rId16"/>
            </p:custDataLst>
          </p:nvPr>
        </p:nvSpPr>
        <p:spPr bwMode="auto">
          <a:xfrm>
            <a:off x="5184775" y="3424238"/>
            <a:ext cx="112714" cy="204788"/>
          </a:xfrm>
          <a:custGeom>
            <a:avLst/>
            <a:gdLst/>
            <a:ahLst/>
            <a:cxnLst/>
            <a:rect l="0" t="0" r="0" b="0"/>
            <a:pathLst>
              <a:path w="112714" h="204788">
                <a:moveTo>
                  <a:pt x="112713" y="0"/>
                </a:moveTo>
                <a:lnTo>
                  <a:pt x="57150" y="204787"/>
                </a:lnTo>
                <a:lnTo>
                  <a:pt x="0" y="204787"/>
                </a:lnTo>
                <a:lnTo>
                  <a:pt x="55563" y="0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 useBgFill="1">
        <p:nvSpPr>
          <p:cNvPr id="10" name="Полилиния 9"/>
          <p:cNvSpPr/>
          <p:nvPr>
            <p:custDataLst>
              <p:tags r:id="rId17"/>
            </p:custDataLst>
          </p:nvPr>
        </p:nvSpPr>
        <p:spPr bwMode="auto">
          <a:xfrm>
            <a:off x="5184775" y="3667125"/>
            <a:ext cx="112714" cy="206376"/>
          </a:xfrm>
          <a:custGeom>
            <a:avLst/>
            <a:gdLst/>
            <a:ahLst/>
            <a:cxnLst/>
            <a:rect l="0" t="0" r="0" b="0"/>
            <a:pathLst>
              <a:path w="112714" h="206376">
                <a:moveTo>
                  <a:pt x="112713" y="0"/>
                </a:moveTo>
                <a:lnTo>
                  <a:pt x="57150" y="206375"/>
                </a:lnTo>
                <a:lnTo>
                  <a:pt x="0" y="206375"/>
                </a:lnTo>
                <a:lnTo>
                  <a:pt x="55563" y="0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3" name="Полилиния 2"/>
          <p:cNvSpPr/>
          <p:nvPr>
            <p:custDataLst>
              <p:tags r:id="rId18"/>
            </p:custDataLst>
          </p:nvPr>
        </p:nvSpPr>
        <p:spPr bwMode="auto">
          <a:xfrm>
            <a:off x="5184775" y="3424238"/>
            <a:ext cx="55564" cy="204788"/>
          </a:xfrm>
          <a:custGeom>
            <a:avLst/>
            <a:gdLst/>
            <a:ahLst/>
            <a:cxnLst/>
            <a:rect l="0" t="0" r="0" b="0"/>
            <a:pathLst>
              <a:path w="55564" h="204788">
                <a:moveTo>
                  <a:pt x="55563" y="0"/>
                </a:moveTo>
                <a:lnTo>
                  <a:pt x="0" y="20478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олилиния 3"/>
          <p:cNvSpPr/>
          <p:nvPr>
            <p:custDataLst>
              <p:tags r:id="rId19"/>
            </p:custDataLst>
          </p:nvPr>
        </p:nvSpPr>
        <p:spPr bwMode="auto">
          <a:xfrm>
            <a:off x="5241925" y="3424238"/>
            <a:ext cx="55564" cy="204788"/>
          </a:xfrm>
          <a:custGeom>
            <a:avLst/>
            <a:gdLst/>
            <a:ahLst/>
            <a:cxnLst/>
            <a:rect l="0" t="0" r="0" b="0"/>
            <a:pathLst>
              <a:path w="55564" h="204788">
                <a:moveTo>
                  <a:pt x="55563" y="0"/>
                </a:moveTo>
                <a:lnTo>
                  <a:pt x="0" y="20478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олилиния 7"/>
          <p:cNvSpPr/>
          <p:nvPr>
            <p:custDataLst>
              <p:tags r:id="rId20"/>
            </p:custDataLst>
          </p:nvPr>
        </p:nvSpPr>
        <p:spPr bwMode="auto">
          <a:xfrm>
            <a:off x="5184775" y="3667125"/>
            <a:ext cx="55564" cy="206376"/>
          </a:xfrm>
          <a:custGeom>
            <a:avLst/>
            <a:gdLst/>
            <a:ahLst/>
            <a:cxnLst/>
            <a:rect l="0" t="0" r="0" b="0"/>
            <a:pathLst>
              <a:path w="55564" h="206376">
                <a:moveTo>
                  <a:pt x="55563" y="0"/>
                </a:moveTo>
                <a:lnTo>
                  <a:pt x="0" y="20637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лилиния 8"/>
          <p:cNvSpPr/>
          <p:nvPr>
            <p:custDataLst>
              <p:tags r:id="rId21"/>
            </p:custDataLst>
          </p:nvPr>
        </p:nvSpPr>
        <p:spPr bwMode="auto">
          <a:xfrm>
            <a:off x="5241925" y="3667125"/>
            <a:ext cx="55564" cy="206376"/>
          </a:xfrm>
          <a:custGeom>
            <a:avLst/>
            <a:gdLst/>
            <a:ahLst/>
            <a:cxnLst/>
            <a:rect l="0" t="0" r="0" b="0"/>
            <a:pathLst>
              <a:path w="55564" h="206376">
                <a:moveTo>
                  <a:pt x="55563" y="0"/>
                </a:moveTo>
                <a:lnTo>
                  <a:pt x="0" y="20637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4" name="Текст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183188" y="3214689"/>
            <a:ext cx="25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00" b="0" dirty="0" smtClean="0">
                <a:solidFill>
                  <a:srgbClr val="C0C0C0"/>
                </a:solidFill>
                <a:sym typeface="+mn-lt"/>
              </a:rPr>
              <a:t>36,5</a:t>
            </a:r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96" name="Текст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386388" y="3457576"/>
            <a:ext cx="158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00" b="0" dirty="0" smtClean="0">
                <a:solidFill>
                  <a:srgbClr val="C0C0C0"/>
                </a:solidFill>
              </a:rPr>
              <a:t>51</a:t>
            </a:r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97" name="Текст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346700" y="3702051"/>
            <a:ext cx="158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900" b="0" dirty="0" smtClean="0">
                <a:solidFill>
                  <a:srgbClr val="C0C0C0"/>
                </a:solidFill>
              </a:rPr>
              <a:t>49</a:t>
            </a:r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171" name="Текст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106863" y="3946526"/>
            <a:ext cx="228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900" b="0" dirty="0" smtClean="0">
                <a:solidFill>
                  <a:srgbClr val="C0C0C0"/>
                </a:solidFill>
                <a:sym typeface="+mn-lt"/>
              </a:rPr>
              <a:t>-4,9</a:t>
            </a:r>
            <a:endParaRPr lang="ru-RU" sz="900" b="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131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518025" y="4189414"/>
            <a:ext cx="190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900" b="0" dirty="0">
                <a:solidFill>
                  <a:srgbClr val="C0C0C0"/>
                </a:solidFill>
                <a:sym typeface="+mn-lt"/>
              </a:rPr>
              <a:t>1,8</a:t>
            </a:r>
            <a:endParaRPr lang="ru-RU" sz="900" b="0" dirty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146" name="Текст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176713" y="4433889"/>
            <a:ext cx="228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900" b="0" dirty="0">
                <a:solidFill>
                  <a:srgbClr val="C0C0C0"/>
                </a:solidFill>
                <a:sym typeface="+mn-lt"/>
              </a:rPr>
              <a:t>-1,4</a:t>
            </a:r>
            <a:endParaRPr lang="ru-RU" sz="900" b="0" dirty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98" name="Текст 85"/>
          <p:cNvSpPr txBox="1">
            <a:spLocks/>
          </p:cNvSpPr>
          <p:nvPr/>
        </p:nvSpPr>
        <p:spPr>
          <a:xfrm>
            <a:off x="6965950" y="2787774"/>
            <a:ext cx="2270125" cy="229553"/>
          </a:xfrm>
          <a:prstGeom prst="rect">
            <a:avLst/>
          </a:prstGeom>
          <a:noFill/>
        </p:spPr>
        <p:txBody>
          <a:bodyPr anchor="t"/>
          <a:lstStyle>
            <a:lvl1pPr marL="0" indent="0" algn="l" defTabSz="1007943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ru-RU" sz="2205" b="0" kern="1200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99489" marR="0" indent="-199489" algn="l" defTabSz="1007943" rtl="0" eaLnBrk="1" fontAlgn="auto" latinLnBrk="0" hangingPunct="1">
              <a:lnSpc>
                <a:spcPct val="100000"/>
              </a:lnSpc>
              <a:spcBef>
                <a:spcPts val="1323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6729" indent="-187240" algn="l" defTabSz="1007943" rtl="0" eaLnBrk="1" latinLnBrk="0" hangingPunct="1">
              <a:spcBef>
                <a:spcPts val="661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 fontAlgn="b">
              <a:defRPr sz="1400" b="0" i="0" u="none" strike="noStrike" kern="1200" spc="0" baseline="0">
                <a:solidFill>
                  <a:srgbClr val="3C3C3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900" b="1" dirty="0" smtClean="0">
                <a:solidFill>
                  <a:schemeClr val="bg1">
                    <a:lumMod val="95000"/>
                  </a:schemeClr>
                </a:solidFill>
              </a:rPr>
              <a:t>Погрешность измерений при отгрузке</a:t>
            </a:r>
            <a:r>
              <a:rPr lang="en-US" sz="900" b="1" dirty="0" smtClean="0">
                <a:solidFill>
                  <a:schemeClr val="bg1">
                    <a:lumMod val="95000"/>
                  </a:schemeClr>
                </a:solidFill>
              </a:rPr>
              <a:t>, </a:t>
            </a:r>
            <a:r>
              <a:rPr lang="en-US" sz="900" i="1" dirty="0" smtClean="0">
                <a:solidFill>
                  <a:schemeClr val="bg1">
                    <a:lumMod val="65000"/>
                  </a:schemeClr>
                </a:solidFill>
              </a:rPr>
              <a:t>%</a:t>
            </a:r>
            <a:endParaRPr lang="ru-RU" sz="900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9" name="Овал 98"/>
          <p:cNvSpPr/>
          <p:nvPr/>
        </p:nvSpPr>
        <p:spPr>
          <a:xfrm>
            <a:off x="6083300" y="3206750"/>
            <a:ext cx="468313" cy="182564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0" name="Овал 99"/>
          <p:cNvSpPr/>
          <p:nvPr/>
        </p:nvSpPr>
        <p:spPr>
          <a:xfrm>
            <a:off x="6083300" y="3434556"/>
            <a:ext cx="468313" cy="182564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1" name="Овал 100"/>
          <p:cNvSpPr/>
          <p:nvPr/>
        </p:nvSpPr>
        <p:spPr>
          <a:xfrm>
            <a:off x="6083300" y="3707444"/>
            <a:ext cx="468313" cy="182564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2" name="Овал 101"/>
          <p:cNvSpPr/>
          <p:nvPr/>
        </p:nvSpPr>
        <p:spPr>
          <a:xfrm>
            <a:off x="6083300" y="3931187"/>
            <a:ext cx="468313" cy="182564"/>
          </a:xfrm>
          <a:prstGeom prst="ellipse">
            <a:avLst/>
          </a:prstGeom>
          <a:solidFill>
            <a:srgbClr val="EF621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3" name="Овал 102"/>
          <p:cNvSpPr/>
          <p:nvPr/>
        </p:nvSpPr>
        <p:spPr>
          <a:xfrm>
            <a:off x="6083300" y="4162944"/>
            <a:ext cx="468313" cy="182564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4" name="Овал 103"/>
          <p:cNvSpPr/>
          <p:nvPr/>
        </p:nvSpPr>
        <p:spPr>
          <a:xfrm>
            <a:off x="6083300" y="4395786"/>
            <a:ext cx="468313" cy="182564"/>
          </a:xfrm>
          <a:prstGeom prst="ellipse">
            <a:avLst/>
          </a:prstGeom>
          <a:solidFill>
            <a:srgbClr val="EF621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083300" y="3433505"/>
            <a:ext cx="46831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~</a:t>
            </a:r>
            <a:r>
              <a:rPr lang="ru-RU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0,13</a:t>
            </a:r>
            <a:endParaRPr lang="ru-RU" sz="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6026150" y="4155926"/>
            <a:ext cx="58102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~</a:t>
            </a:r>
            <a:r>
              <a:rPr lang="ru-RU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0,18</a:t>
            </a:r>
            <a:endParaRPr lang="ru-RU" sz="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7" name="Овал 106"/>
          <p:cNvSpPr/>
          <p:nvPr/>
        </p:nvSpPr>
        <p:spPr>
          <a:xfrm>
            <a:off x="6083300" y="3694148"/>
            <a:ext cx="468313" cy="182564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6083300" y="3693097"/>
            <a:ext cx="46831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~</a:t>
            </a:r>
            <a:r>
              <a:rPr lang="ru-RU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0,15</a:t>
            </a:r>
            <a:endParaRPr lang="ru-RU" sz="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6083300" y="3206765"/>
            <a:ext cx="46831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~</a:t>
            </a:r>
            <a:r>
              <a:rPr lang="ru-RU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0,02</a:t>
            </a:r>
            <a:endParaRPr lang="ru-RU" sz="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6083300" y="3935256"/>
            <a:ext cx="46831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~</a:t>
            </a:r>
            <a:r>
              <a:rPr lang="ru-RU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0,15</a:t>
            </a:r>
            <a:endParaRPr lang="ru-RU" sz="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6083300" y="4398995"/>
            <a:ext cx="468313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~</a:t>
            </a:r>
            <a:r>
              <a:rPr lang="ru-RU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0,</a:t>
            </a:r>
            <a:r>
              <a:rPr lang="en-US" sz="600" dirty="0" smtClean="0">
                <a:latin typeface="Verdana" panose="020B0604030504040204" pitchFamily="34" charset="0"/>
                <a:ea typeface="Verdana" panose="020B0604030504040204" pitchFamily="34" charset="0"/>
              </a:rPr>
              <a:t>15</a:t>
            </a:r>
            <a:endParaRPr lang="ru-RU" sz="6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5629275" y="2787774"/>
            <a:ext cx="14097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92D050"/>
                </a:solidFill>
              </a:rPr>
              <a:t>Перегруз</a:t>
            </a:r>
            <a:r>
              <a:rPr lang="en-US" sz="900" b="1" dirty="0" smtClean="0">
                <a:solidFill>
                  <a:srgbClr val="92D050"/>
                </a:solidFill>
              </a:rPr>
              <a:t>/</a:t>
            </a:r>
          </a:p>
          <a:p>
            <a:pPr algn="ctr"/>
            <a:r>
              <a:rPr lang="ru-RU" sz="900" b="1" dirty="0" smtClean="0">
                <a:solidFill>
                  <a:srgbClr val="EF6213"/>
                </a:solidFill>
              </a:rPr>
              <a:t>недогруз,</a:t>
            </a:r>
            <a:r>
              <a:rPr lang="en-US" sz="900" b="1" dirty="0" smtClean="0">
                <a:solidFill>
                  <a:srgbClr val="EF6213"/>
                </a:solidFill>
              </a:rPr>
              <a:t> </a:t>
            </a:r>
            <a:r>
              <a:rPr lang="ru-RU" sz="900" i="1" dirty="0" smtClean="0">
                <a:solidFill>
                  <a:schemeClr val="bg1">
                    <a:lumMod val="65000"/>
                  </a:schemeClr>
                </a:solidFill>
              </a:rPr>
              <a:t>т/вагон</a:t>
            </a:r>
            <a:endParaRPr lang="ru-RU" sz="900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2953544" y="1116013"/>
            <a:ext cx="3273653" cy="2301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685783" fontAlgn="b">
              <a:defRPr sz="1400" b="0" i="0" u="none" strike="noStrike" kern="1200" spc="0" baseline="0">
                <a:solidFill>
                  <a:srgbClr val="3C3C3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Фактический </a:t>
            </a:r>
            <a:r>
              <a:rPr lang="ru-RU" sz="900" b="1" dirty="0" err="1">
                <a:solidFill>
                  <a:schemeClr val="bg1">
                    <a:lumMod val="95000"/>
                  </a:schemeClr>
                </a:solidFill>
              </a:rPr>
              <a:t>дебаланс</a:t>
            </a:r>
            <a:r>
              <a:rPr lang="ru-RU" sz="900" b="1" dirty="0">
                <a:solidFill>
                  <a:schemeClr val="bg1">
                    <a:lumMod val="95000"/>
                  </a:schemeClr>
                </a:solidFill>
              </a:rPr>
              <a:t> приема нефтепродуктов, </a:t>
            </a:r>
            <a:r>
              <a:rPr lang="ru-RU" sz="900" i="1" dirty="0">
                <a:solidFill>
                  <a:schemeClr val="bg1">
                    <a:lumMod val="65000"/>
                  </a:schemeClr>
                </a:solidFill>
              </a:rPr>
              <a:t>тонн</a:t>
            </a:r>
          </a:p>
        </p:txBody>
      </p:sp>
      <p:sp>
        <p:nvSpPr>
          <p:cNvPr id="114" name="Rectangle 141"/>
          <p:cNvSpPr/>
          <p:nvPr/>
        </p:nvSpPr>
        <p:spPr>
          <a:xfrm>
            <a:off x="2998346" y="879475"/>
            <a:ext cx="4345962" cy="236538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</p:spPr>
        <p:txBody>
          <a:bodyPr lIns="26200" tIns="26200" rIns="0" bIns="26200" rtlCol="0" anchor="ctr"/>
          <a:lstStyle/>
          <a:p>
            <a:pPr defTabSz="736001">
              <a:defRPr/>
            </a:pPr>
            <a:r>
              <a:rPr lang="ru-RU" sz="1000" b="1" kern="0" dirty="0">
                <a:solidFill>
                  <a:srgbClr val="EF6213"/>
                </a:solidFill>
                <a:latin typeface="Verdana"/>
                <a:cs typeface="Arial"/>
              </a:rPr>
              <a:t>Переход от ручных измерений к автоматическому учету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3815916" y="2322897"/>
            <a:ext cx="574675" cy="206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50" i="1" kern="0" dirty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0,25%</a:t>
            </a:r>
            <a:endParaRPr lang="ru-RU" sz="750" i="1" dirty="0">
              <a:solidFill>
                <a:schemeClr val="bg1">
                  <a:lumMod val="9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5055753" y="2319722"/>
            <a:ext cx="750888" cy="2079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50" i="1" kern="0" dirty="0">
                <a:solidFill>
                  <a:schemeClr val="bg1">
                    <a:lumMod val="95000"/>
                  </a:schemeClr>
                </a:solidFill>
                <a:latin typeface="Verdana"/>
                <a:cs typeface="Arial"/>
              </a:rPr>
              <a:t>0,5-0,65%</a:t>
            </a:r>
            <a:endParaRPr lang="ru-RU" sz="750" i="1" dirty="0">
              <a:solidFill>
                <a:schemeClr val="bg1">
                  <a:lumMod val="9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53" name="Chart 3"/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052468794"/>
              </p:ext>
            </p:extLst>
          </p:nvPr>
        </p:nvGraphicFramePr>
        <p:xfrm>
          <a:off x="3321050" y="1681163"/>
          <a:ext cx="2801938" cy="590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cxnSp>
        <p:nvCxnSpPr>
          <p:cNvPr id="119" name="Прямая соединительная линия 118"/>
          <p:cNvCxnSpPr/>
          <p:nvPr>
            <p:custDataLst>
              <p:tags r:id="rId29"/>
            </p:custDataLst>
          </p:nvPr>
        </p:nvCxnSpPr>
        <p:spPr bwMode="gray">
          <a:xfrm>
            <a:off x="4075113" y="1512888"/>
            <a:ext cx="1290638" cy="0"/>
          </a:xfrm>
          <a:prstGeom prst="line">
            <a:avLst/>
          </a:prstGeom>
          <a:ln w="127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>
            <p:custDataLst>
              <p:tags r:id="rId30"/>
            </p:custDataLst>
          </p:nvPr>
        </p:nvCxnSpPr>
        <p:spPr bwMode="gray">
          <a:xfrm>
            <a:off x="5365750" y="1512888"/>
            <a:ext cx="0" cy="152400"/>
          </a:xfrm>
          <a:prstGeom prst="line">
            <a:avLst/>
          </a:prstGeom>
          <a:ln w="12700" cap="flat" cmpd="sng" algn="ctr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>
            <p:custDataLst>
              <p:tags r:id="rId31"/>
            </p:custDataLst>
          </p:nvPr>
        </p:nvCxnSpPr>
        <p:spPr bwMode="gray">
          <a:xfrm flipV="1">
            <a:off x="4075113" y="1512888"/>
            <a:ext cx="0" cy="152400"/>
          </a:xfrm>
          <a:prstGeom prst="line">
            <a:avLst/>
          </a:prstGeom>
          <a:ln w="12700" cap="flat" cmpd="sng" algn="ctr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Текст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760788" y="2227264"/>
            <a:ext cx="6302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ADE2D33-D43D-4314-B13B-9A577D6DC40B}" type="datetime'Уз''''''е''л'''' У''''''че''''т''''''''''''''''''''''''''''а'">
              <a:rPr lang="ru-RU" altLang="en-US" sz="900" smtClean="0">
                <a:solidFill>
                  <a:srgbClr val="C0C0C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Узел Учета</a:t>
            </a:fld>
            <a:endParaRPr lang="ru-RU" sz="90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122" name="Текст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248275" y="2227264"/>
            <a:ext cx="2349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36F07D-8C31-45C9-AA0D-24C096913DDE}" type="datetime'''''''''''Т''''''''''''''''''''''''''''''''Т''''''Н'">
              <a:rPr lang="ru-RU" altLang="en-US" sz="900" smtClean="0">
                <a:solidFill>
                  <a:srgbClr val="C0C0C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ТТН</a:t>
            </a:fld>
            <a:endParaRPr lang="ru-RU" sz="90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121" name="Текст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852863" y="1703389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rgbClr val="C0C0C0"/>
                </a:solidFill>
                <a:sym typeface="+mn-lt"/>
              </a:rPr>
              <a:t>133 856</a:t>
            </a:r>
            <a:endParaRPr lang="ru-RU" sz="900" dirty="0" smtClean="0">
              <a:solidFill>
                <a:srgbClr val="C0C0C0"/>
              </a:solidFill>
              <a:sym typeface="+mn-lt"/>
            </a:endParaRPr>
          </a:p>
        </p:txBody>
      </p:sp>
      <p:sp>
        <p:nvSpPr>
          <p:cNvPr id="124" name="Текст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541838" y="1404938"/>
            <a:ext cx="357188" cy="215900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C0C0C0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smtClean="0">
                <a:sym typeface="+mn-lt"/>
              </a:rPr>
              <a:t>-132</a:t>
            </a:r>
            <a:endParaRPr lang="ru-RU" sz="1000" dirty="0" smtClean="0">
              <a:sym typeface="+mn-lt"/>
            </a:endParaRPr>
          </a:p>
        </p:txBody>
      </p:sp>
      <p:graphicFrame>
        <p:nvGraphicFramePr>
          <p:cNvPr id="145" name="Таблица 1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349997"/>
              </p:ext>
            </p:extLst>
          </p:nvPr>
        </p:nvGraphicFramePr>
        <p:xfrm>
          <a:off x="143508" y="3176590"/>
          <a:ext cx="1411460" cy="144738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411460">
                  <a:extLst>
                    <a:ext uri="{9D8B030D-6E8A-4147-A177-3AD203B41FA5}">
                      <a16:colId xmlns:a16="http://schemas.microsoft.com/office/drawing/2014/main" val="344606213"/>
                    </a:ext>
                  </a:extLst>
                </a:gridCol>
              </a:tblGrid>
              <a:tr h="241231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АО "НГК "</a:t>
                      </a:r>
                      <a:r>
                        <a:rPr lang="ru-RU" sz="900" i="0" u="none" strike="noStrike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лавнефть</a:t>
                      </a:r>
                      <a:r>
                        <a:rPr lang="ru-RU" sz="90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" </a:t>
                      </a:r>
                      <a:endParaRPr lang="ru-RU" sz="900" b="0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84432342"/>
                  </a:ext>
                </a:extLst>
              </a:tr>
              <a:tr h="241231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АО "Сургутнефтегаз"</a:t>
                      </a:r>
                      <a:endParaRPr lang="ru-RU" sz="900" b="0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16396200"/>
                  </a:ext>
                </a:extLst>
              </a:tr>
              <a:tr h="48246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АО "Газпром нефть</a:t>
                      </a:r>
                      <a:r>
                        <a:rPr lang="ru-RU" sz="90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"</a:t>
                      </a:r>
                      <a:endParaRPr lang="ru-RU" sz="900" b="0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6720474"/>
                  </a:ext>
                </a:extLst>
              </a:tr>
              <a:tr h="241231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АО «ЛУКОЙЛ»</a:t>
                      </a:r>
                      <a:endParaRPr lang="ru-RU" sz="900" b="0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60765"/>
                  </a:ext>
                </a:extLst>
              </a:tr>
              <a:tr h="241231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АО "АНК "</a:t>
                      </a:r>
                      <a:r>
                        <a:rPr lang="ru-RU" sz="900" b="0" i="0" u="none" strike="noStrike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Башнефть</a:t>
                      </a:r>
                      <a:r>
                        <a:rPr lang="ru-RU" sz="9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"</a:t>
                      </a:r>
                      <a:endParaRPr lang="ru-RU" sz="900" b="0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56157996"/>
                  </a:ext>
                </a:extLst>
              </a:tr>
            </a:tbl>
          </a:graphicData>
        </a:graphic>
      </p:graphicFrame>
      <p:grpSp>
        <p:nvGrpSpPr>
          <p:cNvPr id="126" name="Группа 125"/>
          <p:cNvGrpSpPr/>
          <p:nvPr/>
        </p:nvGrpSpPr>
        <p:grpSpPr>
          <a:xfrm>
            <a:off x="172932" y="3399841"/>
            <a:ext cx="8611536" cy="972110"/>
            <a:chOff x="349061" y="2354425"/>
            <a:chExt cx="8651431" cy="972110"/>
          </a:xfrm>
        </p:grpSpPr>
        <p:cxnSp>
          <p:nvCxnSpPr>
            <p:cNvPr id="127" name="Прямая соединительная линия 126"/>
            <p:cNvCxnSpPr/>
            <p:nvPr/>
          </p:nvCxnSpPr>
          <p:spPr>
            <a:xfrm flipV="1">
              <a:off x="349061" y="2606453"/>
              <a:ext cx="8651431" cy="1"/>
            </a:xfrm>
            <a:prstGeom prst="line">
              <a:avLst/>
            </a:prstGeom>
            <a:ln w="9525"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Прямая соединительная линия 127"/>
            <p:cNvCxnSpPr/>
            <p:nvPr/>
          </p:nvCxnSpPr>
          <p:spPr>
            <a:xfrm flipV="1">
              <a:off x="349061" y="2354425"/>
              <a:ext cx="8651431" cy="1"/>
            </a:xfrm>
            <a:prstGeom prst="line">
              <a:avLst/>
            </a:prstGeom>
            <a:ln w="9525"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Прямая соединительная линия 128"/>
            <p:cNvCxnSpPr/>
            <p:nvPr/>
          </p:nvCxnSpPr>
          <p:spPr>
            <a:xfrm flipV="1">
              <a:off x="349061" y="3326534"/>
              <a:ext cx="8651431" cy="1"/>
            </a:xfrm>
            <a:prstGeom prst="line">
              <a:avLst/>
            </a:prstGeom>
            <a:ln w="9525"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Прямая соединительная линия 129"/>
            <p:cNvCxnSpPr/>
            <p:nvPr/>
          </p:nvCxnSpPr>
          <p:spPr>
            <a:xfrm flipV="1">
              <a:off x="349061" y="3084576"/>
              <a:ext cx="8651431" cy="1"/>
            </a:xfrm>
            <a:prstGeom prst="line">
              <a:avLst/>
            </a:prstGeom>
            <a:ln w="9525">
              <a:solidFill>
                <a:schemeClr val="bg2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99971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OR" val="powerlexis_panel_for_gpn"/>
  <p:tag name="TYPE" val="plazma"/>
  <p:tag name="LANG" val="rus"/>
  <p:tag name="THINKCELLPRESENTATIONDONOTDELETE" val="&lt;?xml version=&quot;1.0&quot; encoding=&quot;UTF-16&quot; standalone=&quot;yes&quot;?&gt;&lt;root reqver=&quot;24162&quot;&gt;&lt;version val=&quot;269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6.43960570609000093611E+00&quot;&gt;&lt;m_msothmcolidx val=&quot;0&quot;/&gt;&lt;m_rgb r=&quot;EF&quot; g=&quot;62&quot; b=&quot;13&quot;/&gt;&lt;m_nBrightness tagver0=&quot;26206&quot; tagname0=&quot;m_nBrightnessUNRECOGNIZED&quot; val=&quot;0&quot;/&gt;&lt;/elem&gt;&lt;elem m_fUsage=&quot;1.08278726912830314255E+00&quot;&gt;&lt;m_msothmcolidx val=&quot;0&quot;/&gt;&lt;m_rgb r=&quot;00&quot; g=&quot;99&quot; b=&quot;00&quot;/&gt;&lt;m_nBrightness tagver0=&quot;26206&quot; tagname0=&quot;m_nBrightnessUNRECOGNIZED&quot; val=&quot;0&quot;/&gt;&lt;/elem&gt;&lt;elem m_fUsage=&quot;7.78490087375216743837E-01&quot;&gt;&lt;m_msothmcolidx val=&quot;0&quot;/&gt;&lt;m_rgb r=&quot;ED&quot; g=&quot;7D&quot; b=&quot;31&quot;/&gt;&lt;m_nBrightness tagver0=&quot;26206&quot; tagname0=&quot;m_nBrightnessUNRECOGNIZED&quot; val=&quot;0&quot;/&gt;&lt;/elem&gt;&lt;elem m_fUsage=&quot;7.03467814423758830422E-01&quot;&gt;&lt;m_msothmcolidx val=&quot;0&quot;/&gt;&lt;m_rgb r=&quot;70&quot; g=&quot;30&quot; b=&quot;A0&quot;/&gt;&lt;m_nBrightness tagver0=&quot;26206&quot; tagname0=&quot;m_nBrightnessUNRECOGNIZED&quot; val=&quot;0&quot;/&gt;&lt;/elem&gt;&lt;elem m_fUsage=&quot;6.14128698505777004257E-01&quot;&gt;&lt;m_msothmcolidx val=&quot;0&quot;/&gt;&lt;m_rgb r=&quot;BF&quot; g=&quot;BF&quot; b=&quot;BF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BLjm4KQXOhcIXqeK97d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kD5e_S4efi0_DlDFSP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SBPfphSZyE3xMJD1c1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o48CyVR6OttbptjUnfx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O73Tn3RrqLX3revcNV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nuidT5QnaoO_nkdBAxe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uhP0bHQSmTunkvzZKwM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CO.QdhRH2OtKUSFAsNU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jfABTtRa2D6rr6sBcIr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eqhyKCTr.G0.gwCq7_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38Asg_Sfi3PBGrhWQBH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.UwKiRT1GonJwn9A8tn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sQuuRtTCuEQpxw49Byl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Nf.PQwQQC2ZP0EBf4iN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VrhGnPQHmgG95Fesow1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GamA0xSH6hxj9UKqqiP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SLqCoNSEulKwqafI2fB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yyd1pMTIGYprT973ol_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HC1gYTSuCnrRuBstOhg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puQJylTH.Yp8RbUFUm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QI0KveQ6ikpmyJME27L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FkySQS3W9l0bqHG3zT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ag_inBRDaTyg8yRn7jw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PE.9mMTUStdpf_KBIlK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ujZy2SIyZI.FAdxXNh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BK7vEnR6CE5cRMie376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Mh.a3tTrWJB3JcgbJ7r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eNu1QuRDmHo6Xp1qja9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x4soN5Sb6PfgJTYr0Z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goHBPdSvWQ75J4SPyr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NW0QReS52D2mSS9mc_J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M4WFjUT6mABbV_wO0pp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61vMLrT1el86WHqLL2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Z5823.TA2mGOJJW3Lf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1rTrQX6fIhWVzLj8Yx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iCR_CgbvXzTRs97UFm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MF1NgESzXw3lKARHrS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YI8o21kjxY4xSmASN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w3tAA_SSu_KPEQiAsF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4ZSrrqS3um7ftzPom2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u.9ZaBR7ODo_G3UP.V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_lA.ngRxm4mXA9bUHz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6N9KWnQZ.vZuoQmfHx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1EzC4lSKSLs9u7osqw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DM4T0eWVQBAyi5IFEs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7ZS.lCQGmMlm_uq_oP7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9sgk9JT9SeITFiUcE3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TD66zuT4eYAGtW0E6C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g3BIhERpqaTnQtUCV91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565Mj2QOaQ8AJBcvHDN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MX_RhXSUqO7BSxl5nkG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HazDFARKGl8XONGeZ5t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qook4xQsygWmeZREA9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jMPlSfnaRT1uHKFgOo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E3f0QPRgym0aEMLRl0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sp8xHkTE2TtqQw6iQg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OuKbAn.ZaPvVPk2o4X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OiMOqCR5SB255I04kMn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tJL2ymS4WEha1U3cfe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Ew_S.NIxKtnIh2JOtY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yAReTzSsSSkErtWQeil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KB8PXUQNiZzfrXlvW7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hsGsQuSJSeq4BkcCoy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GhpTdoRdiif2gChfnA8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Ct39QOR5SE_dVbpQR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0L5g3hTN2lxe51OBMcO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liKtPgQSu1SCjoLOOo4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Z5823.TA2mGOJJW3Lf4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Z5823.TA2mGOJJW3Lf4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Z5823.TA2mGOJJW3Lf4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p8tm5ZScawTZHjOGZ6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BLjm4KQXOhcIXqeK97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DM4T0eWVQBAyi5IFEsG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kD5e_S4efi0_DlDFS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cTs4SwQC29vaHULIzY.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rO2AzAR2SKdHRB8aKwG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p4vjBRSI6rPsUCK6vM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WQaO19QhqQA6FX2BJf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oSUqsIQs2bCRuSzPs1J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D7csZpSfqQDOeiywNyc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8.gGbpQT6RciWQ_XXS5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VSKxpoSQKv1cmNIpRj3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mXBpIQSYGg8Ru2nUB8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Lr6OuvT_SeZ7evpdQMs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iJNMluRc69w3LltYc6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fSrG.RS0.iRtOBMxHPZ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gdZ2ZZS7WW7MXOeOhIs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GzEldPT1G4N2NgE9ir4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8NMV18RoSxezd_IRlF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NlP9ofREigNcsBsLvpJ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H2WYAaQ4KH.XU2um2qy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YI_J6VT1C11o48rqlk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LaPFq.Sket110dAZen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uvwnNSSJmICcYVeuI9y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ytW4fNTYKHDWZUeYn4T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SdkGEmQMSiO8UnFS6lt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1bQ390Q.aTAyEUAMLT.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3AEqUFSOyr22vFkGTyV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jdp7QWRWKtnfgXD.El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VrcGdXR7CXk5iUOsL_S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MNsCsPQ.mjt7v3fKgxu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Qspkz3T16WfXL.3DsVf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jlgjw7TFaZlp1xic9h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DM4T0eWVQBAyi5IFEs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cafn0ARPWHQWeCYwYE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pduwWpQwuyosNBRh7QP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Z5823.TA2mGOJJW3Lf4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E5UQfOS..beKr5IGfx1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D7csZpSfqQDOeiywNyc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sistJROWyLMniUu9Be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rO2AzAR2SKdHRB8aKw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p4vjBRSI6rPsUCK6vMj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EUb7q8QeuKFjn9Zfjaiw"/>
</p:tagLst>
</file>

<file path=ppt/theme/theme1.xml><?xml version="1.0" encoding="utf-8"?>
<a:theme xmlns:a="http://schemas.openxmlformats.org/drawingml/2006/main" name="gpn_plazma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 algn="ctr">
          <a:spcBef>
            <a:spcPts val="800"/>
          </a:spcBef>
          <a:defRPr sz="2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spcBef>
            <a:spcPts val="800"/>
          </a:spcBef>
          <a:defRPr sz="2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gpn_plazma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 algn="ctr">
          <a:spcBef>
            <a:spcPts val="800"/>
          </a:spcBef>
          <a:defRPr sz="2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spcBef>
            <a:spcPts val="800"/>
          </a:spcBef>
          <a:defRPr sz="2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gpn_plazma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 algn="ctr">
          <a:spcBef>
            <a:spcPts val="800"/>
          </a:spcBef>
          <a:defRPr sz="2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spcBef>
            <a:spcPts val="800"/>
          </a:spcBef>
          <a:defRPr sz="2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pn_plazma</Template>
  <TotalTime>10448</TotalTime>
  <Words>2389</Words>
  <Application>Microsoft Office PowerPoint</Application>
  <PresentationFormat>Экран (16:9)</PresentationFormat>
  <Paragraphs>554</Paragraphs>
  <Slides>13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30" baseType="lpstr">
      <vt:lpstr>Arial</vt:lpstr>
      <vt:lpstr>Calibri</vt:lpstr>
      <vt:lpstr>Cambria Math</vt:lpstr>
      <vt:lpstr>DIN Pro</vt:lpstr>
      <vt:lpstr>DIN Pro Light</vt:lpstr>
      <vt:lpstr>DINPro-Black</vt:lpstr>
      <vt:lpstr>DINPro-Light</vt:lpstr>
      <vt:lpstr>DINPro-Medium</vt:lpstr>
      <vt:lpstr>Tahoma</vt:lpstr>
      <vt:lpstr>Times New Roman</vt:lpstr>
      <vt:lpstr>Trebuchet MS</vt:lpstr>
      <vt:lpstr>Verdana</vt:lpstr>
      <vt:lpstr>Wingdings</vt:lpstr>
      <vt:lpstr>gpn_plazma</vt:lpstr>
      <vt:lpstr>1_gpn_plazma</vt:lpstr>
      <vt:lpstr>2_gpn_plazma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obbiton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range L. Blossom</dc:creator>
  <cp:lastModifiedBy>Client</cp:lastModifiedBy>
  <cp:revision>699</cp:revision>
  <cp:lastPrinted>2019-09-19T05:44:44Z</cp:lastPrinted>
  <dcterms:created xsi:type="dcterms:W3CDTF">2013-05-14T10:31:14Z</dcterms:created>
  <dcterms:modified xsi:type="dcterms:W3CDTF">2019-10-15T04:46:45Z</dcterms:modified>
</cp:coreProperties>
</file>